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theme/theme5.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0.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omments/modernComment_107_CE223A0C.xml" ContentType="application/vnd.ms-powerpoint.comments+xml"/>
  <Override PartName="/ppt/notesSlides/notesSlide54.xml" ContentType="application/vnd.openxmlformats-officedocument.presentationml.notesSlide+xml"/>
  <Override PartName="/ppt/comments/modernComment_102_84DF03EE.xml" ContentType="application/vnd.ms-powerpoint.comment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omments/modernComment_7FFFF23E_CA5F2B64.xml" ContentType="application/vnd.ms-powerpoint.comment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0" r:id="rId4"/>
    <p:sldMasterId id="2147483652" r:id="rId5"/>
    <p:sldMasterId id="2147483689" r:id="rId6"/>
    <p:sldMasterId id="2147483686" r:id="rId7"/>
    <p:sldMasterId id="2147483682" r:id="rId8"/>
    <p:sldMasterId id="2147483733" r:id="rId9"/>
    <p:sldMasterId id="2147483739" r:id="rId10"/>
    <p:sldMasterId id="2147483775" r:id="rId11"/>
    <p:sldMasterId id="2147483787" r:id="rId12"/>
    <p:sldMasterId id="2147483799" r:id="rId13"/>
    <p:sldMasterId id="2147483831" r:id="rId14"/>
  </p:sldMasterIdLst>
  <p:notesMasterIdLst>
    <p:notesMasterId r:id="rId86"/>
  </p:notesMasterIdLst>
  <p:sldIdLst>
    <p:sldId id="11200" r:id="rId15"/>
    <p:sldId id="11113" r:id="rId16"/>
    <p:sldId id="105012" r:id="rId17"/>
    <p:sldId id="105122" r:id="rId18"/>
    <p:sldId id="105262" r:id="rId19"/>
    <p:sldId id="11236" r:id="rId20"/>
    <p:sldId id="105277" r:id="rId21"/>
    <p:sldId id="10730" r:id="rId22"/>
    <p:sldId id="105119" r:id="rId23"/>
    <p:sldId id="105120" r:id="rId24"/>
    <p:sldId id="947" r:id="rId25"/>
    <p:sldId id="953" r:id="rId26"/>
    <p:sldId id="955" r:id="rId27"/>
    <p:sldId id="293" r:id="rId28"/>
    <p:sldId id="951" r:id="rId29"/>
    <p:sldId id="256" r:id="rId30"/>
    <p:sldId id="535" r:id="rId31"/>
    <p:sldId id="528" r:id="rId32"/>
    <p:sldId id="529" r:id="rId33"/>
    <p:sldId id="530" r:id="rId34"/>
    <p:sldId id="534" r:id="rId35"/>
    <p:sldId id="533" r:id="rId36"/>
    <p:sldId id="259" r:id="rId37"/>
    <p:sldId id="2426" r:id="rId38"/>
    <p:sldId id="2372" r:id="rId39"/>
    <p:sldId id="2147480052" r:id="rId40"/>
    <p:sldId id="2147480127" r:id="rId41"/>
    <p:sldId id="2147480114" r:id="rId42"/>
    <p:sldId id="2370" r:id="rId43"/>
    <p:sldId id="2147480116" r:id="rId44"/>
    <p:sldId id="2869" r:id="rId45"/>
    <p:sldId id="2870" r:id="rId46"/>
    <p:sldId id="2871" r:id="rId47"/>
    <p:sldId id="2868" r:id="rId48"/>
    <p:sldId id="469" r:id="rId49"/>
    <p:sldId id="257" r:id="rId50"/>
    <p:sldId id="455" r:id="rId51"/>
    <p:sldId id="1012" r:id="rId52"/>
    <p:sldId id="280" r:id="rId53"/>
    <p:sldId id="954" r:id="rId54"/>
    <p:sldId id="369" r:id="rId55"/>
    <p:sldId id="2147473998" r:id="rId56"/>
    <p:sldId id="2147473991" r:id="rId57"/>
    <p:sldId id="2147473992" r:id="rId58"/>
    <p:sldId id="2147473994" r:id="rId59"/>
    <p:sldId id="2147473996" r:id="rId60"/>
    <p:sldId id="509" r:id="rId61"/>
    <p:sldId id="523" r:id="rId62"/>
    <p:sldId id="519" r:id="rId63"/>
    <p:sldId id="422" r:id="rId64"/>
    <p:sldId id="522" r:id="rId65"/>
    <p:sldId id="2147480117" r:id="rId66"/>
    <p:sldId id="390" r:id="rId67"/>
    <p:sldId id="391" r:id="rId68"/>
    <p:sldId id="392" r:id="rId69"/>
    <p:sldId id="401" r:id="rId70"/>
    <p:sldId id="396" r:id="rId71"/>
    <p:sldId id="2147480118" r:id="rId72"/>
    <p:sldId id="2147480119" r:id="rId73"/>
    <p:sldId id="2147480120" r:id="rId74"/>
    <p:sldId id="2147480121" r:id="rId75"/>
    <p:sldId id="2147480122" r:id="rId76"/>
    <p:sldId id="2147480123" r:id="rId77"/>
    <p:sldId id="2147480124" r:id="rId78"/>
    <p:sldId id="263" r:id="rId79"/>
    <p:sldId id="2147480125" r:id="rId80"/>
    <p:sldId id="258" r:id="rId81"/>
    <p:sldId id="264" r:id="rId82"/>
    <p:sldId id="2147480126" r:id="rId83"/>
    <p:sldId id="262" r:id="rId84"/>
    <p:sldId id="104977" r:id="rId85"/>
  </p:sldIdLst>
  <p:sldSz cx="12192000" cy="6858000"/>
  <p:notesSz cx="6858000" cy="9144000"/>
  <p:custDataLst>
    <p:tags r:id="rId8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id="{4F98249B-B001-4F50-9414-CEB9F300E039}">
          <p14:sldIdLst>
            <p14:sldId id="11200"/>
            <p14:sldId id="11113"/>
            <p14:sldId id="105012"/>
            <p14:sldId id="105122"/>
            <p14:sldId id="105262"/>
            <p14:sldId id="11236"/>
            <p14:sldId id="105277"/>
            <p14:sldId id="10730"/>
            <p14:sldId id="105119"/>
            <p14:sldId id="105120"/>
            <p14:sldId id="947"/>
            <p14:sldId id="953"/>
            <p14:sldId id="955"/>
            <p14:sldId id="293"/>
            <p14:sldId id="951"/>
            <p14:sldId id="256"/>
            <p14:sldId id="535"/>
            <p14:sldId id="528"/>
            <p14:sldId id="529"/>
            <p14:sldId id="530"/>
            <p14:sldId id="534"/>
            <p14:sldId id="533"/>
            <p14:sldId id="259"/>
            <p14:sldId id="2426"/>
            <p14:sldId id="2372"/>
            <p14:sldId id="2147480052"/>
            <p14:sldId id="2147480127"/>
            <p14:sldId id="2147480114"/>
            <p14:sldId id="2370"/>
            <p14:sldId id="2147480116"/>
            <p14:sldId id="2869"/>
            <p14:sldId id="2870"/>
            <p14:sldId id="2871"/>
            <p14:sldId id="2868"/>
            <p14:sldId id="469"/>
            <p14:sldId id="257"/>
            <p14:sldId id="455"/>
            <p14:sldId id="1012"/>
            <p14:sldId id="280"/>
            <p14:sldId id="954"/>
            <p14:sldId id="369"/>
            <p14:sldId id="2147473998"/>
            <p14:sldId id="2147473991"/>
            <p14:sldId id="2147473992"/>
            <p14:sldId id="2147473994"/>
            <p14:sldId id="2147473996"/>
            <p14:sldId id="509"/>
            <p14:sldId id="523"/>
            <p14:sldId id="519"/>
            <p14:sldId id="422"/>
            <p14:sldId id="522"/>
            <p14:sldId id="2147480117"/>
            <p14:sldId id="390"/>
            <p14:sldId id="391"/>
            <p14:sldId id="392"/>
            <p14:sldId id="401"/>
            <p14:sldId id="396"/>
            <p14:sldId id="2147480118"/>
            <p14:sldId id="2147480119"/>
            <p14:sldId id="2147480120"/>
            <p14:sldId id="2147480121"/>
            <p14:sldId id="2147480122"/>
            <p14:sldId id="2147480123"/>
            <p14:sldId id="2147480124"/>
            <p14:sldId id="263"/>
            <p14:sldId id="2147480125"/>
            <p14:sldId id="258"/>
            <p14:sldId id="264"/>
            <p14:sldId id="2147480126"/>
            <p14:sldId id="262"/>
            <p14:sldId id="104977"/>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83742D-CF3C-5036-7BA5-21437855F811}" name="Degard, Michelle L." initials="" userId="S::MLDegard@GarverUSA.com::089f9fd6-c009-4ebb-bf3d-8f93eb021af8" providerId="AD"/>
  <p188:author id="{CF229B48-784F-717A-1808-0A6211C01CAE}" name="Mondragon, Desiree - DEN" initials="DM" userId="S::Desiree.Mondragon@flydenver.com::cddb16d0-b6f9-4161-a1a6-91a003280c7c" providerId="AD"/>
  <p188:author id="{ED1B13B0-8B1E-1D00-FDCC-6CAC6FD7EBE1}" name="Cooper, Justin M." initials="CJ" userId="S::jmcooper@garverusa.com::5fa758a8-09c0-40d0-95aa-ca82c86339c5" providerId="AD"/>
  <p188:author id="{303A1AD4-DBCE-2645-4CFA-6420BB1ED429}" name="Rodriguez, Nicole - DEN" initials="NR" userId="S::Nicole.Rodriguez@flydenver.com::edce7eb7-41d3-4b21-8d93-85b303938bc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5B2A"/>
    <a:srgbClr val="4900C1"/>
    <a:srgbClr val="440099"/>
    <a:srgbClr val="282160"/>
    <a:srgbClr val="8C9EBC"/>
    <a:srgbClr val="C3D831"/>
    <a:srgbClr val="1D00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F36FD3-B8E6-49E9-A249-58304C5F6EEF}" v="21" dt="2025-12-18T21:36:09.225"/>
    <p1510:client id="{8BA804EE-E579-4385-A6C3-A2525A030ABD}" v="1" dt="2025-12-18T20:22:19.751"/>
    <p1510:client id="{AC08645C-E109-4923-981D-CA7B263AD90C}" v="315" dt="2025-12-18T21:58:16.3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viewProps" Target="viewProps.xml"/><Relationship Id="rId16" Type="http://schemas.openxmlformats.org/officeDocument/2006/relationships/slide" Target="slides/slide2.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slide" Target="slides/slide71.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notesMaster" Target="notesMasters/notesMaster1.xml"/><Relationship Id="rId9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7" Type="http://schemas.openxmlformats.org/officeDocument/2006/relationships/slideMaster" Target="slideMasters/slideMaster4.xml"/><Relationship Id="rId71" Type="http://schemas.openxmlformats.org/officeDocument/2006/relationships/slide" Target="slides/slide57.xml"/><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tags" Target="tags/tag1.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oval, Michelle - DEN" userId="S::michelle.sandoval@flydenver.com::f0650d86-7cc7-4460-9b70-7b2d35e24aab" providerId="AD" clId="Web-{8BA804EE-E579-4385-A6C3-A2525A030ABD}"/>
    <pc:docChg chg="modSld">
      <pc:chgData name="Sandoval, Michelle - DEN" userId="S::michelle.sandoval@flydenver.com::f0650d86-7cc7-4460-9b70-7b2d35e24aab" providerId="AD" clId="Web-{8BA804EE-E579-4385-A6C3-A2525A030ABD}" dt="2025-12-18T20:22:19.751" v="0"/>
      <pc:docMkLst>
        <pc:docMk/>
      </pc:docMkLst>
      <pc:sldChg chg="mod modShow">
        <pc:chgData name="Sandoval, Michelle - DEN" userId="S::michelle.sandoval@flydenver.com::f0650d86-7cc7-4460-9b70-7b2d35e24aab" providerId="AD" clId="Web-{8BA804EE-E579-4385-A6C3-A2525A030ABD}" dt="2025-12-18T20:22:19.751" v="0"/>
        <pc:sldMkLst>
          <pc:docMk/>
          <pc:sldMk cId="408100606" sldId="2370"/>
        </pc:sldMkLst>
      </pc:sldChg>
    </pc:docChg>
  </pc:docChgLst>
  <pc:docChgLst>
    <pc:chgData name="Mondragon, Desiree - DEN" userId="cddb16d0-b6f9-4161-a1a6-91a003280c7c" providerId="ADAL" clId="{6F7A62D1-CF64-444F-9356-DF049AA0DC5D}"/>
    <pc:docChg chg="undo custSel addSld delSld modSld modSection">
      <pc:chgData name="Mondragon, Desiree - DEN" userId="cddb16d0-b6f9-4161-a1a6-91a003280c7c" providerId="ADAL" clId="{6F7A62D1-CF64-444F-9356-DF049AA0DC5D}" dt="2025-12-18T21:58:16.310" v="313" actId="2696"/>
      <pc:docMkLst>
        <pc:docMk/>
      </pc:docMkLst>
      <pc:sldChg chg="delSp modSp mod">
        <pc:chgData name="Mondragon, Desiree - DEN" userId="cddb16d0-b6f9-4161-a1a6-91a003280c7c" providerId="ADAL" clId="{6F7A62D1-CF64-444F-9356-DF049AA0DC5D}" dt="2025-12-18T19:12:28.097" v="1" actId="478"/>
        <pc:sldMkLst>
          <pc:docMk/>
          <pc:sldMk cId="735330980" sldId="11113"/>
        </pc:sldMkLst>
        <pc:spChg chg="mod">
          <ac:chgData name="Mondragon, Desiree - DEN" userId="cddb16d0-b6f9-4161-a1a6-91a003280c7c" providerId="ADAL" clId="{6F7A62D1-CF64-444F-9356-DF049AA0DC5D}" dt="2025-12-18T19:12:26.037" v="0" actId="6549"/>
          <ac:spMkLst>
            <pc:docMk/>
            <pc:sldMk cId="735330980" sldId="11113"/>
            <ac:spMk id="12" creationId="{F3A340E0-1503-4007-DE5B-398218D4AA5D}"/>
          </ac:spMkLst>
        </pc:spChg>
        <pc:picChg chg="del">
          <ac:chgData name="Mondragon, Desiree - DEN" userId="cddb16d0-b6f9-4161-a1a6-91a003280c7c" providerId="ADAL" clId="{6F7A62D1-CF64-444F-9356-DF049AA0DC5D}" dt="2025-12-18T19:12:28.097" v="1" actId="478"/>
          <ac:picMkLst>
            <pc:docMk/>
            <pc:sldMk cId="735330980" sldId="11113"/>
            <ac:picMk id="2" creationId="{A0695BB8-B839-8B8D-BB22-09E3D7B1BC0D}"/>
          </ac:picMkLst>
        </pc:picChg>
      </pc:sldChg>
      <pc:sldChg chg="modSp mod">
        <pc:chgData name="Mondragon, Desiree - DEN" userId="cddb16d0-b6f9-4161-a1a6-91a003280c7c" providerId="ADAL" clId="{6F7A62D1-CF64-444F-9356-DF049AA0DC5D}" dt="2025-12-18T19:23:40.392" v="251" actId="20577"/>
        <pc:sldMkLst>
          <pc:docMk/>
          <pc:sldMk cId="170341230" sldId="11200"/>
        </pc:sldMkLst>
        <pc:spChg chg="mod">
          <ac:chgData name="Mondragon, Desiree - DEN" userId="cddb16d0-b6f9-4161-a1a6-91a003280c7c" providerId="ADAL" clId="{6F7A62D1-CF64-444F-9356-DF049AA0DC5D}" dt="2025-12-18T19:23:40.392" v="251" actId="20577"/>
          <ac:spMkLst>
            <pc:docMk/>
            <pc:sldMk cId="170341230" sldId="11200"/>
            <ac:spMk id="2" creationId="{5CF596FF-602A-92B7-11D4-E6638E367E24}"/>
          </ac:spMkLst>
        </pc:spChg>
      </pc:sldChg>
      <pc:sldChg chg="addSp delSp modSp add del mod">
        <pc:chgData name="Mondragon, Desiree - DEN" userId="cddb16d0-b6f9-4161-a1a6-91a003280c7c" providerId="ADAL" clId="{6F7A62D1-CF64-444F-9356-DF049AA0DC5D}" dt="2025-12-18T21:58:16.310" v="313" actId="2696"/>
        <pc:sldMkLst>
          <pc:docMk/>
          <pc:sldMk cId="2923033860" sldId="104948"/>
        </pc:sldMkLst>
        <pc:graphicFrameChg chg="add mod modGraphic">
          <ac:chgData name="Mondragon, Desiree - DEN" userId="cddb16d0-b6f9-4161-a1a6-91a003280c7c" providerId="ADAL" clId="{6F7A62D1-CF64-444F-9356-DF049AA0DC5D}" dt="2025-12-18T21:48:59.230" v="312" actId="20577"/>
          <ac:graphicFrameMkLst>
            <pc:docMk/>
            <pc:sldMk cId="2923033860" sldId="104948"/>
            <ac:graphicFrameMk id="3" creationId="{2433E47B-F15B-2684-02D9-086436713A44}"/>
          </ac:graphicFrameMkLst>
        </pc:graphicFrameChg>
        <pc:graphicFrameChg chg="del modGraphic">
          <ac:chgData name="Mondragon, Desiree - DEN" userId="cddb16d0-b6f9-4161-a1a6-91a003280c7c" providerId="ADAL" clId="{6F7A62D1-CF64-444F-9356-DF049AA0DC5D}" dt="2025-12-18T19:14:46.240" v="10" actId="21"/>
          <ac:graphicFrameMkLst>
            <pc:docMk/>
            <pc:sldMk cId="2923033860" sldId="104948"/>
            <ac:graphicFrameMk id="11" creationId="{FE98C0E2-4015-4368-50E8-1644E71903AC}"/>
          </ac:graphicFrameMkLst>
        </pc:graphicFrameChg>
      </pc:sldChg>
      <pc:sldChg chg="del">
        <pc:chgData name="Mondragon, Desiree - DEN" userId="cddb16d0-b6f9-4161-a1a6-91a003280c7c" providerId="ADAL" clId="{6F7A62D1-CF64-444F-9356-DF049AA0DC5D}" dt="2025-12-18T19:12:32.577" v="2" actId="2696"/>
        <pc:sldMkLst>
          <pc:docMk/>
          <pc:sldMk cId="1962487920" sldId="104969"/>
        </pc:sldMkLst>
      </pc:sldChg>
      <pc:sldChg chg="add del">
        <pc:chgData name="Mondragon, Desiree - DEN" userId="cddb16d0-b6f9-4161-a1a6-91a003280c7c" providerId="ADAL" clId="{6F7A62D1-CF64-444F-9356-DF049AA0DC5D}" dt="2025-12-18T19:14:21.236" v="6"/>
        <pc:sldMkLst>
          <pc:docMk/>
          <pc:sldMk cId="167018346" sldId="104977"/>
        </pc:sldMkLst>
      </pc:sldChg>
      <pc:sldChg chg="modSp mod modClrScheme chgLayout">
        <pc:chgData name="Mondragon, Desiree - DEN" userId="cddb16d0-b6f9-4161-a1a6-91a003280c7c" providerId="ADAL" clId="{6F7A62D1-CF64-444F-9356-DF049AA0DC5D}" dt="2025-12-18T19:12:35.303" v="3"/>
        <pc:sldMkLst>
          <pc:docMk/>
          <pc:sldMk cId="508647167" sldId="105119"/>
        </pc:sldMkLst>
        <pc:spChg chg="mod ord">
          <ac:chgData name="Mondragon, Desiree - DEN" userId="cddb16d0-b6f9-4161-a1a6-91a003280c7c" providerId="ADAL" clId="{6F7A62D1-CF64-444F-9356-DF049AA0DC5D}" dt="2025-12-18T19:12:35.303" v="3"/>
          <ac:spMkLst>
            <pc:docMk/>
            <pc:sldMk cId="508647167" sldId="105119"/>
            <ac:spMk id="12" creationId="{52F6BB4E-EB11-976B-7425-B2413B9FA77A}"/>
          </ac:spMkLst>
        </pc:spChg>
        <pc:spChg chg="mod ord">
          <ac:chgData name="Mondragon, Desiree - DEN" userId="cddb16d0-b6f9-4161-a1a6-91a003280c7c" providerId="ADAL" clId="{6F7A62D1-CF64-444F-9356-DF049AA0DC5D}" dt="2025-12-18T19:12:35.303" v="3"/>
          <ac:spMkLst>
            <pc:docMk/>
            <pc:sldMk cId="508647167" sldId="105119"/>
            <ac:spMk id="15" creationId="{58D4CC15-908B-6838-C957-B3B9F380A37E}"/>
          </ac:spMkLst>
        </pc:spChg>
      </pc:sldChg>
      <pc:sldChg chg="modSp mod modClrScheme chgLayout">
        <pc:chgData name="Mondragon, Desiree - DEN" userId="cddb16d0-b6f9-4161-a1a6-91a003280c7c" providerId="ADAL" clId="{6F7A62D1-CF64-444F-9356-DF049AA0DC5D}" dt="2025-12-18T19:12:35.303" v="3"/>
        <pc:sldMkLst>
          <pc:docMk/>
          <pc:sldMk cId="2369472677" sldId="105120"/>
        </pc:sldMkLst>
        <pc:spChg chg="mod ord">
          <ac:chgData name="Mondragon, Desiree - DEN" userId="cddb16d0-b6f9-4161-a1a6-91a003280c7c" providerId="ADAL" clId="{6F7A62D1-CF64-444F-9356-DF049AA0DC5D}" dt="2025-12-18T19:12:35.303" v="3"/>
          <ac:spMkLst>
            <pc:docMk/>
            <pc:sldMk cId="2369472677" sldId="105120"/>
            <ac:spMk id="12" creationId="{6941E192-8AB6-7DF2-B2D9-9AC03E5B10BA}"/>
          </ac:spMkLst>
        </pc:spChg>
        <pc:spChg chg="mod ord">
          <ac:chgData name="Mondragon, Desiree - DEN" userId="cddb16d0-b6f9-4161-a1a6-91a003280c7c" providerId="ADAL" clId="{6F7A62D1-CF64-444F-9356-DF049AA0DC5D}" dt="2025-12-18T19:12:35.303" v="3"/>
          <ac:spMkLst>
            <pc:docMk/>
            <pc:sldMk cId="2369472677" sldId="105120"/>
            <ac:spMk id="15" creationId="{DD5339D3-EE70-2AA7-98FE-30B7C6BA6994}"/>
          </ac:spMkLst>
        </pc:spChg>
      </pc:sldChg>
    </pc:docChg>
  </pc:docChgLst>
  <pc:docChgLst>
    <pc:chgData name="Rodriguez, Nicole - DEN" userId="edce7eb7-41d3-4b21-8d93-85b303938bcd" providerId="ADAL" clId="{B53800F5-5A40-456F-B28E-49B2E7614C20}"/>
    <pc:docChg chg="custSel modSld">
      <pc:chgData name="Rodriguez, Nicole - DEN" userId="edce7eb7-41d3-4b21-8d93-85b303938bcd" providerId="ADAL" clId="{B53800F5-5A40-456F-B28E-49B2E7614C20}" dt="2025-12-18T21:36:09.226" v="20" actId="20577"/>
      <pc:docMkLst>
        <pc:docMk/>
      </pc:docMkLst>
      <pc:sldChg chg="modSp mod">
        <pc:chgData name="Rodriguez, Nicole - DEN" userId="edce7eb7-41d3-4b21-8d93-85b303938bcd" providerId="ADAL" clId="{B53800F5-5A40-456F-B28E-49B2E7614C20}" dt="2025-12-18T19:20:27.877" v="1" actId="13244"/>
        <pc:sldMkLst>
          <pc:docMk/>
          <pc:sldMk cId="2887220477" sldId="264"/>
        </pc:sldMkLst>
        <pc:spChg chg="ord">
          <ac:chgData name="Rodriguez, Nicole - DEN" userId="edce7eb7-41d3-4b21-8d93-85b303938bcd" providerId="ADAL" clId="{B53800F5-5A40-456F-B28E-49B2E7614C20}" dt="2025-12-18T19:20:20.536" v="0" actId="13244"/>
          <ac:spMkLst>
            <pc:docMk/>
            <pc:sldMk cId="2887220477" sldId="264"/>
            <ac:spMk id="7" creationId="{B96BEB40-ED34-5F30-AC66-63E08B688AA6}"/>
          </ac:spMkLst>
        </pc:spChg>
        <pc:picChg chg="ord">
          <ac:chgData name="Rodriguez, Nicole - DEN" userId="edce7eb7-41d3-4b21-8d93-85b303938bcd" providerId="ADAL" clId="{B53800F5-5A40-456F-B28E-49B2E7614C20}" dt="2025-12-18T19:20:27.877" v="1" actId="13244"/>
          <ac:picMkLst>
            <pc:docMk/>
            <pc:sldMk cId="2887220477" sldId="264"/>
            <ac:picMk id="17" creationId="{242F9BEE-C918-8C98-D1C4-236C53FCE853}"/>
          </ac:picMkLst>
        </pc:picChg>
      </pc:sldChg>
      <pc:sldChg chg="modSp mod">
        <pc:chgData name="Rodriguez, Nicole - DEN" userId="edce7eb7-41d3-4b21-8d93-85b303938bcd" providerId="ADAL" clId="{B53800F5-5A40-456F-B28E-49B2E7614C20}" dt="2025-12-18T21:36:09.226" v="20" actId="20577"/>
        <pc:sldMkLst>
          <pc:docMk/>
          <pc:sldMk cId="2923033860" sldId="104948"/>
        </pc:sldMkLst>
        <pc:graphicFrameChg chg="modGraphic">
          <ac:chgData name="Rodriguez, Nicole - DEN" userId="edce7eb7-41d3-4b21-8d93-85b303938bcd" providerId="ADAL" clId="{B53800F5-5A40-456F-B28E-49B2E7614C20}" dt="2025-12-18T21:36:09.226" v="20" actId="20577"/>
          <ac:graphicFrameMkLst>
            <pc:docMk/>
            <pc:sldMk cId="2923033860" sldId="104948"/>
            <ac:graphicFrameMk id="3" creationId="{2433E47B-F15B-2684-02D9-086436713A44}"/>
          </ac:graphicFrameMkLst>
        </pc:graphicFrameChg>
      </pc:sldChg>
      <pc:sldChg chg="modSp mod">
        <pc:chgData name="Rodriguez, Nicole - DEN" userId="edce7eb7-41d3-4b21-8d93-85b303938bcd" providerId="ADAL" clId="{B53800F5-5A40-456F-B28E-49B2E7614C20}" dt="2025-12-18T19:22:32.600" v="4" actId="13244"/>
        <pc:sldMkLst>
          <pc:docMk/>
          <pc:sldMk cId="3395234660" sldId="2147480126"/>
        </pc:sldMkLst>
        <pc:spChg chg="mod">
          <ac:chgData name="Rodriguez, Nicole - DEN" userId="edce7eb7-41d3-4b21-8d93-85b303938bcd" providerId="ADAL" clId="{B53800F5-5A40-456F-B28E-49B2E7614C20}" dt="2025-12-18T19:22:03.564" v="2" actId="962"/>
          <ac:spMkLst>
            <pc:docMk/>
            <pc:sldMk cId="3395234660" sldId="2147480126"/>
            <ac:spMk id="95" creationId="{E414C845-F444-0ACD-D048-15196B7565FB}"/>
          </ac:spMkLst>
        </pc:spChg>
        <pc:picChg chg="ord">
          <ac:chgData name="Rodriguez, Nicole - DEN" userId="edce7eb7-41d3-4b21-8d93-85b303938bcd" providerId="ADAL" clId="{B53800F5-5A40-456F-B28E-49B2E7614C20}" dt="2025-12-18T19:22:32.600" v="4" actId="13244"/>
          <ac:picMkLst>
            <pc:docMk/>
            <pc:sldMk cId="3395234660" sldId="2147480126"/>
            <ac:picMk id="4" creationId="{32A8BFD2-AC5C-6690-9571-1833E9AF7CD6}"/>
          </ac:picMkLst>
        </pc:picChg>
        <pc:picChg chg="ord">
          <ac:chgData name="Rodriguez, Nicole - DEN" userId="edce7eb7-41d3-4b21-8d93-85b303938bcd" providerId="ADAL" clId="{B53800F5-5A40-456F-B28E-49B2E7614C20}" dt="2025-12-18T19:22:24.729" v="3" actId="13244"/>
          <ac:picMkLst>
            <pc:docMk/>
            <pc:sldMk cId="3395234660" sldId="2147480126"/>
            <ac:picMk id="9" creationId="{439E4520-ABB0-86D6-3E03-78B96D01BD77}"/>
          </ac:picMkLst>
        </pc:picChg>
      </pc:sldChg>
    </pc:docChg>
  </pc:docChgLst>
</pc:chgInfo>
</file>

<file path=ppt/comments/modernComment_102_84DF03EE.xml><?xml version="1.0" encoding="utf-8"?>
<p188:cmLst xmlns:a="http://schemas.openxmlformats.org/drawingml/2006/main" xmlns:r="http://schemas.openxmlformats.org/officeDocument/2006/relationships" xmlns:p188="http://schemas.microsoft.com/office/powerpoint/2018/8/main">
  <p188:cm id="{40B0048B-B21B-4B5F-B8BA-45ACBFC9FEC2}" authorId="{ED1B13B0-8B1E-1D00-FDCC-6CAC6FD7EBE1}" status="resolved" created="2025-12-09T13:40:29.516">
    <ac:deMkLst xmlns:ac="http://schemas.microsoft.com/office/drawing/2013/main/command">
      <pc:docMk xmlns:pc="http://schemas.microsoft.com/office/powerpoint/2013/main/command"/>
      <pc:sldMk xmlns:pc="http://schemas.microsoft.com/office/powerpoint/2013/main/command" cId="2229208046" sldId="258"/>
      <ac:spMk id="41" creationId="{CF86F7B5-B97E-F79E-7D0F-236402D0B175}"/>
    </ac:deMkLst>
    <p188:txBody>
      <a:bodyPr/>
      <a:lstStyle/>
      <a:p>
        <a:r>
          <a:rPr lang="en-US"/>
          <a:t>[@Degard, Michelle L.] [@Kelley, Yvette M.]  can we confirm this number is correct? </a:t>
        </a:r>
      </a:p>
    </p188:txBody>
  </p188:cm>
  <p188:cm id="{28A9F5EC-5776-46AA-BEA0-3963F59722BA}" authorId="{ED1B13B0-8B1E-1D00-FDCC-6CAC6FD7EBE1}" status="resolved" created="2025-12-09T13:41:02.578">
    <ac:deMkLst xmlns:ac="http://schemas.microsoft.com/office/drawing/2013/main/command">
      <pc:docMk xmlns:pc="http://schemas.microsoft.com/office/powerpoint/2013/main/command"/>
      <pc:sldMk xmlns:pc="http://schemas.microsoft.com/office/powerpoint/2013/main/command" cId="2229208046" sldId="258"/>
      <ac:spMk id="43" creationId="{250D1226-D0D0-63DA-2186-AC047E0F80FB}"/>
    </ac:deMkLst>
    <p188:txBody>
      <a:bodyPr/>
      <a:lstStyle/>
      <a:p>
        <a:r>
          <a:rPr lang="en-US"/>
          <a:t>[@Kelley, Yvette M.] [@Degard, Michelle L.]  can we present this number as overall local staff? Should be in the 20s. </a:t>
        </a:r>
      </a:p>
    </p188:txBody>
  </p188:cm>
</p188:cmLst>
</file>

<file path=ppt/comments/modernComment_107_CE223A0C.xml><?xml version="1.0" encoding="utf-8"?>
<p188:cmLst xmlns:a="http://schemas.openxmlformats.org/drawingml/2006/main" xmlns:r="http://schemas.openxmlformats.org/officeDocument/2006/relationships" xmlns:p188="http://schemas.microsoft.com/office/powerpoint/2018/8/main">
  <p188:cm id="{BFE73E3D-DE83-4F51-9D29-E17AB33D3BD2}" authorId="{ED1B13B0-8B1E-1D00-FDCC-6CAC6FD7EBE1}" status="resolved" created="2025-12-09T13:20:50.644">
    <ac:deMkLst xmlns:ac="http://schemas.microsoft.com/office/drawing/2013/main/command">
      <pc:docMk xmlns:pc="http://schemas.microsoft.com/office/powerpoint/2013/main/command"/>
      <pc:sldMk xmlns:pc="http://schemas.microsoft.com/office/powerpoint/2013/main/command" cId="3458349580" sldId="263"/>
      <ac:picMk id="24" creationId="{9CB6561A-F067-6CD4-8D07-614211B09B29}"/>
    </ac:deMkLst>
    <p188:txBody>
      <a:bodyPr/>
      <a:lstStyle/>
      <a:p>
        <a:r>
          <a:rPr lang="en-US"/>
          <a:t>[@Degard, Michelle L.] please add Jessica Hoffman to this slide.  </a:t>
        </a:r>
      </a:p>
    </p188:txBody>
  </p188:cm>
</p188:cmLst>
</file>

<file path=ppt/comments/modernComment_7FFFF23E_CA5F2B64.xml><?xml version="1.0" encoding="utf-8"?>
<p188:cmLst xmlns:a="http://schemas.openxmlformats.org/drawingml/2006/main" xmlns:r="http://schemas.openxmlformats.org/officeDocument/2006/relationships" xmlns:p188="http://schemas.microsoft.com/office/powerpoint/2018/8/main">
  <p188:cm id="{EB42F7A5-CA8D-4B83-A94B-8FF1DF9959A0}" authorId="{ED1B13B0-8B1E-1D00-FDCC-6CAC6FD7EBE1}" status="resolved" created="2025-12-09T13:25:37.679">
    <ac:deMkLst xmlns:ac="http://schemas.microsoft.com/office/drawing/2013/main/command">
      <pc:docMk xmlns:pc="http://schemas.microsoft.com/office/powerpoint/2013/main/command"/>
      <pc:sldMk xmlns:pc="http://schemas.microsoft.com/office/powerpoint/2013/main/command" cId="3395234660" sldId="259"/>
      <ac:picMk id="6" creationId="{F36A1F5B-70F9-EAAB-531E-0A7A092375FC}"/>
    </ac:deMkLst>
    <p188:txBody>
      <a:bodyPr/>
      <a:lstStyle/>
      <a:p>
        <a:r>
          <a:rPr lang="en-US"/>
          <a:t>[@Degard, Michelle L.] do we have a better photo? That is either inside or looks more like CO?</a:t>
        </a:r>
      </a:p>
    </p188:txBody>
    <p188:extLst>
      <p:ext xmlns:p="http://schemas.openxmlformats.org/presentationml/2006/main" uri="{57CB4572-C831-44C2-8A1C-0ADB6CCDFE69}">
        <p223:reactions xmlns:p223="http://schemas.microsoft.com/office/powerpoint/2022/03/main">
          <p223:rxn type="👍">
            <p223:instance time="2025-12-09T15:56:46.330" authorId="{8B83742D-CF3C-5036-7BA5-21437855F811}"/>
          </p223:rxn>
        </p223:reactions>
      </p:ext>
    </p188:extLst>
  </p188:cm>
  <p188:cm id="{DAE9E06F-ECE8-4C57-B3B5-6F6446AC12F5}" authorId="{ED1B13B0-8B1E-1D00-FDCC-6CAC6FD7EBE1}" status="resolved" created="2025-12-09T13:36:33.686">
    <ac:deMkLst xmlns:ac="http://schemas.microsoft.com/office/drawing/2013/main/command">
      <pc:docMk xmlns:pc="http://schemas.microsoft.com/office/powerpoint/2013/main/command"/>
      <pc:sldMk xmlns:pc="http://schemas.microsoft.com/office/powerpoint/2013/main/command" cId="3395234660" sldId="2147480126"/>
      <ac:spMk id="15" creationId="{D891241E-1F6F-8E00-1A11-83FF602E04F8}"/>
    </ac:deMkLst>
    <p188:txBody>
      <a:bodyPr/>
      <a:lstStyle/>
      <a:p>
        <a:r>
          <a:rPr lang="en-US"/>
          <a:t>[@Degard, Michelle L.] [@Kelley, Yvette M.] do we have any metrics or numbers that we can highlight about our diversity program?
- How much we have contracted out.  
- GarverPartners metrics
- Anything else we can share that highlights our commitment to our business partner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BF5EE2-77E8-9243-85B9-60D6C86923AE}" type="datetimeFigureOut">
              <a:rPr lang="en-US" smtClean="0"/>
              <a:t>12/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99344F-1846-964E-A23F-F797EB56DD37}" type="slidenum">
              <a:rPr lang="en-US" smtClean="0"/>
              <a:t>‹#›</a:t>
            </a:fld>
            <a:endParaRPr lang="en-US"/>
          </a:p>
        </p:txBody>
      </p:sp>
    </p:spTree>
    <p:extLst>
      <p:ext uri="{BB962C8B-B14F-4D97-AF65-F5344CB8AC3E}">
        <p14:creationId xmlns:p14="http://schemas.microsoft.com/office/powerpoint/2010/main" val="3543032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forms.office.com/r/WWKUb7fhTr"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afternoon and welcome to today’s event! &lt;&lt;next</a:t>
            </a:r>
            <a:r>
              <a:rPr lang="en-US" baseline="0"/>
              <a:t> slide&gt;&gt;</a:t>
            </a:r>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1</a:t>
            </a:fld>
            <a:endParaRPr lang="en-US"/>
          </a:p>
        </p:txBody>
      </p:sp>
    </p:spTree>
    <p:extLst>
      <p:ext uri="{BB962C8B-B14F-4D97-AF65-F5344CB8AC3E}">
        <p14:creationId xmlns:p14="http://schemas.microsoft.com/office/powerpoint/2010/main" val="456999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21247-3AB8-BC78-9E8B-8885E6BD29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DC1348-2125-F74B-6663-B3D3E0F9C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D3613D-3636-A999-E819-6ECC963046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8D9E70C-E09D-F9CF-72DE-A9C5E7732896}"/>
              </a:ext>
            </a:extLst>
          </p:cNvPr>
          <p:cNvSpPr>
            <a:spLocks noGrp="1"/>
          </p:cNvSpPr>
          <p:nvPr>
            <p:ph type="sldNum" sz="quarter" idx="5"/>
          </p:nvPr>
        </p:nvSpPr>
        <p:spPr/>
        <p:txBody>
          <a:bodyPr/>
          <a:lstStyle/>
          <a:p>
            <a:fld id="{A399344F-1846-964E-A23F-F797EB56DD37}" type="slidenum">
              <a:rPr lang="en-US" smtClean="0"/>
              <a:t>10</a:t>
            </a:fld>
            <a:endParaRPr lang="en-US"/>
          </a:p>
        </p:txBody>
      </p:sp>
    </p:spTree>
    <p:extLst>
      <p:ext uri="{BB962C8B-B14F-4D97-AF65-F5344CB8AC3E}">
        <p14:creationId xmlns:p14="http://schemas.microsoft.com/office/powerpoint/2010/main" val="4050826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C9B4117-59AD-48F2-A104-C6B4C82FBFB5}" type="slidenum">
              <a:rPr kumimoji="0" lang="en-US" sz="1200" b="0" i="0" u="none" strike="noStrike" kern="1200" cap="none" spc="0" normalizeH="0" baseline="0" noProof="0" smtClean="0">
                <a:ln>
                  <a:noFill/>
                </a:ln>
                <a:solidFill>
                  <a:prstClr val="black"/>
                </a:solidFill>
                <a:effectLst/>
                <a:uLnTx/>
                <a:uFillTx/>
                <a:latin typeface="Interstate-Regular" pitchFamily="2"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Interstate-Regular" pitchFamily="2" charset="0"/>
              <a:ea typeface="+mn-ea"/>
              <a:cs typeface="+mn-cs"/>
            </a:endParaRPr>
          </a:p>
        </p:txBody>
      </p:sp>
    </p:spTree>
    <p:extLst>
      <p:ext uri="{BB962C8B-B14F-4D97-AF65-F5344CB8AC3E}">
        <p14:creationId xmlns:p14="http://schemas.microsoft.com/office/powerpoint/2010/main" val="7577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C9B4117-59AD-48F2-A104-C6B4C82FBFB5}" type="slidenum">
              <a:rPr kumimoji="0" lang="en-US" sz="1200" b="0" i="0" u="none" strike="noStrike" kern="1200" cap="none" spc="0" normalizeH="0" baseline="0" noProof="0" smtClean="0">
                <a:ln>
                  <a:noFill/>
                </a:ln>
                <a:solidFill>
                  <a:prstClr val="black"/>
                </a:solidFill>
                <a:effectLst/>
                <a:uLnTx/>
                <a:uFillTx/>
                <a:latin typeface="Interstate-Regular" pitchFamily="2"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Interstate-Regular" pitchFamily="2" charset="0"/>
              <a:ea typeface="+mn-ea"/>
              <a:cs typeface="+mn-cs"/>
            </a:endParaRPr>
          </a:p>
        </p:txBody>
      </p:sp>
    </p:spTree>
    <p:extLst>
      <p:ext uri="{BB962C8B-B14F-4D97-AF65-F5344CB8AC3E}">
        <p14:creationId xmlns:p14="http://schemas.microsoft.com/office/powerpoint/2010/main" val="2375562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53CA1-14D0-26D3-5969-DD88E17CE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9E976-35E0-5CEA-AB3F-27F37721FD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768F56-120D-5E41-4EA4-891285409C46}"/>
              </a:ext>
            </a:extLst>
          </p:cNvPr>
          <p:cNvSpPr>
            <a:spLocks noGrp="1"/>
          </p:cNvSpPr>
          <p:nvPr>
            <p:ph type="body" idx="1"/>
          </p:nvPr>
        </p:nvSpPr>
        <p:spPr/>
        <p:txBody>
          <a:bodyPr>
            <a:normAutofit/>
          </a:bodyPr>
          <a:lstStyle/>
          <a:p>
            <a:endParaRPr lang="en-US"/>
          </a:p>
        </p:txBody>
      </p:sp>
      <p:sp>
        <p:nvSpPr>
          <p:cNvPr id="4" name="Slide Number Placeholder 3">
            <a:extLst>
              <a:ext uri="{FF2B5EF4-FFF2-40B4-BE49-F238E27FC236}">
                <a16:creationId xmlns:a16="http://schemas.microsoft.com/office/drawing/2014/main" id="{D6244DA0-0DCB-8873-827A-3350A9A8C107}"/>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C9B4117-59AD-48F2-A104-C6B4C82FBFB5}" type="slidenum">
              <a:rPr kumimoji="0" lang="en-US" sz="1200" b="0" i="0" u="none" strike="noStrike" kern="1200" cap="none" spc="0" normalizeH="0" baseline="0" noProof="0" smtClean="0">
                <a:ln>
                  <a:noFill/>
                </a:ln>
                <a:solidFill>
                  <a:prstClr val="black"/>
                </a:solidFill>
                <a:effectLst/>
                <a:uLnTx/>
                <a:uFillTx/>
                <a:latin typeface="Interstate-Regular" pitchFamily="2"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Interstate-Regular" pitchFamily="2" charset="0"/>
              <a:ea typeface="+mn-ea"/>
              <a:cs typeface="+mn-cs"/>
            </a:endParaRPr>
          </a:p>
        </p:txBody>
      </p:sp>
    </p:spTree>
    <p:extLst>
      <p:ext uri="{BB962C8B-B14F-4D97-AF65-F5344CB8AC3E}">
        <p14:creationId xmlns:p14="http://schemas.microsoft.com/office/powerpoint/2010/main" val="504486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C9B4117-59AD-48F2-A104-C6B4C82FBFB5}" type="slidenum">
              <a:rPr kumimoji="0" lang="en-US" sz="1200" b="0" i="0" u="none" strike="noStrike" kern="1200" cap="none" spc="0" normalizeH="0" baseline="0" noProof="0" smtClean="0">
                <a:ln>
                  <a:noFill/>
                </a:ln>
                <a:solidFill>
                  <a:prstClr val="black"/>
                </a:solidFill>
                <a:effectLst/>
                <a:uLnTx/>
                <a:uFillTx/>
                <a:latin typeface="Interstate-Regular" pitchFamily="2"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Interstate-Regular" pitchFamily="2" charset="0"/>
              <a:ea typeface="+mn-ea"/>
              <a:cs typeface="+mn-cs"/>
            </a:endParaRPr>
          </a:p>
        </p:txBody>
      </p:sp>
    </p:spTree>
    <p:extLst>
      <p:ext uri="{BB962C8B-B14F-4D97-AF65-F5344CB8AC3E}">
        <p14:creationId xmlns:p14="http://schemas.microsoft.com/office/powerpoint/2010/main" val="1274924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atin typeface="Interstate-Light" panose="02000606030000020004" pitchFamily="2"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C9B4117-59AD-48F2-A104-C6B4C82FBFB5}" type="slidenum">
              <a:rPr kumimoji="0" lang="en-US" sz="1200" b="0" i="0" u="none" strike="noStrike" kern="1200" cap="none" spc="0" normalizeH="0" baseline="0" noProof="0" smtClean="0">
                <a:ln>
                  <a:noFill/>
                </a:ln>
                <a:solidFill>
                  <a:prstClr val="black"/>
                </a:solidFill>
                <a:effectLst/>
                <a:uLnTx/>
                <a:uFillTx/>
                <a:latin typeface="Interstate-Regular" pitchFamily="2"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Interstate-Regular" pitchFamily="2" charset="0"/>
              <a:ea typeface="+mn-ea"/>
              <a:cs typeface="+mn-cs"/>
            </a:endParaRPr>
          </a:p>
        </p:txBody>
      </p:sp>
    </p:spTree>
    <p:extLst>
      <p:ext uri="{BB962C8B-B14F-4D97-AF65-F5344CB8AC3E}">
        <p14:creationId xmlns:p14="http://schemas.microsoft.com/office/powerpoint/2010/main" val="3740519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7543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5 on the Top 70 Airport Facility Engineering Fir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84 on the Top 100 Green Design Firms in 2024, highlighting the firm's dedication to sustainability, resilience, and occupant health and wellness in infrastructure projec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AIA 2030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Employee owned with over 30% shareholders (fyi exact number currently is 3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411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3013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09EEFA-1722-82DC-1551-2565F22EAB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D07A97-51A4-5076-0BC8-0150D5DC53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898A0F-225C-0730-8E8F-814AA92819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3C88D9-259B-0702-9009-2A0BDECCC7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273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spcAft>
                <a:spcPts val="1800"/>
              </a:spcAft>
              <a:buFont typeface="Arial" panose="020B0604020202020204" pitchFamily="34" charset="0"/>
              <a:buNone/>
            </a:pPr>
            <a:r>
              <a:rPr lang="en-US" sz="2400" b="0" i="0">
                <a:solidFill>
                  <a:srgbClr val="1C1C1C"/>
                </a:solidFill>
                <a:effectLst/>
                <a:latin typeface="Inter"/>
              </a:rPr>
              <a:t>As our final piece of housekeeping: </a:t>
            </a:r>
          </a:p>
          <a:p>
            <a:pPr marL="0" indent="0" algn="l">
              <a:spcAft>
                <a:spcPts val="1800"/>
              </a:spcAft>
              <a:buFont typeface="Arial" panose="020B0604020202020204" pitchFamily="34" charset="0"/>
              <a:buNone/>
            </a:pPr>
            <a:r>
              <a:rPr lang="en-US" sz="2400" b="0" i="0">
                <a:solidFill>
                  <a:srgbClr val="1C1C1C"/>
                </a:solidFill>
                <a:effectLst/>
                <a:latin typeface="Inter"/>
              </a:rPr>
              <a:t>Please keep your cameras and microphones off to maintain focus during the event and minimize distractions for our speakers. If you are muted at any point during the presentation, please be advised that you will have difficulties accessing your mics during the breakout rooms. </a:t>
            </a:r>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2</a:t>
            </a:fld>
            <a:endParaRPr lang="en-US"/>
          </a:p>
        </p:txBody>
      </p:sp>
    </p:spTree>
    <p:extLst>
      <p:ext uri="{BB962C8B-B14F-4D97-AF65-F5344CB8AC3E}">
        <p14:creationId xmlns:p14="http://schemas.microsoft.com/office/powerpoint/2010/main" val="603346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AF925-A09A-EC80-D733-1F013E2241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810511-FC7B-85F0-29A4-EEC477AB1E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07E8DB-4AB2-E7CF-C327-843BE52E084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9CEE04-FEC8-4838-4701-D8FE530520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31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B586C-FCD2-8848-13B7-5B5A0D5F42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5EC01C-AC80-54CC-ABA7-59B0C4782C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817B4D-F78E-BAD5-1083-781BB12D00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11DCE5-670C-0938-CA9E-EF446874B5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853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4514A-5454-26FF-7978-5D1B39E3A4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5D758-EF6A-BE79-9737-9C35FB2B6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CFEE75-D3E0-406F-2B34-604EC5C1753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538A6F-7A81-E9DF-EF64-E5D82FC5DE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4019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A5B07C-6684-4E48-A424-DD19FFED3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7207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5C8D99-0A30-4853-ABA5-6778DC10C733}" type="slidenum">
              <a:rPr lang="en-US" smtClean="0"/>
              <a:pPr/>
              <a:t>24</a:t>
            </a:fld>
            <a:endParaRPr lang="en-US"/>
          </a:p>
        </p:txBody>
      </p:sp>
    </p:spTree>
    <p:extLst>
      <p:ext uri="{BB962C8B-B14F-4D97-AF65-F5344CB8AC3E}">
        <p14:creationId xmlns:p14="http://schemas.microsoft.com/office/powerpoint/2010/main" val="33498711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5C8D99-0A30-4853-ABA5-6778DC10C733}" type="slidenum">
              <a:rPr lang="en-US" smtClean="0"/>
              <a:pPr/>
              <a:t>25</a:t>
            </a:fld>
            <a:endParaRPr lang="en-US"/>
          </a:p>
        </p:txBody>
      </p:sp>
    </p:spTree>
    <p:extLst>
      <p:ext uri="{BB962C8B-B14F-4D97-AF65-F5344CB8AC3E}">
        <p14:creationId xmlns:p14="http://schemas.microsoft.com/office/powerpoint/2010/main" val="231871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28</a:t>
            </a:fld>
            <a:endParaRPr lang="en-US"/>
          </a:p>
        </p:txBody>
      </p:sp>
    </p:spTree>
    <p:extLst>
      <p:ext uri="{BB962C8B-B14F-4D97-AF65-F5344CB8AC3E}">
        <p14:creationId xmlns:p14="http://schemas.microsoft.com/office/powerpoint/2010/main" val="776694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0</a:t>
            </a:fld>
            <a:endParaRPr lang="en-US"/>
          </a:p>
        </p:txBody>
      </p:sp>
    </p:spTree>
    <p:extLst>
      <p:ext uri="{BB962C8B-B14F-4D97-AF65-F5344CB8AC3E}">
        <p14:creationId xmlns:p14="http://schemas.microsoft.com/office/powerpoint/2010/main" val="42739469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1</a:t>
            </a:fld>
            <a:endParaRPr lang="en-US"/>
          </a:p>
        </p:txBody>
      </p:sp>
    </p:spTree>
    <p:extLst>
      <p:ext uri="{BB962C8B-B14F-4D97-AF65-F5344CB8AC3E}">
        <p14:creationId xmlns:p14="http://schemas.microsoft.com/office/powerpoint/2010/main" val="20641362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2</a:t>
            </a:fld>
            <a:endParaRPr lang="en-US"/>
          </a:p>
        </p:txBody>
      </p:sp>
    </p:spTree>
    <p:extLst>
      <p:ext uri="{BB962C8B-B14F-4D97-AF65-F5344CB8AC3E}">
        <p14:creationId xmlns:p14="http://schemas.microsoft.com/office/powerpoint/2010/main" val="2423543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F0F10"/>
                </a:solidFill>
                <a:effectLst/>
                <a:latin typeface="source-sans-pro"/>
              </a:rPr>
              <a:t>Vision 100 and Operation 2045 are two phases of DEN’s strategic plan. Vision 100 is phase one and is focused on preparing the airport to serve 100 million annual passengers in the next several years. Operation 2045 is phase two and is focused on preparing the airport for its 50</a:t>
            </a:r>
            <a:r>
              <a:rPr lang="en-US" b="0" i="0" baseline="30000">
                <a:solidFill>
                  <a:srgbClr val="0F0F10"/>
                </a:solidFill>
                <a:effectLst/>
                <a:latin typeface="source-sans-pro"/>
              </a:rPr>
              <a:t>th</a:t>
            </a:r>
            <a:r>
              <a:rPr lang="en-US" b="0" i="0">
                <a:solidFill>
                  <a:srgbClr val="0F0F10"/>
                </a:solidFill>
                <a:effectLst/>
                <a:latin typeface="source-sans-pro"/>
              </a:rPr>
              <a:t> anniversary in 2045 and for an expected 120 million-plus annual passengers. Both phases combined serve as a blueprint to align decision-making and accountability.</a:t>
            </a:r>
            <a:endParaRPr lang="en-US" b="0" i="0">
              <a:solidFill>
                <a:srgbClr val="32313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660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3</a:t>
            </a:fld>
            <a:endParaRPr lang="en-US"/>
          </a:p>
        </p:txBody>
      </p:sp>
    </p:spTree>
    <p:extLst>
      <p:ext uri="{BB962C8B-B14F-4D97-AF65-F5344CB8AC3E}">
        <p14:creationId xmlns:p14="http://schemas.microsoft.com/office/powerpoint/2010/main" val="7382179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4</a:t>
            </a:fld>
            <a:endParaRPr lang="en-US"/>
          </a:p>
        </p:txBody>
      </p:sp>
    </p:spTree>
    <p:extLst>
      <p:ext uri="{BB962C8B-B14F-4D97-AF65-F5344CB8AC3E}">
        <p14:creationId xmlns:p14="http://schemas.microsoft.com/office/powerpoint/2010/main" val="15085438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DEN Meet the Primes: Partnership Interest Form – Fill out form</a:t>
            </a:r>
            <a:endParaRPr lang="en-US"/>
          </a:p>
        </p:txBody>
      </p:sp>
      <p:sp>
        <p:nvSpPr>
          <p:cNvPr id="4" name="Slide Number Placeholder 3"/>
          <p:cNvSpPr>
            <a:spLocks noGrp="1"/>
          </p:cNvSpPr>
          <p:nvPr>
            <p:ph type="sldNum" sz="quarter" idx="5"/>
          </p:nvPr>
        </p:nvSpPr>
        <p:spPr/>
        <p:txBody>
          <a:bodyPr/>
          <a:lstStyle/>
          <a:p>
            <a:fld id="{61EB13A2-39FB-475B-89BC-0D16699CD47D}" type="slidenum">
              <a:rPr lang="en-US" smtClean="0"/>
              <a:t>35</a:t>
            </a:fld>
            <a:endParaRPr lang="en-US"/>
          </a:p>
        </p:txBody>
      </p:sp>
    </p:spTree>
    <p:extLst>
      <p:ext uri="{BB962C8B-B14F-4D97-AF65-F5344CB8AC3E}">
        <p14:creationId xmlns:p14="http://schemas.microsoft.com/office/powerpoint/2010/main" val="20191305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C55B8A-C5DE-4D47-97EA-5DFACE786064}" type="slidenum">
              <a:rPr lang="en-US" smtClean="0"/>
              <a:t>37</a:t>
            </a:fld>
            <a:endParaRPr lang="en-US"/>
          </a:p>
        </p:txBody>
      </p:sp>
    </p:spTree>
    <p:extLst>
      <p:ext uri="{BB962C8B-B14F-4D97-AF65-F5344CB8AC3E}">
        <p14:creationId xmlns:p14="http://schemas.microsoft.com/office/powerpoint/2010/main" val="8173362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1FDF6-CEFE-66AE-55E2-A345303F3B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867F0F-BE70-254D-EF30-1D3AC5AEDB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32B969-6035-ABA3-419B-2007E5BB71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63B6FC6-0F40-9C59-1E0E-798FFDF2173C}"/>
              </a:ext>
            </a:extLst>
          </p:cNvPr>
          <p:cNvSpPr>
            <a:spLocks noGrp="1"/>
          </p:cNvSpPr>
          <p:nvPr>
            <p:ph type="sldNum" sz="quarter" idx="5"/>
          </p:nvPr>
        </p:nvSpPr>
        <p:spPr/>
        <p:txBody>
          <a:bodyPr/>
          <a:lstStyle/>
          <a:p>
            <a:fld id="{E8C55B8A-C5DE-4D47-97EA-5DFACE786064}" type="slidenum">
              <a:rPr lang="en-US" smtClean="0"/>
              <a:t>38</a:t>
            </a:fld>
            <a:endParaRPr lang="en-US"/>
          </a:p>
        </p:txBody>
      </p:sp>
    </p:spTree>
    <p:extLst>
      <p:ext uri="{BB962C8B-B14F-4D97-AF65-F5344CB8AC3E}">
        <p14:creationId xmlns:p14="http://schemas.microsoft.com/office/powerpoint/2010/main" val="16774888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C55B8A-C5DE-4D47-97EA-5DFACE786064}" type="slidenum">
              <a:rPr lang="en-US" smtClean="0"/>
              <a:t>41</a:t>
            </a:fld>
            <a:endParaRPr lang="en-US"/>
          </a:p>
        </p:txBody>
      </p:sp>
    </p:spTree>
    <p:extLst>
      <p:ext uri="{BB962C8B-B14F-4D97-AF65-F5344CB8AC3E}">
        <p14:creationId xmlns:p14="http://schemas.microsoft.com/office/powerpoint/2010/main" val="40606702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 map of where STV has delivered aviation projects</a:t>
            </a:r>
          </a:p>
        </p:txBody>
      </p:sp>
      <p:sp>
        <p:nvSpPr>
          <p:cNvPr id="4" name="Slide Number Placeholder 3"/>
          <p:cNvSpPr>
            <a:spLocks noGrp="1"/>
          </p:cNvSpPr>
          <p:nvPr>
            <p:ph type="sldNum" sz="quarter" idx="5"/>
          </p:nvPr>
        </p:nvSpPr>
        <p:spPr/>
        <p:txBody>
          <a:bodyPr/>
          <a:lstStyle/>
          <a:p>
            <a:fld id="{40458BB1-AE36-4D75-8948-DA39B62BD6AB}" type="slidenum">
              <a:rPr lang="en-US" smtClean="0"/>
              <a:pPr/>
              <a:t>42</a:t>
            </a:fld>
            <a:endParaRPr lang="en-US"/>
          </a:p>
        </p:txBody>
      </p:sp>
    </p:spTree>
    <p:extLst>
      <p:ext uri="{BB962C8B-B14F-4D97-AF65-F5344CB8AC3E}">
        <p14:creationId xmlns:p14="http://schemas.microsoft.com/office/powerpoint/2010/main" val="14483964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 group of people clapping</a:t>
            </a:r>
          </a:p>
          <a:p>
            <a:endParaRPr lang="en-US"/>
          </a:p>
        </p:txBody>
      </p:sp>
      <p:sp>
        <p:nvSpPr>
          <p:cNvPr id="4" name="Slide Number Placeholder 3"/>
          <p:cNvSpPr>
            <a:spLocks noGrp="1"/>
          </p:cNvSpPr>
          <p:nvPr>
            <p:ph type="sldNum" sz="quarter" idx="5"/>
          </p:nvPr>
        </p:nvSpPr>
        <p:spPr/>
        <p:txBody>
          <a:bodyPr/>
          <a:lstStyle/>
          <a:p>
            <a:fld id="{40458BB1-AE36-4D75-8948-DA39B62BD6AB}" type="slidenum">
              <a:rPr lang="en-US" smtClean="0"/>
              <a:pPr/>
              <a:t>43</a:t>
            </a:fld>
            <a:endParaRPr lang="en-US"/>
          </a:p>
        </p:txBody>
      </p:sp>
    </p:spTree>
    <p:extLst>
      <p:ext uri="{BB962C8B-B14F-4D97-AF65-F5344CB8AC3E}">
        <p14:creationId xmlns:p14="http://schemas.microsoft.com/office/powerpoint/2010/main" val="1619167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458BB1-AE36-4D75-8948-DA39B62BD6AB}" type="slidenum">
              <a:rPr lang="en-US" smtClean="0"/>
              <a:pPr/>
              <a:t>44</a:t>
            </a:fld>
            <a:endParaRPr lang="en-US"/>
          </a:p>
        </p:txBody>
      </p:sp>
    </p:spTree>
    <p:extLst>
      <p:ext uri="{BB962C8B-B14F-4D97-AF65-F5344CB8AC3E}">
        <p14:creationId xmlns:p14="http://schemas.microsoft.com/office/powerpoint/2010/main" val="1568001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EWR - Newark Liberty International (EWR) Terminal A Redevelopment Design-Build</a:t>
            </a:r>
          </a:p>
          <a:p>
            <a:pPr marL="0" indent="0">
              <a:buNone/>
            </a:pPr>
            <a:r>
              <a:rPr lang="en-US"/>
              <a:t>IAH - George Bush Intercontinental Airport Terminal B Re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AX - Landside Access Modernization Progra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GA - Delta Air Lines Terminal C at LaGuardia Airport</a:t>
            </a:r>
          </a:p>
          <a:p>
            <a:pPr marL="0" indent="0">
              <a:buNone/>
            </a:pPr>
            <a:r>
              <a:rPr lang="en-US"/>
              <a:t>JFK - PANYNJ JFK Terminal Redevelopment Program</a:t>
            </a:r>
          </a:p>
          <a:p>
            <a:pPr marL="0" indent="0">
              <a:buNone/>
            </a:pPr>
            <a:r>
              <a:rPr lang="en-US"/>
              <a:t>RIC - Richmond International Airport Concourses A and B</a:t>
            </a:r>
          </a:p>
        </p:txBody>
      </p:sp>
      <p:sp>
        <p:nvSpPr>
          <p:cNvPr id="4" name="Slide Number Placeholder 3"/>
          <p:cNvSpPr>
            <a:spLocks noGrp="1"/>
          </p:cNvSpPr>
          <p:nvPr>
            <p:ph type="sldNum" sz="quarter" idx="5"/>
          </p:nvPr>
        </p:nvSpPr>
        <p:spPr/>
        <p:txBody>
          <a:bodyPr/>
          <a:lstStyle/>
          <a:p>
            <a:fld id="{40458BB1-AE36-4D75-8948-DA39B62BD6AB}" type="slidenum">
              <a:rPr lang="en-US" smtClean="0"/>
              <a:pPr/>
              <a:t>45</a:t>
            </a:fld>
            <a:endParaRPr lang="en-US"/>
          </a:p>
        </p:txBody>
      </p:sp>
    </p:spTree>
    <p:extLst>
      <p:ext uri="{BB962C8B-B14F-4D97-AF65-F5344CB8AC3E}">
        <p14:creationId xmlns:p14="http://schemas.microsoft.com/office/powerpoint/2010/main" val="2204295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800">
              <a:defRPr/>
            </a:pPr>
            <a:r>
              <a:rPr lang="en-US" b="1"/>
              <a:t>Thank you for an incredible year of Taking Flight at DEN!</a:t>
            </a:r>
            <a:br>
              <a:rPr lang="en-US"/>
            </a:br>
            <a:r>
              <a:rPr lang="en-US"/>
              <a:t>We appreciate your engagement and partnership throughout 2025.</a:t>
            </a:r>
            <a:br>
              <a:rPr lang="en-US"/>
            </a:br>
            <a:r>
              <a:rPr lang="en-US"/>
              <a:t>Follow us to stay connected and be the first to hear about </a:t>
            </a:r>
            <a:r>
              <a:rPr lang="en-US" b="1"/>
              <a:t>2026 events and opportunities</a:t>
            </a:r>
            <a:r>
              <a:rPr lang="en-US"/>
              <a:t>.</a:t>
            </a:r>
            <a:endParaRPr lang="en-US" b="0" i="0">
              <a:solidFill>
                <a:srgbClr val="8C9EBC"/>
              </a:solidFill>
              <a:effectLst/>
              <a:latin typeface="Inter"/>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103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dshots of Henry Dumaran and Ben Hughes</a:t>
            </a:r>
          </a:p>
        </p:txBody>
      </p:sp>
      <p:sp>
        <p:nvSpPr>
          <p:cNvPr id="4" name="Slide Number Placeholder 3"/>
          <p:cNvSpPr>
            <a:spLocks noGrp="1"/>
          </p:cNvSpPr>
          <p:nvPr>
            <p:ph type="sldNum" sz="quarter" idx="5"/>
          </p:nvPr>
        </p:nvSpPr>
        <p:spPr/>
        <p:txBody>
          <a:bodyPr/>
          <a:lstStyle/>
          <a:p>
            <a:fld id="{40458BB1-AE36-4D75-8948-DA39B62BD6AB}" type="slidenum">
              <a:rPr lang="en-US" smtClean="0"/>
              <a:pPr/>
              <a:t>46</a:t>
            </a:fld>
            <a:endParaRPr lang="en-US"/>
          </a:p>
        </p:txBody>
      </p:sp>
    </p:spTree>
    <p:extLst>
      <p:ext uri="{BB962C8B-B14F-4D97-AF65-F5344CB8AC3E}">
        <p14:creationId xmlns:p14="http://schemas.microsoft.com/office/powerpoint/2010/main" val="38893498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90EB9-1335-1704-764C-ACAC749245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D4D97B-B200-297C-E252-33CE12F10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F847B4-17E3-A9D5-DCDA-E637C10794A0}"/>
              </a:ext>
            </a:extLst>
          </p:cNvPr>
          <p:cNvSpPr>
            <a:spLocks noGrp="1"/>
          </p:cNvSpPr>
          <p:nvPr>
            <p:ph type="body" idx="1"/>
          </p:nvPr>
        </p:nvSpPr>
        <p:spPr/>
        <p:txBody>
          <a:bodyPr/>
          <a:lstStyle/>
          <a:p>
            <a:pPr marL="0" indent="0">
              <a:buFont typeface="Arial" panose="020B0604020202020204" pitchFamily="34" charset="0"/>
              <a:buNone/>
            </a:pPr>
            <a:r>
              <a:rPr lang="en-US"/>
              <a:t>[Kelly presenting]</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Thank you for being her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y name is Kelly Knowles and I joined WSP in June 2025 to serve as the DEN Account Leader.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m also a structural engineer and project manager, who has supported DEN’s Great Hall project and served as the Structural Engineer of Record on DEN’s Structural Engineering On-call.</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y job, as account lead, is to make sure that WSP brings the very best service offerings to DEN, supporting DEN’s Vision 100 and Operation 2045 goals and objective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ts not only WSP’s capabilities that will enable us to bring the very best, but our local experience and local partnerships from across Denver’s consultant community.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m thrilled to be here to share a bit about what WSP can do and to connect with you all during the breakouts to discuss what we can do together.</a:t>
            </a:r>
          </a:p>
          <a:p>
            <a:pPr marL="171450"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743A28AF-EE28-5C33-7361-9E2362D7800E}"/>
              </a:ext>
            </a:extLst>
          </p:cNvPr>
          <p:cNvSpPr>
            <a:spLocks noGrp="1"/>
          </p:cNvSpPr>
          <p:nvPr>
            <p:ph type="sldNum" sz="quarter" idx="5"/>
          </p:nvPr>
        </p:nvSpPr>
        <p:spPr/>
        <p:txBody>
          <a:bodyPr/>
          <a:lstStyle/>
          <a:p>
            <a:fld id="{77160270-B91B-F943-996A-5642B4602F52}" type="slidenum">
              <a:rPr lang="en-US" smtClean="0"/>
              <a:t>47</a:t>
            </a:fld>
            <a:endParaRPr lang="en-US"/>
          </a:p>
        </p:txBody>
      </p:sp>
    </p:spTree>
    <p:extLst>
      <p:ext uri="{BB962C8B-B14F-4D97-AF65-F5344CB8AC3E}">
        <p14:creationId xmlns:p14="http://schemas.microsoft.com/office/powerpoint/2010/main" val="27374156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6C652-EA75-6C79-8337-9BF68CDE5F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2D23A5-1056-7485-7BD3-6D9015684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2FDEA7-740C-929B-C05E-180589DA56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Kelly presenting]</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At DEN, specifically, we are probably best known for our work supporting the $2.5B concourse expansion, serving as DEN’s program manager</a:t>
            </a:r>
          </a:p>
          <a:p>
            <a:pPr marL="171450" indent="-171450">
              <a:buFont typeface="Arial" panose="020B0604020202020204" pitchFamily="34" charset="0"/>
              <a:buChar char="•"/>
            </a:pPr>
            <a:r>
              <a:rPr lang="en-US"/>
              <a:t>Lesser known projects that demonstrate our broader capabilities include the:</a:t>
            </a:r>
          </a:p>
          <a:p>
            <a:pPr marL="400050" lvl="1" indent="-171450">
              <a:buFont typeface="Arial" panose="020B0604020202020204" pitchFamily="34" charset="0"/>
              <a:buChar char="•"/>
            </a:pPr>
            <a:r>
              <a:rPr lang="en-US"/>
              <a:t>DEN PMSS as sub to JWI</a:t>
            </a:r>
          </a:p>
          <a:p>
            <a:pPr marL="4000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EN Asset Management Gap Analysis and Strategic Plan</a:t>
            </a:r>
          </a:p>
          <a:p>
            <a:pPr marL="4000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EN Sustainability Roadmap, which included goals of achieving net zero energy and a “one water” solution for 10-million square feet of commercial development land owned by the airport.</a:t>
            </a:r>
          </a:p>
          <a:p>
            <a:pPr marL="0"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Now, I’ll turn it over to Zamy Silva, our local HUB liaison and a Civil Rights Compliance Advisor with WSP to walk us through our supplier diversity program and upcoming opportunities.</a:t>
            </a:r>
          </a:p>
          <a:p>
            <a:pPr marL="400050" lvl="1"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C4DD9983-01A7-783D-98D2-EAC14ABAF75C}"/>
              </a:ext>
            </a:extLst>
          </p:cNvPr>
          <p:cNvSpPr>
            <a:spLocks noGrp="1"/>
          </p:cNvSpPr>
          <p:nvPr>
            <p:ph type="sldNum" sz="quarter" idx="5"/>
          </p:nvPr>
        </p:nvSpPr>
        <p:spPr/>
        <p:txBody>
          <a:bodyPr/>
          <a:lstStyle/>
          <a:p>
            <a:fld id="{77160270-B91B-F943-996A-5642B4602F52}" type="slidenum">
              <a:rPr lang="en-US" smtClean="0"/>
              <a:t>49</a:t>
            </a:fld>
            <a:endParaRPr lang="en-US"/>
          </a:p>
        </p:txBody>
      </p:sp>
    </p:spTree>
    <p:extLst>
      <p:ext uri="{BB962C8B-B14F-4D97-AF65-F5344CB8AC3E}">
        <p14:creationId xmlns:p14="http://schemas.microsoft.com/office/powerpoint/2010/main" val="18295669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Zamy presenting]</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At WSP, we have a robust supplier diversity program, providing several opportunities for us to engage with current and future industry partners like yourselves.</a:t>
            </a:r>
            <a:endParaRPr lang="en-US">
              <a:ea typeface="Calibri"/>
              <a:cs typeface="Calibri"/>
            </a:endParaRPr>
          </a:p>
          <a:p>
            <a:pPr marL="171450" indent="-171450">
              <a:buFont typeface="Arial" panose="020B0604020202020204" pitchFamily="34" charset="0"/>
              <a:buChar char="•"/>
            </a:pPr>
            <a:r>
              <a:rPr lang="en-US"/>
              <a:t>First, I want to underscore WSP’s commitment to supplier diversity. WSP signed the EIP pledge, which demonstrates our shared commitment to </a:t>
            </a:r>
            <a:endParaRPr lang="en-US">
              <a:ea typeface="Calibri"/>
              <a:cs typeface="Calibri"/>
            </a:endParaRPr>
          </a:p>
          <a:p>
            <a:pPr marL="628650" lvl="1" indent="-171450">
              <a:buFont typeface="Arial" panose="020B0604020202020204" pitchFamily="34" charset="0"/>
              <a:buChar char="•"/>
            </a:pPr>
            <a:r>
              <a:rPr lang="en-US"/>
              <a:t>enhancing contracting opportunities for Historically Underutilized Businesses in infrastructure projects, </a:t>
            </a:r>
            <a:endParaRPr lang="en-US">
              <a:ea typeface="Calibri"/>
              <a:cs typeface="Calibri"/>
            </a:endParaRPr>
          </a:p>
          <a:p>
            <a:pPr marL="628650" lvl="1" indent="-171450">
              <a:buFont typeface="Arial" panose="020B0604020202020204" pitchFamily="34" charset="0"/>
              <a:buChar char="•"/>
            </a:pPr>
            <a:r>
              <a:rPr lang="en-US"/>
              <a:t>promoting equity, </a:t>
            </a:r>
            <a:endParaRPr lang="en-US">
              <a:ea typeface="Calibri"/>
              <a:cs typeface="Calibri"/>
            </a:endParaRPr>
          </a:p>
          <a:p>
            <a:pPr marL="628650" lvl="1" indent="-171450">
              <a:buFont typeface="Arial" panose="020B0604020202020204" pitchFamily="34" charset="0"/>
              <a:buChar char="•"/>
            </a:pPr>
            <a:r>
              <a:rPr lang="en-US"/>
              <a:t>reducing the racial wealth gap, and </a:t>
            </a:r>
            <a:endParaRPr lang="en-US">
              <a:ea typeface="Calibri"/>
              <a:cs typeface="Calibri"/>
            </a:endParaRPr>
          </a:p>
          <a:p>
            <a:pPr marL="628650" lvl="1" indent="-171450">
              <a:buFont typeface="Arial" panose="020B0604020202020204" pitchFamily="34" charset="0"/>
              <a:buChar char="•"/>
            </a:pPr>
            <a:r>
              <a:rPr lang="en-US"/>
              <a:t>creating more competition for public contracts, which ultimately saves taxpayer dollars. </a:t>
            </a:r>
            <a:endParaRPr lang="en-US">
              <a:ea typeface="Calibri"/>
              <a:cs typeface="Calibri"/>
            </a:endParaRPr>
          </a:p>
          <a:p>
            <a:pPr marL="171450" lvl="0" indent="-171450">
              <a:buFont typeface="Arial" panose="020B0604020202020204" pitchFamily="34" charset="0"/>
              <a:buChar char="•"/>
            </a:pPr>
            <a:r>
              <a:rPr lang="en-US"/>
              <a:t>WSP’s commitment to that pledge is unwavering, regardless of changes in procurement requirement that might be observed to maintain eligibility for federal funding. </a:t>
            </a:r>
            <a:endParaRPr lang="en-US">
              <a:ea typeface="Calibri"/>
              <a:cs typeface="Calibri"/>
            </a:endParaRPr>
          </a:p>
          <a:p>
            <a:pPr marL="171450" indent="-171450">
              <a:buFont typeface="Arial" panose="020B0604020202020204" pitchFamily="34" charset="0"/>
              <a:buChar char="•"/>
            </a:pPr>
            <a:r>
              <a:rPr lang="en-US"/>
              <a:t>We live that commitment by</a:t>
            </a:r>
            <a:endParaRPr lang="en-US">
              <a:ea typeface="Calibri"/>
              <a:cs typeface="Calibri"/>
            </a:endParaRPr>
          </a:p>
          <a:p>
            <a:pPr marL="628650" lvl="1" indent="-171450">
              <a:buFont typeface="Arial" panose="020B0604020202020204" pitchFamily="34" charset="0"/>
              <a:buChar char="•"/>
            </a:pPr>
            <a:r>
              <a:rPr lang="en-US" b="1"/>
              <a:t>Hosting an annual Partnership 360 events</a:t>
            </a:r>
            <a:r>
              <a:rPr lang="en-US"/>
              <a:t>, where we invite HUB firms to mix and mingle and learn more about partnership opportunities with WSP. Our next one will be in April, so when we are in the breakouts please make sure to share your name and email and we'll send you an invite. </a:t>
            </a:r>
          </a:p>
          <a:p>
            <a:pPr marL="628650" lvl="1" indent="-171450">
              <a:buFont typeface="Arial" panose="020B0604020202020204" pitchFamily="34" charset="0"/>
              <a:buChar char="•"/>
            </a:pPr>
            <a:r>
              <a:rPr lang="en-US" b="1"/>
              <a:t>Participating in the </a:t>
            </a:r>
            <a:r>
              <a:rPr lang="en-US" sz="1200" b="1"/>
              <a:t>mentor/protégé program </a:t>
            </a:r>
            <a:r>
              <a:rPr lang="en-US" sz="1200"/>
              <a:t>and </a:t>
            </a:r>
            <a:endParaRPr lang="en-US" sz="1200">
              <a:ea typeface="Calibri"/>
              <a:cs typeface="Calibri"/>
            </a:endParaRPr>
          </a:p>
          <a:p>
            <a:pPr marL="628650" lvl="1" indent="-171450">
              <a:buFont typeface="Arial" panose="020B0604020202020204" pitchFamily="34" charset="0"/>
              <a:buChar char="•"/>
            </a:pPr>
            <a:r>
              <a:rPr lang="en-US" sz="1200" b="1"/>
              <a:t>Engaging in industry and HUB events </a:t>
            </a:r>
            <a:r>
              <a:rPr lang="en-US" sz="1200"/>
              <a:t>like CEEA graduation event, WTS, COMTO, HCC and other networking events.</a:t>
            </a:r>
            <a:endParaRPr lang="en-US" sz="1200">
              <a:ea typeface="Calibri"/>
              <a:cs typeface="Calibri"/>
            </a:endParaRPr>
          </a:p>
          <a:p>
            <a:pPr marL="171450" lvl="0" indent="-171450">
              <a:buFont typeface="Arial" panose="020B0604020202020204" pitchFamily="34" charset="0"/>
              <a:buChar char="•"/>
            </a:pPr>
            <a:r>
              <a:rPr lang="en-US"/>
              <a:t>Some of the projects we are interested are listed here—both current and upcoming—and we welcome the opportunity to discuss these with you in the breakouts today and in 1-on-1 teaming meetings.</a:t>
            </a:r>
            <a:endParaRPr lang="en-US">
              <a:ea typeface="Calibri"/>
              <a:cs typeface="Calibri"/>
            </a:endParaRPr>
          </a:p>
          <a:p>
            <a:pPr marL="171450" indent="-171450">
              <a:buFont typeface="Arial" panose="020B0604020202020204" pitchFamily="34" charset="0"/>
              <a:buChar char="•"/>
            </a:pPr>
            <a:r>
              <a:rPr lang="en-US"/>
              <a:t>We are interested in both prime and sub roles. </a:t>
            </a:r>
            <a:endParaRPr lang="en-US">
              <a:ea typeface="Calibri"/>
              <a:cs typeface="Calibri"/>
            </a:endParaRPr>
          </a:p>
          <a:p>
            <a:pPr marL="171450" indent="-171450">
              <a:buFont typeface="Arial" panose="020B0604020202020204" pitchFamily="34" charset="0"/>
              <a:buChar char="•"/>
            </a:pPr>
            <a:r>
              <a:rPr lang="en-US"/>
              <a:t>In addition to the local opportunities listed here, we’re looking for partners at Phoenix, Las Vegas, Seattle, St. Louis, and Los Angeles airports. </a:t>
            </a:r>
            <a:endParaRPr lang="en-US">
              <a:ea typeface="Calibri"/>
              <a:cs typeface="Calibri"/>
            </a:endParaRPr>
          </a:p>
        </p:txBody>
      </p:sp>
      <p:sp>
        <p:nvSpPr>
          <p:cNvPr id="4" name="Slide Number Placeholder 3"/>
          <p:cNvSpPr>
            <a:spLocks noGrp="1"/>
          </p:cNvSpPr>
          <p:nvPr>
            <p:ph type="sldNum" sz="quarter" idx="5"/>
          </p:nvPr>
        </p:nvSpPr>
        <p:spPr/>
        <p:txBody>
          <a:bodyPr/>
          <a:lstStyle/>
          <a:p>
            <a:fld id="{77160270-B91B-F943-996A-5642B4602F52}" type="slidenum">
              <a:rPr lang="en-US" smtClean="0"/>
              <a:t>50</a:t>
            </a:fld>
            <a:endParaRPr lang="en-US"/>
          </a:p>
        </p:txBody>
      </p:sp>
    </p:spTree>
    <p:extLst>
      <p:ext uri="{BB962C8B-B14F-4D97-AF65-F5344CB8AC3E}">
        <p14:creationId xmlns:p14="http://schemas.microsoft.com/office/powerpoint/2010/main" val="24965985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64407-2B67-8513-C3B8-068DC831A8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4CF320-0685-658D-7EBA-552C1E7E84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A002C7-288F-F463-F5CB-AC1585FC37D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Zamy presenting]</a:t>
            </a:r>
          </a:p>
          <a:p>
            <a:pPr marL="0" indent="0">
              <a:buFont typeface="Arial" panose="020B0604020202020204" pitchFamily="34" charset="0"/>
              <a:buNone/>
            </a:pPr>
            <a:endParaRPr lang="en-US"/>
          </a:p>
          <a:p>
            <a:pPr marL="0" indent="0">
              <a:buFont typeface="Arial" panose="020B0604020202020204" pitchFamily="34" charset="0"/>
              <a:buNone/>
            </a:pPr>
            <a:r>
              <a:rPr lang="en-US"/>
              <a:t>Thank you for your time and attention. In terms of next steps…</a:t>
            </a:r>
          </a:p>
          <a:p>
            <a:pPr marL="171450" indent="-171450">
              <a:buFont typeface="Arial" panose="020B0604020202020204" pitchFamily="34" charset="0"/>
              <a:buChar char="•"/>
            </a:pPr>
            <a:r>
              <a:rPr lang="en-US"/>
              <a:t>Connect with us during today’s breakout! We have a few of our local and national leaders with us today, so we can cover both local and national teaming opportunities of interest to you</a:t>
            </a:r>
          </a:p>
          <a:p>
            <a:pPr marL="171450" indent="-171450">
              <a:buFont typeface="Arial" panose="020B0604020202020204" pitchFamily="34" charset="0"/>
              <a:buChar char="•"/>
            </a:pPr>
            <a:r>
              <a:rPr lang="en-US"/>
              <a:t>Outside of this event, don’t hesitate to contact our local team at industry and HUB events. One of us is typically at COMTO, WTS, and HCC events, and this year will be pulling together a team for the plane pull. Hope to connect with you at these events as well.</a:t>
            </a:r>
          </a:p>
          <a:p>
            <a:pPr marL="171450" indent="-171450">
              <a:buFont typeface="Arial" panose="020B0604020202020204" pitchFamily="34" charset="0"/>
              <a:buChar char="•"/>
            </a:pPr>
            <a:r>
              <a:rPr lang="en-US"/>
              <a:t>We also welcome the opportunity to meet one-on-one to do a deeper dive on partnership opportunities between our firms.</a:t>
            </a:r>
          </a:p>
        </p:txBody>
      </p:sp>
      <p:sp>
        <p:nvSpPr>
          <p:cNvPr id="4" name="Slide Number Placeholder 3">
            <a:extLst>
              <a:ext uri="{FF2B5EF4-FFF2-40B4-BE49-F238E27FC236}">
                <a16:creationId xmlns:a16="http://schemas.microsoft.com/office/drawing/2014/main" id="{88AF573A-2419-E1BB-0B9E-17B60BD186A6}"/>
              </a:ext>
            </a:extLst>
          </p:cNvPr>
          <p:cNvSpPr>
            <a:spLocks noGrp="1"/>
          </p:cNvSpPr>
          <p:nvPr>
            <p:ph type="sldNum" sz="quarter" idx="5"/>
          </p:nvPr>
        </p:nvSpPr>
        <p:spPr/>
        <p:txBody>
          <a:bodyPr/>
          <a:lstStyle/>
          <a:p>
            <a:fld id="{77160270-B91B-F943-996A-5642B4602F52}" type="slidenum">
              <a:rPr lang="en-US" smtClean="0"/>
              <a:t>51</a:t>
            </a:fld>
            <a:endParaRPr lang="en-US"/>
          </a:p>
        </p:txBody>
      </p:sp>
    </p:spTree>
    <p:extLst>
      <p:ext uri="{BB962C8B-B14F-4D97-AF65-F5344CB8AC3E}">
        <p14:creationId xmlns:p14="http://schemas.microsoft.com/office/powerpoint/2010/main" val="3875170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2</a:t>
            </a:fld>
            <a:endParaRPr lang="en-US"/>
          </a:p>
        </p:txBody>
      </p:sp>
    </p:spTree>
    <p:extLst>
      <p:ext uri="{BB962C8B-B14F-4D97-AF65-F5344CB8AC3E}">
        <p14:creationId xmlns:p14="http://schemas.microsoft.com/office/powerpoint/2010/main" val="18076375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3</a:t>
            </a:fld>
            <a:endParaRPr lang="en-US"/>
          </a:p>
        </p:txBody>
      </p:sp>
    </p:spTree>
    <p:extLst>
      <p:ext uri="{BB962C8B-B14F-4D97-AF65-F5344CB8AC3E}">
        <p14:creationId xmlns:p14="http://schemas.microsoft.com/office/powerpoint/2010/main" val="39548157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4</a:t>
            </a:fld>
            <a:endParaRPr lang="en-US"/>
          </a:p>
        </p:txBody>
      </p:sp>
    </p:spTree>
    <p:extLst>
      <p:ext uri="{BB962C8B-B14F-4D97-AF65-F5344CB8AC3E}">
        <p14:creationId xmlns:p14="http://schemas.microsoft.com/office/powerpoint/2010/main" val="31991551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5</a:t>
            </a:fld>
            <a:endParaRPr lang="en-US"/>
          </a:p>
        </p:txBody>
      </p:sp>
    </p:spTree>
    <p:extLst>
      <p:ext uri="{BB962C8B-B14F-4D97-AF65-F5344CB8AC3E}">
        <p14:creationId xmlns:p14="http://schemas.microsoft.com/office/powerpoint/2010/main" val="3691982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6</a:t>
            </a:fld>
            <a:endParaRPr lang="en-US"/>
          </a:p>
        </p:txBody>
      </p:sp>
    </p:spTree>
    <p:extLst>
      <p:ext uri="{BB962C8B-B14F-4D97-AF65-F5344CB8AC3E}">
        <p14:creationId xmlns:p14="http://schemas.microsoft.com/office/powerpoint/2010/main" val="563744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FC51C-101F-EC88-FFA6-FC734B8853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15A79C-1CB7-BC0B-C748-8531E7277D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505146-3BF5-643E-6E7B-3A7F84AF20F8}"/>
              </a:ext>
            </a:extLst>
          </p:cNvPr>
          <p:cNvSpPr>
            <a:spLocks noGrp="1"/>
          </p:cNvSpPr>
          <p:nvPr>
            <p:ph type="body" idx="1"/>
          </p:nvPr>
        </p:nvSpPr>
        <p:spPr/>
        <p:txBody>
          <a:bodyPr/>
          <a:lstStyle/>
          <a:p>
            <a:pPr marL="0" marR="0" lvl="0" indent="0" algn="l" defTabSz="685800" rtl="0" eaLnBrk="1" fontAlgn="auto" latinLnBrk="0" hangingPunct="1">
              <a:lnSpc>
                <a:spcPct val="115000"/>
              </a:lnSpc>
              <a:spcBef>
                <a:spcPts val="0"/>
              </a:spcBef>
              <a:spcAft>
                <a:spcPts val="0"/>
              </a:spcAft>
              <a:buClrTx/>
              <a:buSzTx/>
              <a:buFont typeface="Symbol" panose="05050102010706020507" pitchFamily="18" charset="2"/>
              <a:buNone/>
              <a:tabLst>
                <a:tab pos="1428750" algn="l"/>
              </a:tabLst>
              <a:defRPr/>
            </a:pPr>
            <a:r>
              <a:rPr lang="en-US" sz="3600" b="1"/>
              <a:t>As we conclude this year’s Meet the Primes at DEN, </a:t>
            </a:r>
            <a:r>
              <a:rPr lang="en-US" sz="3600"/>
              <a:t>we thank all participating companies, partners, and attendees for making it a success.</a:t>
            </a:r>
            <a:br>
              <a:rPr lang="en-US" sz="3600"/>
            </a:br>
            <a:r>
              <a:rPr lang="en-US" sz="3600"/>
              <a:t>Stay engaged and </a:t>
            </a:r>
            <a:r>
              <a:rPr lang="en-US" sz="3600" b="1"/>
              <a:t>join us in 2026. </a:t>
            </a:r>
            <a:endParaRPr lang="en-US" sz="3600" b="0" i="0">
              <a:solidFill>
                <a:srgbClr val="1C1C1C"/>
              </a:solidFill>
              <a:effectLst/>
              <a:latin typeface="Inter"/>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C43966B-43A4-DE01-144E-1068262887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4450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35426C-CA4F-4579-8ACE-2CDAEC2AB0CD}" type="slidenum">
              <a:rPr lang="en-US" smtClean="0"/>
              <a:t>57</a:t>
            </a:fld>
            <a:endParaRPr lang="en-US"/>
          </a:p>
        </p:txBody>
      </p:sp>
    </p:spTree>
    <p:extLst>
      <p:ext uri="{BB962C8B-B14F-4D97-AF65-F5344CB8AC3E}">
        <p14:creationId xmlns:p14="http://schemas.microsoft.com/office/powerpoint/2010/main" val="37152912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58</a:t>
            </a:fld>
            <a:endParaRPr lang="en-US"/>
          </a:p>
        </p:txBody>
      </p:sp>
    </p:spTree>
    <p:extLst>
      <p:ext uri="{BB962C8B-B14F-4D97-AF65-F5344CB8AC3E}">
        <p14:creationId xmlns:p14="http://schemas.microsoft.com/office/powerpoint/2010/main" val="38662558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60</a:t>
            </a:fld>
            <a:endParaRPr lang="en-US"/>
          </a:p>
        </p:txBody>
      </p:sp>
    </p:spTree>
    <p:extLst>
      <p:ext uri="{BB962C8B-B14F-4D97-AF65-F5344CB8AC3E}">
        <p14:creationId xmlns:p14="http://schemas.microsoft.com/office/powerpoint/2010/main" val="2331522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200A1-9CB6-4B21-8C9D-E36C59C38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20326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200A1-9CB6-4B21-8C9D-E36C59C38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51568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6E38C-CC0A-A789-FC28-C02743CAD5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34936A-F2F3-3815-C4BF-783C94151B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4D973B-8477-EB28-E152-EF3301F94B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C90501-6008-C785-DC89-E4E7ABE4E9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200A1-9CB6-4B21-8C9D-E36C59C38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61816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200A1-9CB6-4B21-8C9D-E36C59C38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48838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B7212-9AAF-6F54-CDE0-7FF9BB4C7E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2B4BEF-A4BB-A215-1B16-5C2D954E2D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B64542-84DC-4228-B28F-00503B5CA8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3F8C06-6639-E710-A003-5A5B5D612F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200A1-9CB6-4B21-8C9D-E36C59C38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806388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After today’s event, we’ll send all attendees a follow-up email from Eventbrite.com. This email will include the registration list and the presentations.</a:t>
            </a:r>
          </a:p>
          <a:p>
            <a:pPr>
              <a:buNone/>
            </a:pPr>
            <a:endParaRPr lang="en-US"/>
          </a:p>
          <a:p>
            <a:pPr>
              <a:buNone/>
            </a:pPr>
            <a:r>
              <a:rPr lang="en-US"/>
              <a:t>You can also find this information on our website within the next three business days.</a:t>
            </a:r>
          </a:p>
          <a:p>
            <a:pPr>
              <a:buNone/>
            </a:pPr>
            <a:endParaRPr lang="en-US"/>
          </a:p>
          <a:p>
            <a:r>
              <a:rPr lang="en-US"/>
              <a:t>Finally, please take a moment to complete the post-event survey — your feedback helps us improve future ev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99344F-1846-964E-A23F-F797EB56D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084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FD4B18ED-E1DF-48BA-B4C4-EEB0560DAD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B60A4F6-A9E4-4B64-AF1E-1B166DF505B0}"/>
              </a:ext>
            </a:extLst>
          </p:cNvPr>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Volunteer as a Community Panelist to help review procurement proposals and share your valuable insights. It’s a great way to influence future projects! We will drop a link in the chat to learn more. </a:t>
            </a:r>
            <a:endParaRPr lang="en-US" sz="1200" b="0" i="0">
              <a:solidFill>
                <a:srgbClr val="1C1C1C"/>
              </a:solidFill>
              <a:effectLst/>
              <a:latin typeface="Inter"/>
              <a:ea typeface="Times New Roman" panose="02020603050405020304" pitchFamily="18" charset="0"/>
              <a:cs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a:effectLst/>
              <a:latin typeface="+mn-lt"/>
              <a:ea typeface="Times New Roman" panose="02020603050405020304" pitchFamily="18" charset="0"/>
              <a:cs typeface="Times New Roman" panose="02020603050405020304"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Applications are now open for DEN’s Business Development &amp; Training Academy. BDTA offers no-cost programs that help small businesses understand DEN processes, build connections, and prepare to compete for future airport opportunities.</a:t>
            </a:r>
          </a:p>
          <a:p>
            <a:endParaRPr lang="en-US"/>
          </a:p>
          <a:p>
            <a:r>
              <a:rPr lang="en-US" i="1"/>
              <a:t>Programs include AEC Concourse 100, Concessions 101, and the AEC Concourse 300 Pilot—an advanced program focused on leadership and contract readiness.</a:t>
            </a:r>
            <a:endParaRPr lang="en-US"/>
          </a:p>
          <a:p>
            <a:r>
              <a:rPr lang="en-US" i="1"/>
              <a:t>Apply by January 16 for AEC 300, or January 23 for AEC 100 and Concessions 101, and get a head start on 2026 opportunities.</a:t>
            </a:r>
            <a:endParaRPr lang="en-US"/>
          </a:p>
          <a:p>
            <a:endParaRPr lang="en-US"/>
          </a:p>
        </p:txBody>
      </p:sp>
      <p:sp>
        <p:nvSpPr>
          <p:cNvPr id="4" name="Slide Number Placeholder 3"/>
          <p:cNvSpPr>
            <a:spLocks noGrp="1"/>
          </p:cNvSpPr>
          <p:nvPr>
            <p:ph type="sldNum" sz="quarter" idx="5"/>
          </p:nvPr>
        </p:nvSpPr>
        <p:spPr/>
        <p:txBody>
          <a:bodyPr/>
          <a:lstStyle/>
          <a:p>
            <a:fld id="{A399344F-1846-964E-A23F-F797EB56DD37}" type="slidenum">
              <a:rPr lang="en-US" smtClean="0"/>
              <a:t>7</a:t>
            </a:fld>
            <a:endParaRPr lang="en-US"/>
          </a:p>
        </p:txBody>
      </p:sp>
    </p:spTree>
    <p:extLst>
      <p:ext uri="{BB962C8B-B14F-4D97-AF65-F5344CB8AC3E}">
        <p14:creationId xmlns:p14="http://schemas.microsoft.com/office/powerpoint/2010/main" val="887518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stay informed about BDTA programs and upcoming opportunities, visit the BDTA page on flydenver.com, sign up for Business Connect, or scan the QR code. You can also reach us directly at DENTrainingAcademy@flydenver.com.</a:t>
            </a:r>
          </a:p>
        </p:txBody>
      </p:sp>
      <p:sp>
        <p:nvSpPr>
          <p:cNvPr id="4" name="Slide Number Placeholder 3"/>
          <p:cNvSpPr>
            <a:spLocks noGrp="1"/>
          </p:cNvSpPr>
          <p:nvPr>
            <p:ph type="sldNum" sz="quarter" idx="5"/>
          </p:nvPr>
        </p:nvSpPr>
        <p:spPr/>
        <p:txBody>
          <a:bodyPr/>
          <a:lstStyle/>
          <a:p>
            <a:fld id="{A399344F-1846-964E-A23F-F797EB56DD37}" type="slidenum">
              <a:rPr lang="en-US" smtClean="0"/>
              <a:t>8</a:t>
            </a:fld>
            <a:endParaRPr lang="en-US"/>
          </a:p>
        </p:txBody>
      </p:sp>
    </p:spTree>
    <p:extLst>
      <p:ext uri="{BB962C8B-B14F-4D97-AF65-F5344CB8AC3E}">
        <p14:creationId xmlns:p14="http://schemas.microsoft.com/office/powerpoint/2010/main" val="3736122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46495-7361-053D-F542-403C4E5226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3BA153-6066-CB87-0AA9-3C0E42E6EF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97E79-AA23-E44F-0C63-27796174E654}"/>
              </a:ext>
            </a:extLst>
          </p:cNvPr>
          <p:cNvSpPr>
            <a:spLocks noGrp="1"/>
          </p:cNvSpPr>
          <p:nvPr>
            <p:ph type="body" idx="1"/>
          </p:nvPr>
        </p:nvSpPr>
        <p:spPr/>
        <p:txBody>
          <a:bodyPr/>
          <a:lstStyle/>
          <a:p>
            <a:r>
              <a:rPr lang="en-US"/>
              <a:t>Sign up for our Business Connect mailing list to learn about upcoming DEN events, procurement opportunities, and resources for doing business with the airport.</a:t>
            </a:r>
          </a:p>
        </p:txBody>
      </p:sp>
      <p:sp>
        <p:nvSpPr>
          <p:cNvPr id="4" name="Slide Number Placeholder 3">
            <a:extLst>
              <a:ext uri="{FF2B5EF4-FFF2-40B4-BE49-F238E27FC236}">
                <a16:creationId xmlns:a16="http://schemas.microsoft.com/office/drawing/2014/main" id="{EFCC877E-67F0-6D9D-61A7-ED7A1BD80E61}"/>
              </a:ext>
            </a:extLst>
          </p:cNvPr>
          <p:cNvSpPr>
            <a:spLocks noGrp="1"/>
          </p:cNvSpPr>
          <p:nvPr>
            <p:ph type="sldNum" sz="quarter" idx="5"/>
          </p:nvPr>
        </p:nvSpPr>
        <p:spPr/>
        <p:txBody>
          <a:bodyPr/>
          <a:lstStyle/>
          <a:p>
            <a:fld id="{A399344F-1846-964E-A23F-F797EB56DD37}" type="slidenum">
              <a:rPr lang="en-US" smtClean="0"/>
              <a:t>9</a:t>
            </a:fld>
            <a:endParaRPr lang="en-US"/>
          </a:p>
        </p:txBody>
      </p:sp>
    </p:spTree>
    <p:extLst>
      <p:ext uri="{BB962C8B-B14F-4D97-AF65-F5344CB8AC3E}">
        <p14:creationId xmlns:p14="http://schemas.microsoft.com/office/powerpoint/2010/main" val="1301144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8.xml"/><Relationship Id="rId4" Type="http://schemas.openxmlformats.org/officeDocument/2006/relationships/image" Target="../media/image26.sv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image" Target="../media/image27.jpeg"/><Relationship Id="rId1" Type="http://schemas.openxmlformats.org/officeDocument/2006/relationships/slideMaster" Target="../slideMasters/slideMaster8.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8.xml"/><Relationship Id="rId1" Type="http://schemas.openxmlformats.org/officeDocument/2006/relationships/tags" Target="../tags/tag2.xml"/><Relationship Id="rId4" Type="http://schemas.openxmlformats.org/officeDocument/2006/relationships/image" Target="../media/image43.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0.jpeg"/><Relationship Id="rId1" Type="http://schemas.openxmlformats.org/officeDocument/2006/relationships/slideMaster" Target="../slideMasters/slideMaster10.xml"/><Relationship Id="rId4" Type="http://schemas.openxmlformats.org/officeDocument/2006/relationships/image" Target="../media/image61.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0.jpeg"/><Relationship Id="rId1" Type="http://schemas.openxmlformats.org/officeDocument/2006/relationships/slideMaster" Target="../slideMasters/slideMaster10.xml"/><Relationship Id="rId5" Type="http://schemas.openxmlformats.org/officeDocument/2006/relationships/image" Target="../media/image59.png"/><Relationship Id="rId4" Type="http://schemas.openxmlformats.org/officeDocument/2006/relationships/image" Target="../media/image56.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60.jpeg"/><Relationship Id="rId1" Type="http://schemas.openxmlformats.org/officeDocument/2006/relationships/slideMaster" Target="../slideMasters/slideMaster10.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60.jpeg"/><Relationship Id="rId1" Type="http://schemas.openxmlformats.org/officeDocument/2006/relationships/slideMaster" Target="../slideMasters/slideMaster10.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60.jpeg"/><Relationship Id="rId1" Type="http://schemas.openxmlformats.org/officeDocument/2006/relationships/slideMaster" Target="../slideMasters/slideMaster10.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openxmlformats.org/officeDocument/2006/relationships/image" Target="../media/image59.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openxmlformats.org/officeDocument/2006/relationships/image" Target="../media/image5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openxmlformats.org/officeDocument/2006/relationships/image" Target="../media/image5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gree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498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3721710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47DF2D-C975-9EEB-ADE1-210C1DD3190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146FE4-DD31-699A-0124-33ACC0A31D5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4DF54D-69B4-B108-49DC-A57199F7F3DC}"/>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5" name="Footer Placeholder 4">
            <a:extLst>
              <a:ext uri="{FF2B5EF4-FFF2-40B4-BE49-F238E27FC236}">
                <a16:creationId xmlns:a16="http://schemas.microsoft.com/office/drawing/2014/main" id="{6855E587-E2F2-EB2D-3339-7FEDD7AAC7D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F8E7E44-908A-CFC8-30B9-17D24092022B}"/>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33766567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4 - GREEN - Image VIOLET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2" name="Picture 1">
            <a:extLst>
              <a:ext uri="{FF2B5EF4-FFF2-40B4-BE49-F238E27FC236}">
                <a16:creationId xmlns:a16="http://schemas.microsoft.com/office/drawing/2014/main" id="{8FEFCD1F-1471-934C-C97A-639E41F15A5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017286" y="-16562"/>
            <a:ext cx="565288" cy="565288"/>
          </a:xfrm>
          <a:prstGeom prst="rect">
            <a:avLst/>
          </a:prstGeom>
        </p:spPr>
      </p:pic>
      <p:sp>
        <p:nvSpPr>
          <p:cNvPr id="5" name="Text Placeholder 10">
            <a:extLst>
              <a:ext uri="{FF2B5EF4-FFF2-40B4-BE49-F238E27FC236}">
                <a16:creationId xmlns:a16="http://schemas.microsoft.com/office/drawing/2014/main" id="{01832E95-A96F-413C-93E4-0153A86A0834}"/>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40416582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2346182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2" name="Text Placeholder 8">
            <a:extLst>
              <a:ext uri="{FF2B5EF4-FFF2-40B4-BE49-F238E27FC236}">
                <a16:creationId xmlns:a16="http://schemas.microsoft.com/office/drawing/2014/main" id="{1696E0FB-800F-B9BF-5CA0-6901B6152F7A}"/>
              </a:ext>
            </a:extLst>
          </p:cNvPr>
          <p:cNvSpPr>
            <a:spLocks noGrp="1"/>
          </p:cNvSpPr>
          <p:nvPr>
            <p:ph type="body" sz="quarter" idx="17" hasCustomPrompt="1"/>
          </p:nvPr>
        </p:nvSpPr>
        <p:spPr>
          <a:xfrm>
            <a:off x="770439" y="4081081"/>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3" name="Text Placeholder 8">
            <a:extLst>
              <a:ext uri="{FF2B5EF4-FFF2-40B4-BE49-F238E27FC236}">
                <a16:creationId xmlns:a16="http://schemas.microsoft.com/office/drawing/2014/main" id="{E759DC34-2F48-B0EA-858E-B4EC7BA9D65E}"/>
              </a:ext>
            </a:extLst>
          </p:cNvPr>
          <p:cNvSpPr>
            <a:spLocks noGrp="1"/>
          </p:cNvSpPr>
          <p:nvPr>
            <p:ph type="body" sz="quarter" idx="18" hasCustomPrompt="1"/>
          </p:nvPr>
        </p:nvSpPr>
        <p:spPr>
          <a:xfrm>
            <a:off x="4410303" y="4104785"/>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5" name="Text Placeholder 8">
            <a:extLst>
              <a:ext uri="{FF2B5EF4-FFF2-40B4-BE49-F238E27FC236}">
                <a16:creationId xmlns:a16="http://schemas.microsoft.com/office/drawing/2014/main" id="{3E430B89-1170-6A74-2685-0A0575EDFD41}"/>
              </a:ext>
            </a:extLst>
          </p:cNvPr>
          <p:cNvSpPr>
            <a:spLocks noGrp="1"/>
          </p:cNvSpPr>
          <p:nvPr>
            <p:ph type="body" sz="quarter" idx="19" hasCustomPrompt="1"/>
          </p:nvPr>
        </p:nvSpPr>
        <p:spPr>
          <a:xfrm>
            <a:off x="8050167" y="4101710"/>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7" name="Text Placeholder 8">
            <a:extLst>
              <a:ext uri="{FF2B5EF4-FFF2-40B4-BE49-F238E27FC236}">
                <a16:creationId xmlns:a16="http://schemas.microsoft.com/office/drawing/2014/main" id="{5B09A37D-DF69-A09A-6426-2E1355B71656}"/>
              </a:ext>
            </a:extLst>
          </p:cNvPr>
          <p:cNvSpPr>
            <a:spLocks noGrp="1"/>
          </p:cNvSpPr>
          <p:nvPr>
            <p:ph type="body" sz="quarter" idx="21" hasCustomPrompt="1"/>
          </p:nvPr>
        </p:nvSpPr>
        <p:spPr>
          <a:xfrm>
            <a:off x="770440" y="4587097"/>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9" name="Text Placeholder 8">
            <a:extLst>
              <a:ext uri="{FF2B5EF4-FFF2-40B4-BE49-F238E27FC236}">
                <a16:creationId xmlns:a16="http://schemas.microsoft.com/office/drawing/2014/main" id="{E4041A8A-3E4E-8648-0B3B-895D56994366}"/>
              </a:ext>
            </a:extLst>
          </p:cNvPr>
          <p:cNvSpPr>
            <a:spLocks noGrp="1"/>
          </p:cNvSpPr>
          <p:nvPr>
            <p:ph type="body" sz="quarter" idx="22" hasCustomPrompt="1"/>
          </p:nvPr>
        </p:nvSpPr>
        <p:spPr>
          <a:xfrm>
            <a:off x="4410303" y="4618692"/>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2" name="Text Placeholder 8">
            <a:extLst>
              <a:ext uri="{FF2B5EF4-FFF2-40B4-BE49-F238E27FC236}">
                <a16:creationId xmlns:a16="http://schemas.microsoft.com/office/drawing/2014/main" id="{8CE87C28-21A3-F8F3-D46E-4E250ECE99AA}"/>
              </a:ext>
            </a:extLst>
          </p:cNvPr>
          <p:cNvSpPr>
            <a:spLocks noGrp="1"/>
          </p:cNvSpPr>
          <p:nvPr>
            <p:ph type="body" sz="quarter" idx="23" hasCustomPrompt="1"/>
          </p:nvPr>
        </p:nvSpPr>
        <p:spPr>
          <a:xfrm>
            <a:off x="8050167" y="4607726"/>
            <a:ext cx="2286462" cy="578319"/>
          </a:xfrm>
          <a:prstGeom prst="rect">
            <a:avLst/>
          </a:prstGeom>
        </p:spPr>
        <p:txBody>
          <a:bodyPr/>
          <a:lstStyle>
            <a:lvl1pPr marL="0" indent="0" algn="ctr">
              <a:buNone/>
              <a:defRPr sz="1400" b="0"/>
            </a:lvl1pPr>
          </a:lstStyle>
          <a:p>
            <a:pPr lvl="0"/>
            <a:r>
              <a:rPr lang="en-US"/>
              <a:t>Body copy sentence case and 14pt size</a:t>
            </a:r>
          </a:p>
        </p:txBody>
      </p:sp>
      <p:pic>
        <p:nvPicPr>
          <p:cNvPr id="16" name="Picture 15" descr="A purple airplane and globe&#10;&#10;Description automatically generated">
            <a:extLst>
              <a:ext uri="{FF2B5EF4-FFF2-40B4-BE49-F238E27FC236}">
                <a16:creationId xmlns:a16="http://schemas.microsoft.com/office/drawing/2014/main" id="{ED898F74-8932-9CFE-78D1-45CA3B5A9DEC}"/>
              </a:ext>
            </a:extLst>
          </p:cNvPr>
          <p:cNvPicPr>
            <a:picLocks noChangeAspect="1"/>
          </p:cNvPicPr>
          <p:nvPr userDrawn="1"/>
        </p:nvPicPr>
        <p:blipFill>
          <a:blip r:embed="rId2"/>
          <a:stretch>
            <a:fillRect/>
          </a:stretch>
        </p:blipFill>
        <p:spPr>
          <a:xfrm>
            <a:off x="4898188" y="2504393"/>
            <a:ext cx="1497407" cy="1331028"/>
          </a:xfrm>
          <a:prstGeom prst="rect">
            <a:avLst/>
          </a:prstGeom>
        </p:spPr>
      </p:pic>
      <p:pic>
        <p:nvPicPr>
          <p:cNvPr id="18" name="Graphic 17" descr="Wheelchair access outline">
            <a:extLst>
              <a:ext uri="{FF2B5EF4-FFF2-40B4-BE49-F238E27FC236}">
                <a16:creationId xmlns:a16="http://schemas.microsoft.com/office/drawing/2014/main" id="{CCCD0007-0EF7-0EDD-3853-0048C4B15B5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68993" y="2573873"/>
            <a:ext cx="1100157" cy="1100157"/>
          </a:xfrm>
          <a:prstGeom prst="rect">
            <a:avLst/>
          </a:prstGeom>
        </p:spPr>
      </p:pic>
      <p:pic>
        <p:nvPicPr>
          <p:cNvPr id="19" name="Picture 18" descr="A purple airplane in a black square&#10;&#10;Description automatically generated">
            <a:extLst>
              <a:ext uri="{FF2B5EF4-FFF2-40B4-BE49-F238E27FC236}">
                <a16:creationId xmlns:a16="http://schemas.microsoft.com/office/drawing/2014/main" id="{60BC3705-2FAD-0619-BAF9-A6305B07C156}"/>
              </a:ext>
            </a:extLst>
          </p:cNvPr>
          <p:cNvPicPr>
            <a:picLocks noChangeAspect="1"/>
          </p:cNvPicPr>
          <p:nvPr userDrawn="1"/>
        </p:nvPicPr>
        <p:blipFill>
          <a:blip r:embed="rId5"/>
          <a:stretch>
            <a:fillRect/>
          </a:stretch>
        </p:blipFill>
        <p:spPr>
          <a:xfrm>
            <a:off x="1038808" y="2412484"/>
            <a:ext cx="1585983" cy="1422937"/>
          </a:xfrm>
          <a:prstGeom prst="rect">
            <a:avLst/>
          </a:prstGeom>
        </p:spPr>
      </p:pic>
    </p:spTree>
    <p:extLst>
      <p:ext uri="{BB962C8B-B14F-4D97-AF65-F5344CB8AC3E}">
        <p14:creationId xmlns:p14="http://schemas.microsoft.com/office/powerpoint/2010/main" val="2665870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F7F793D1-AA11-C042-9427-E626EFDDA04F}"/>
              </a:ext>
            </a:extLst>
          </p:cNvPr>
          <p:cNvSpPr txBox="1"/>
          <p:nvPr userDrawn="1"/>
        </p:nvSpPr>
        <p:spPr>
          <a:xfrm>
            <a:off x="783030" y="6460124"/>
            <a:ext cx="1984839" cy="246349"/>
          </a:xfrm>
          <a:prstGeom prst="rect">
            <a:avLst/>
          </a:prstGeom>
          <a:noFill/>
        </p:spPr>
        <p:txBody>
          <a:bodyPr wrap="none" rtlCol="0">
            <a:spAutoFit/>
          </a:bodyPr>
          <a:lstStyle/>
          <a:p>
            <a:r>
              <a:rPr lang="en-US" sz="1001">
                <a:solidFill>
                  <a:srgbClr val="3B1D85"/>
                </a:solidFill>
              </a:rPr>
              <a:t>DENVER INTERNATIONAL AIRPORT</a:t>
            </a:r>
          </a:p>
        </p:txBody>
      </p:sp>
      <p:sp>
        <p:nvSpPr>
          <p:cNvPr id="14" name="Rectangle 13">
            <a:extLst>
              <a:ext uri="{FF2B5EF4-FFF2-40B4-BE49-F238E27FC236}">
                <a16:creationId xmlns:a16="http://schemas.microsoft.com/office/drawing/2014/main" id="{E1FD169B-5315-394D-9721-A82DB7C3D66F}"/>
              </a:ext>
            </a:extLst>
          </p:cNvPr>
          <p:cNvSpPr/>
          <p:nvPr userDrawn="1"/>
        </p:nvSpPr>
        <p:spPr>
          <a:xfrm>
            <a:off x="735806" y="6538930"/>
            <a:ext cx="102395" cy="104775"/>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15" name="Straight Connector 14">
            <a:extLst>
              <a:ext uri="{FF2B5EF4-FFF2-40B4-BE49-F238E27FC236}">
                <a16:creationId xmlns:a16="http://schemas.microsoft.com/office/drawing/2014/main" id="{868C656E-03DE-8F42-AC87-9E381D4DBD5B}"/>
              </a:ext>
            </a:extLst>
          </p:cNvPr>
          <p:cNvCxnSpPr>
            <a:cxnSpLocks/>
          </p:cNvCxnSpPr>
          <p:nvPr userDrawn="1"/>
        </p:nvCxnSpPr>
        <p:spPr>
          <a:xfrm flipH="1">
            <a:off x="-81371" y="6588588"/>
            <a:ext cx="864395" cy="0"/>
          </a:xfrm>
          <a:prstGeom prst="line">
            <a:avLst/>
          </a:prstGeom>
          <a:ln>
            <a:solidFill>
              <a:srgbClr val="3B1D85"/>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5D642979-1781-5347-9C27-073ED6AEB4BD}"/>
              </a:ext>
            </a:extLst>
          </p:cNvPr>
          <p:cNvSpPr>
            <a:spLocks noGrp="1"/>
          </p:cNvSpPr>
          <p:nvPr>
            <p:ph type="sldNum" sz="quarter" idx="4"/>
          </p:nvPr>
        </p:nvSpPr>
        <p:spPr>
          <a:xfrm>
            <a:off x="8675729" y="6356351"/>
            <a:ext cx="2844800" cy="365125"/>
          </a:xfrm>
          <a:prstGeom prst="rect">
            <a:avLst/>
          </a:prstGeom>
        </p:spPr>
        <p:txBody>
          <a:bodyPr vert="horz" lIns="91440" tIns="45720" rIns="91440" bIns="45720" rtlCol="0" anchor="ctr"/>
          <a:lstStyle>
            <a:lvl1pPr algn="r">
              <a:defRPr sz="1401">
                <a:solidFill>
                  <a:srgbClr val="3B1D85"/>
                </a:solidFill>
              </a:defRPr>
            </a:lvl1pPr>
          </a:lstStyle>
          <a:p>
            <a:fld id="{07685F98-2219-074E-8E84-0DD860A51521}" type="slidenum">
              <a:rPr lang="en-US" smtClean="0"/>
              <a:pPr/>
              <a:t>‹#›</a:t>
            </a:fld>
            <a:endParaRPr lang="en-US"/>
          </a:p>
        </p:txBody>
      </p:sp>
      <p:sp>
        <p:nvSpPr>
          <p:cNvPr id="16" name="Rectangle 15">
            <a:extLst>
              <a:ext uri="{FF2B5EF4-FFF2-40B4-BE49-F238E27FC236}">
                <a16:creationId xmlns:a16="http://schemas.microsoft.com/office/drawing/2014/main" id="{7546743B-9A6C-C54C-980E-11B05396565D}"/>
              </a:ext>
            </a:extLst>
          </p:cNvPr>
          <p:cNvSpPr/>
          <p:nvPr userDrawn="1"/>
        </p:nvSpPr>
        <p:spPr>
          <a:xfrm>
            <a:off x="0" y="17"/>
            <a:ext cx="12192000" cy="839223"/>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232E35"/>
              </a:solidFill>
            </a:endParaRPr>
          </a:p>
        </p:txBody>
      </p:sp>
      <p:sp>
        <p:nvSpPr>
          <p:cNvPr id="19" name="Title 3">
            <a:extLst>
              <a:ext uri="{FF2B5EF4-FFF2-40B4-BE49-F238E27FC236}">
                <a16:creationId xmlns:a16="http://schemas.microsoft.com/office/drawing/2014/main" id="{5BE159E9-5FF8-EB4F-8C8E-AE9CEF220FA2}"/>
              </a:ext>
            </a:extLst>
          </p:cNvPr>
          <p:cNvSpPr>
            <a:spLocks noGrp="1"/>
          </p:cNvSpPr>
          <p:nvPr>
            <p:ph type="title"/>
          </p:nvPr>
        </p:nvSpPr>
        <p:spPr>
          <a:xfrm>
            <a:off x="832671" y="85895"/>
            <a:ext cx="10515600" cy="839223"/>
          </a:xfrm>
        </p:spPr>
        <p:txBody>
          <a:bodyPr>
            <a:normAutofit/>
          </a:bodyPr>
          <a:lstStyle>
            <a:lvl1pPr>
              <a:defRPr sz="4267">
                <a:solidFill>
                  <a:schemeClr val="bg1"/>
                </a:solidFill>
              </a:defRPr>
            </a:lvl1pPr>
          </a:lstStyle>
          <a:p>
            <a:r>
              <a:rPr lang="en-US"/>
              <a:t>Click to edit Master title style</a:t>
            </a:r>
          </a:p>
        </p:txBody>
      </p:sp>
      <p:pic>
        <p:nvPicPr>
          <p:cNvPr id="21" name="Picture 20" descr="A picture containing drawing&#10;&#10;Description automatically generated">
            <a:extLst>
              <a:ext uri="{FF2B5EF4-FFF2-40B4-BE49-F238E27FC236}">
                <a16:creationId xmlns:a16="http://schemas.microsoft.com/office/drawing/2014/main" id="{71F7D7DB-D572-4D4F-87EE-394FA511C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9750" y="5896"/>
            <a:ext cx="660791" cy="617696"/>
          </a:xfrm>
          <a:prstGeom prst="rect">
            <a:avLst/>
          </a:prstGeom>
        </p:spPr>
      </p:pic>
    </p:spTree>
    <p:extLst>
      <p:ext uri="{BB962C8B-B14F-4D97-AF65-F5344CB8AC3E}">
        <p14:creationId xmlns:p14="http://schemas.microsoft.com/office/powerpoint/2010/main" val="3303904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2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5C31418A-8F8E-263B-4C17-1F834EBA96AB}"/>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1738129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1 -gree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68549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825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5C31418A-8F8E-263B-4C17-1F834EBA96AB}"/>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29587364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2" name="Text Placeholder 8">
            <a:extLst>
              <a:ext uri="{FF2B5EF4-FFF2-40B4-BE49-F238E27FC236}">
                <a16:creationId xmlns:a16="http://schemas.microsoft.com/office/drawing/2014/main" id="{6240A90C-36DE-9065-E842-293002EF4399}"/>
              </a:ext>
            </a:extLst>
          </p:cNvPr>
          <p:cNvSpPr>
            <a:spLocks noGrp="1"/>
          </p:cNvSpPr>
          <p:nvPr>
            <p:ph type="body" sz="quarter" idx="17" hasCustomPrompt="1"/>
          </p:nvPr>
        </p:nvSpPr>
        <p:spPr>
          <a:xfrm>
            <a:off x="770439" y="4081081"/>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3" name="Text Placeholder 8">
            <a:extLst>
              <a:ext uri="{FF2B5EF4-FFF2-40B4-BE49-F238E27FC236}">
                <a16:creationId xmlns:a16="http://schemas.microsoft.com/office/drawing/2014/main" id="{9EDCDD1E-280C-845E-14BD-8F6416852B61}"/>
              </a:ext>
            </a:extLst>
          </p:cNvPr>
          <p:cNvSpPr>
            <a:spLocks noGrp="1"/>
          </p:cNvSpPr>
          <p:nvPr>
            <p:ph type="body" sz="quarter" idx="18" hasCustomPrompt="1"/>
          </p:nvPr>
        </p:nvSpPr>
        <p:spPr>
          <a:xfrm>
            <a:off x="3341948" y="4089803"/>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5" name="Text Placeholder 8">
            <a:extLst>
              <a:ext uri="{FF2B5EF4-FFF2-40B4-BE49-F238E27FC236}">
                <a16:creationId xmlns:a16="http://schemas.microsoft.com/office/drawing/2014/main" id="{57789556-7CFA-CCF2-A1A6-87C4744DAE3A}"/>
              </a:ext>
            </a:extLst>
          </p:cNvPr>
          <p:cNvSpPr>
            <a:spLocks noGrp="1"/>
          </p:cNvSpPr>
          <p:nvPr>
            <p:ph type="body" sz="quarter" idx="19" hasCustomPrompt="1"/>
          </p:nvPr>
        </p:nvSpPr>
        <p:spPr>
          <a:xfrm>
            <a:off x="5913457" y="4081080"/>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6" name="Text Placeholder 8">
            <a:extLst>
              <a:ext uri="{FF2B5EF4-FFF2-40B4-BE49-F238E27FC236}">
                <a16:creationId xmlns:a16="http://schemas.microsoft.com/office/drawing/2014/main" id="{CC78DFB7-6347-535D-34AE-87AB9F437B51}"/>
              </a:ext>
            </a:extLst>
          </p:cNvPr>
          <p:cNvSpPr>
            <a:spLocks noGrp="1"/>
          </p:cNvSpPr>
          <p:nvPr>
            <p:ph type="body" sz="quarter" idx="20" hasCustomPrompt="1"/>
          </p:nvPr>
        </p:nvSpPr>
        <p:spPr>
          <a:xfrm>
            <a:off x="8484966" y="4089803"/>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7" name="Text Placeholder 8">
            <a:extLst>
              <a:ext uri="{FF2B5EF4-FFF2-40B4-BE49-F238E27FC236}">
                <a16:creationId xmlns:a16="http://schemas.microsoft.com/office/drawing/2014/main" id="{B06533FE-59B9-ADBF-4A5D-BA534B11F2D8}"/>
              </a:ext>
            </a:extLst>
          </p:cNvPr>
          <p:cNvSpPr>
            <a:spLocks noGrp="1"/>
          </p:cNvSpPr>
          <p:nvPr>
            <p:ph type="body" sz="quarter" idx="21" hasCustomPrompt="1"/>
          </p:nvPr>
        </p:nvSpPr>
        <p:spPr>
          <a:xfrm>
            <a:off x="770440" y="4587097"/>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9" name="Text Placeholder 8">
            <a:extLst>
              <a:ext uri="{FF2B5EF4-FFF2-40B4-BE49-F238E27FC236}">
                <a16:creationId xmlns:a16="http://schemas.microsoft.com/office/drawing/2014/main" id="{97C949B2-60F4-1BEB-3762-B982746D5F02}"/>
              </a:ext>
            </a:extLst>
          </p:cNvPr>
          <p:cNvSpPr>
            <a:spLocks noGrp="1"/>
          </p:cNvSpPr>
          <p:nvPr>
            <p:ph type="body" sz="quarter" idx="22" hasCustomPrompt="1"/>
          </p:nvPr>
        </p:nvSpPr>
        <p:spPr>
          <a:xfrm>
            <a:off x="3330373" y="4604123"/>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2" name="Text Placeholder 8">
            <a:extLst>
              <a:ext uri="{FF2B5EF4-FFF2-40B4-BE49-F238E27FC236}">
                <a16:creationId xmlns:a16="http://schemas.microsoft.com/office/drawing/2014/main" id="{B0EE2C00-2992-64A0-9E86-52D837091B19}"/>
              </a:ext>
            </a:extLst>
          </p:cNvPr>
          <p:cNvSpPr>
            <a:spLocks noGrp="1"/>
          </p:cNvSpPr>
          <p:nvPr>
            <p:ph type="body" sz="quarter" idx="23" hasCustomPrompt="1"/>
          </p:nvPr>
        </p:nvSpPr>
        <p:spPr>
          <a:xfrm>
            <a:off x="5913457" y="4587096"/>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3" name="Text Placeholder 8">
            <a:extLst>
              <a:ext uri="{FF2B5EF4-FFF2-40B4-BE49-F238E27FC236}">
                <a16:creationId xmlns:a16="http://schemas.microsoft.com/office/drawing/2014/main" id="{F572C860-1B06-3C49-FD47-1143FAB2FD53}"/>
              </a:ext>
            </a:extLst>
          </p:cNvPr>
          <p:cNvSpPr>
            <a:spLocks noGrp="1"/>
          </p:cNvSpPr>
          <p:nvPr>
            <p:ph type="body" sz="quarter" idx="24" hasCustomPrompt="1"/>
          </p:nvPr>
        </p:nvSpPr>
        <p:spPr>
          <a:xfrm>
            <a:off x="8473391" y="4587095"/>
            <a:ext cx="2286462" cy="578319"/>
          </a:xfrm>
          <a:prstGeom prst="rect">
            <a:avLst/>
          </a:prstGeom>
        </p:spPr>
        <p:txBody>
          <a:bodyPr/>
          <a:lstStyle>
            <a:lvl1pPr marL="0" indent="0" algn="ctr">
              <a:buNone/>
              <a:defRPr sz="1400" b="0"/>
            </a:lvl1pPr>
          </a:lstStyle>
          <a:p>
            <a:pPr lvl="0"/>
            <a:r>
              <a:rPr lang="en-US"/>
              <a:t>Body copy sentence case and 14pt size</a:t>
            </a:r>
          </a:p>
        </p:txBody>
      </p:sp>
      <p:pic>
        <p:nvPicPr>
          <p:cNvPr id="17" name="Picture 16">
            <a:extLst>
              <a:ext uri="{FF2B5EF4-FFF2-40B4-BE49-F238E27FC236}">
                <a16:creationId xmlns:a16="http://schemas.microsoft.com/office/drawing/2014/main" id="{4ADB70BD-1A8E-A0DE-8940-70CA09AB6B0B}"/>
              </a:ext>
            </a:extLst>
          </p:cNvPr>
          <p:cNvPicPr>
            <a:picLocks noChangeAspect="1"/>
          </p:cNvPicPr>
          <p:nvPr userDrawn="1"/>
        </p:nvPicPr>
        <p:blipFill>
          <a:blip r:embed="rId2"/>
          <a:stretch>
            <a:fillRect/>
          </a:stretch>
        </p:blipFill>
        <p:spPr>
          <a:xfrm>
            <a:off x="3726044" y="2510822"/>
            <a:ext cx="1595376" cy="1418113"/>
          </a:xfrm>
          <a:prstGeom prst="rect">
            <a:avLst/>
          </a:prstGeom>
        </p:spPr>
      </p:pic>
      <p:pic>
        <p:nvPicPr>
          <p:cNvPr id="18" name="Picture 17">
            <a:extLst>
              <a:ext uri="{FF2B5EF4-FFF2-40B4-BE49-F238E27FC236}">
                <a16:creationId xmlns:a16="http://schemas.microsoft.com/office/drawing/2014/main" id="{7EA4F083-2C21-6318-7763-D550EB0B3789}"/>
              </a:ext>
            </a:extLst>
          </p:cNvPr>
          <p:cNvPicPr>
            <a:picLocks noChangeAspect="1"/>
          </p:cNvPicPr>
          <p:nvPr userDrawn="1"/>
        </p:nvPicPr>
        <p:blipFill>
          <a:blip r:embed="rId3"/>
          <a:stretch>
            <a:fillRect/>
          </a:stretch>
        </p:blipFill>
        <p:spPr>
          <a:xfrm>
            <a:off x="1036942" y="2505056"/>
            <a:ext cx="1520179" cy="1370303"/>
          </a:xfrm>
          <a:prstGeom prst="rect">
            <a:avLst/>
          </a:prstGeom>
        </p:spPr>
      </p:pic>
      <p:pic>
        <p:nvPicPr>
          <p:cNvPr id="19" name="Picture 18" descr="A purple globe with continents in the middle&#10;&#10;Description automatically generated">
            <a:extLst>
              <a:ext uri="{FF2B5EF4-FFF2-40B4-BE49-F238E27FC236}">
                <a16:creationId xmlns:a16="http://schemas.microsoft.com/office/drawing/2014/main" id="{60F6F111-3A82-B5D2-C151-B2842DD52DCA}"/>
              </a:ext>
            </a:extLst>
          </p:cNvPr>
          <p:cNvPicPr>
            <a:picLocks noChangeAspect="1"/>
          </p:cNvPicPr>
          <p:nvPr userDrawn="1"/>
        </p:nvPicPr>
        <p:blipFill>
          <a:blip r:embed="rId4"/>
          <a:stretch>
            <a:fillRect/>
          </a:stretch>
        </p:blipFill>
        <p:spPr>
          <a:xfrm>
            <a:off x="6224364" y="2478314"/>
            <a:ext cx="1653071" cy="1483128"/>
          </a:xfrm>
          <a:prstGeom prst="rect">
            <a:avLst/>
          </a:prstGeom>
        </p:spPr>
      </p:pic>
      <p:pic>
        <p:nvPicPr>
          <p:cNvPr id="20" name="Picture 19">
            <a:extLst>
              <a:ext uri="{FF2B5EF4-FFF2-40B4-BE49-F238E27FC236}">
                <a16:creationId xmlns:a16="http://schemas.microsoft.com/office/drawing/2014/main" id="{E339E702-A106-0599-A4AC-F041A93587EA}"/>
              </a:ext>
            </a:extLst>
          </p:cNvPr>
          <p:cNvPicPr>
            <a:picLocks noChangeAspect="1"/>
          </p:cNvPicPr>
          <p:nvPr userDrawn="1"/>
        </p:nvPicPr>
        <p:blipFill>
          <a:blip r:embed="rId5"/>
          <a:stretch>
            <a:fillRect/>
          </a:stretch>
        </p:blipFill>
        <p:spPr>
          <a:xfrm>
            <a:off x="8988663" y="2621726"/>
            <a:ext cx="1410336" cy="1253633"/>
          </a:xfrm>
          <a:prstGeom prst="rect">
            <a:avLst/>
          </a:prstGeom>
        </p:spPr>
      </p:pic>
    </p:spTree>
    <p:extLst>
      <p:ext uri="{BB962C8B-B14F-4D97-AF65-F5344CB8AC3E}">
        <p14:creationId xmlns:p14="http://schemas.microsoft.com/office/powerpoint/2010/main" val="24354624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309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
        <p:nvSpPr>
          <p:cNvPr id="3" name="Rectangle 2">
            <a:extLst>
              <a:ext uri="{FF2B5EF4-FFF2-40B4-BE49-F238E27FC236}">
                <a16:creationId xmlns:a16="http://schemas.microsoft.com/office/drawing/2014/main" id="{4081E596-2394-077D-84EF-B8507FB016A9}"/>
              </a:ext>
            </a:extLst>
          </p:cNvPr>
          <p:cNvSpPr/>
          <p:nvPr userDrawn="1"/>
        </p:nvSpPr>
        <p:spPr>
          <a:xfrm>
            <a:off x="835269" y="993531"/>
            <a:ext cx="975946" cy="28135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783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F13BC-D388-DEA6-FBD8-7A1F9A30E3A6}"/>
              </a:ext>
            </a:extLst>
          </p:cNvPr>
          <p:cNvSpPr>
            <a:spLocks noGrp="1"/>
          </p:cNvSpPr>
          <p:nvPr>
            <p:ph type="dt" sz="half" idx="10"/>
          </p:nvPr>
        </p:nvSpPr>
        <p:spPr/>
        <p:txBody>
          <a:bodyPr/>
          <a:lstStyle/>
          <a:p>
            <a:fld id="{F7BCD5FC-13DF-7947-A2F8-230685ED9D21}" type="datetimeFigureOut">
              <a:rPr lang="en-US" smtClean="0"/>
              <a:t>12/18/2025</a:t>
            </a:fld>
            <a:endParaRPr lang="en-US"/>
          </a:p>
        </p:txBody>
      </p:sp>
      <p:sp>
        <p:nvSpPr>
          <p:cNvPr id="3" name="Footer Placeholder 2">
            <a:extLst>
              <a:ext uri="{FF2B5EF4-FFF2-40B4-BE49-F238E27FC236}">
                <a16:creationId xmlns:a16="http://schemas.microsoft.com/office/drawing/2014/main" id="{771512C5-9DF1-40B4-D3E3-56502DDDFC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770F2E-2720-DB77-F2E2-1AA4B9BF00FC}"/>
              </a:ext>
            </a:extLst>
          </p:cNvPr>
          <p:cNvSpPr>
            <a:spLocks noGrp="1"/>
          </p:cNvSpPr>
          <p:nvPr>
            <p:ph type="sldNum" sz="quarter" idx="12"/>
          </p:nvPr>
        </p:nvSpPr>
        <p:spPr/>
        <p:txBody>
          <a:bodyPr/>
          <a:lstStyle/>
          <a:p>
            <a:fld id="{1AD8ADAF-E0A9-C440-BF83-4CE99D685A9D}" type="slidenum">
              <a:rPr lang="en-US" smtClean="0"/>
              <a:t>‹#›</a:t>
            </a:fld>
            <a:endParaRPr lang="en-US"/>
          </a:p>
        </p:txBody>
      </p:sp>
    </p:spTree>
    <p:extLst>
      <p:ext uri="{BB962C8B-B14F-4D97-AF65-F5344CB8AC3E}">
        <p14:creationId xmlns:p14="http://schemas.microsoft.com/office/powerpoint/2010/main" val="33354298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2194407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1179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1 - GREEN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7FD67F68-27BB-294D-97E5-36BC83CB06D1}"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1819205A-F0EA-071B-38E5-FA0EA2DC242F}"/>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marL="1371600" indent="0">
              <a:buClr>
                <a:schemeClr val="bg2">
                  <a:lumMod val="75000"/>
                </a:schemeClr>
              </a:buClr>
              <a:buNone/>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p>
        </p:txBody>
      </p:sp>
    </p:spTree>
    <p:extLst>
      <p:ext uri="{BB962C8B-B14F-4D97-AF65-F5344CB8AC3E}">
        <p14:creationId xmlns:p14="http://schemas.microsoft.com/office/powerpoint/2010/main" val="1326277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4 - ORANGE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2" name="Picture 1" descr="A black and white logo&#10;&#10;Description automatically generated">
            <a:extLst>
              <a:ext uri="{FF2B5EF4-FFF2-40B4-BE49-F238E27FC236}">
                <a16:creationId xmlns:a16="http://schemas.microsoft.com/office/drawing/2014/main" id="{90EFDF38-6ADC-7092-162F-610E8C9F55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5" name="Text Placeholder 10">
            <a:extLst>
              <a:ext uri="{FF2B5EF4-FFF2-40B4-BE49-F238E27FC236}">
                <a16:creationId xmlns:a16="http://schemas.microsoft.com/office/drawing/2014/main" id="{8BA80A90-EA60-3973-6FB2-9800F42A5C79}"/>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0757078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1" cy="289310"/>
          </a:xfrm>
          <a:prstGeom prst="rect">
            <a:avLst/>
          </a:prstGeom>
        </p:spPr>
        <p:txBody>
          <a:bodyPr wrap="square" lIns="0" tIns="0" rIns="0" bIns="0">
            <a:spAutoFit/>
          </a:bodyPr>
          <a:lstStyle>
            <a:lvl1pPr>
              <a:defRPr sz="1880" b="0"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81393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75912" y="690805"/>
            <a:ext cx="8975715" cy="289310"/>
          </a:xfrm>
        </p:spPr>
        <p:txBody>
          <a:bodyPr lIns="0" tIns="0" rIns="0" bIns="0"/>
          <a:lstStyle>
            <a:lvl1pPr>
              <a:defRPr sz="188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45293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975912" y="690805"/>
            <a:ext cx="8975715" cy="289310"/>
          </a:xfrm>
        </p:spPr>
        <p:txBody>
          <a:bodyPr lIns="0" tIns="0" rIns="0" bIns="0"/>
          <a:lstStyle>
            <a:lvl1pPr>
              <a:defRPr sz="1880" b="0"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450327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975912" y="690805"/>
            <a:ext cx="8975715" cy="289310"/>
          </a:xfrm>
        </p:spPr>
        <p:txBody>
          <a:bodyPr lIns="0" tIns="0" rIns="0" bIns="0"/>
          <a:lstStyle>
            <a:lvl1pPr>
              <a:defRPr sz="188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27936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1 - blu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2390692" y="946484"/>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13" name="Text Placeholder 12">
            <a:extLst>
              <a:ext uri="{FF2B5EF4-FFF2-40B4-BE49-F238E27FC236}">
                <a16:creationId xmlns:a16="http://schemas.microsoft.com/office/drawing/2014/main" id="{D012BFE2-0CCB-578A-559A-8D1EB54F565C}"/>
              </a:ext>
            </a:extLst>
          </p:cNvPr>
          <p:cNvSpPr>
            <a:spLocks noGrp="1"/>
          </p:cNvSpPr>
          <p:nvPr>
            <p:ph type="body" sz="quarter" idx="11" hasCustomPrompt="1"/>
          </p:nvPr>
        </p:nvSpPr>
        <p:spPr>
          <a:xfrm>
            <a:off x="2390692" y="1540844"/>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625726" y="6064376"/>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cxnSp>
        <p:nvCxnSpPr>
          <p:cNvPr id="2" name="Straight Connector 1">
            <a:extLst>
              <a:ext uri="{FF2B5EF4-FFF2-40B4-BE49-F238E27FC236}">
                <a16:creationId xmlns:a16="http://schemas.microsoft.com/office/drawing/2014/main" id="{B5590243-0B56-53E5-E3C6-D02EFE2FA9C2}"/>
              </a:ext>
            </a:extLst>
          </p:cNvPr>
          <p:cNvCxnSpPr/>
          <p:nvPr userDrawn="1"/>
        </p:nvCxnSpPr>
        <p:spPr>
          <a:xfrm>
            <a:off x="721526" y="5874026"/>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9219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09152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6029583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1 - ORAN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2" name="Text Placeholder 8">
            <a:extLst>
              <a:ext uri="{FF2B5EF4-FFF2-40B4-BE49-F238E27FC236}">
                <a16:creationId xmlns:a16="http://schemas.microsoft.com/office/drawing/2014/main" id="{1696E0FB-800F-B9BF-5CA0-6901B6152F7A}"/>
              </a:ext>
            </a:extLst>
          </p:cNvPr>
          <p:cNvSpPr>
            <a:spLocks noGrp="1"/>
          </p:cNvSpPr>
          <p:nvPr>
            <p:ph type="body" sz="quarter" idx="17" hasCustomPrompt="1"/>
          </p:nvPr>
        </p:nvSpPr>
        <p:spPr>
          <a:xfrm>
            <a:off x="770439" y="4081081"/>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3" name="Text Placeholder 8">
            <a:extLst>
              <a:ext uri="{FF2B5EF4-FFF2-40B4-BE49-F238E27FC236}">
                <a16:creationId xmlns:a16="http://schemas.microsoft.com/office/drawing/2014/main" id="{E759DC34-2F48-B0EA-858E-B4EC7BA9D65E}"/>
              </a:ext>
            </a:extLst>
          </p:cNvPr>
          <p:cNvSpPr>
            <a:spLocks noGrp="1"/>
          </p:cNvSpPr>
          <p:nvPr>
            <p:ph type="body" sz="quarter" idx="18" hasCustomPrompt="1"/>
          </p:nvPr>
        </p:nvSpPr>
        <p:spPr>
          <a:xfrm>
            <a:off x="4410303" y="4104785"/>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5" name="Text Placeholder 8">
            <a:extLst>
              <a:ext uri="{FF2B5EF4-FFF2-40B4-BE49-F238E27FC236}">
                <a16:creationId xmlns:a16="http://schemas.microsoft.com/office/drawing/2014/main" id="{3E430B89-1170-6A74-2685-0A0575EDFD41}"/>
              </a:ext>
            </a:extLst>
          </p:cNvPr>
          <p:cNvSpPr>
            <a:spLocks noGrp="1"/>
          </p:cNvSpPr>
          <p:nvPr>
            <p:ph type="body" sz="quarter" idx="19" hasCustomPrompt="1"/>
          </p:nvPr>
        </p:nvSpPr>
        <p:spPr>
          <a:xfrm>
            <a:off x="8050167" y="4101710"/>
            <a:ext cx="2274887" cy="578319"/>
          </a:xfrm>
          <a:prstGeom prst="rect">
            <a:avLst/>
          </a:prstGeom>
        </p:spPr>
        <p:txBody>
          <a:bodyPr/>
          <a:lstStyle>
            <a:lvl1pPr marL="0" indent="0" algn="ctr">
              <a:buNone/>
              <a:defRPr sz="1400" b="1"/>
            </a:lvl1pPr>
          </a:lstStyle>
          <a:p>
            <a:pPr lvl="0"/>
            <a:r>
              <a:rPr lang="en-US"/>
              <a:t>Sample Sub Head Title Caps and 14pt Size</a:t>
            </a:r>
          </a:p>
        </p:txBody>
      </p:sp>
      <p:sp>
        <p:nvSpPr>
          <p:cNvPr id="7" name="Text Placeholder 8">
            <a:extLst>
              <a:ext uri="{FF2B5EF4-FFF2-40B4-BE49-F238E27FC236}">
                <a16:creationId xmlns:a16="http://schemas.microsoft.com/office/drawing/2014/main" id="{5B09A37D-DF69-A09A-6426-2E1355B71656}"/>
              </a:ext>
            </a:extLst>
          </p:cNvPr>
          <p:cNvSpPr>
            <a:spLocks noGrp="1"/>
          </p:cNvSpPr>
          <p:nvPr>
            <p:ph type="body" sz="quarter" idx="21" hasCustomPrompt="1"/>
          </p:nvPr>
        </p:nvSpPr>
        <p:spPr>
          <a:xfrm>
            <a:off x="770440" y="4587097"/>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9" name="Text Placeholder 8">
            <a:extLst>
              <a:ext uri="{FF2B5EF4-FFF2-40B4-BE49-F238E27FC236}">
                <a16:creationId xmlns:a16="http://schemas.microsoft.com/office/drawing/2014/main" id="{E4041A8A-3E4E-8648-0B3B-895D56994366}"/>
              </a:ext>
            </a:extLst>
          </p:cNvPr>
          <p:cNvSpPr>
            <a:spLocks noGrp="1"/>
          </p:cNvSpPr>
          <p:nvPr>
            <p:ph type="body" sz="quarter" idx="22" hasCustomPrompt="1"/>
          </p:nvPr>
        </p:nvSpPr>
        <p:spPr>
          <a:xfrm>
            <a:off x="4410303" y="4618692"/>
            <a:ext cx="2286462" cy="578319"/>
          </a:xfrm>
          <a:prstGeom prst="rect">
            <a:avLst/>
          </a:prstGeom>
        </p:spPr>
        <p:txBody>
          <a:bodyPr/>
          <a:lstStyle>
            <a:lvl1pPr marL="0" indent="0" algn="ctr">
              <a:buNone/>
              <a:defRPr sz="1400" b="0"/>
            </a:lvl1pPr>
          </a:lstStyle>
          <a:p>
            <a:pPr lvl="0"/>
            <a:r>
              <a:rPr lang="en-US"/>
              <a:t>Body copy sentence case and 14pt size</a:t>
            </a:r>
          </a:p>
        </p:txBody>
      </p:sp>
      <p:sp>
        <p:nvSpPr>
          <p:cNvPr id="12" name="Text Placeholder 8">
            <a:extLst>
              <a:ext uri="{FF2B5EF4-FFF2-40B4-BE49-F238E27FC236}">
                <a16:creationId xmlns:a16="http://schemas.microsoft.com/office/drawing/2014/main" id="{8CE87C28-21A3-F8F3-D46E-4E250ECE99AA}"/>
              </a:ext>
            </a:extLst>
          </p:cNvPr>
          <p:cNvSpPr>
            <a:spLocks noGrp="1"/>
          </p:cNvSpPr>
          <p:nvPr>
            <p:ph type="body" sz="quarter" idx="23" hasCustomPrompt="1"/>
          </p:nvPr>
        </p:nvSpPr>
        <p:spPr>
          <a:xfrm>
            <a:off x="8050167" y="4607726"/>
            <a:ext cx="2286462" cy="578319"/>
          </a:xfrm>
          <a:prstGeom prst="rect">
            <a:avLst/>
          </a:prstGeom>
        </p:spPr>
        <p:txBody>
          <a:bodyPr/>
          <a:lstStyle>
            <a:lvl1pPr marL="0" indent="0" algn="ctr">
              <a:buNone/>
              <a:defRPr sz="1400" b="0"/>
            </a:lvl1pPr>
          </a:lstStyle>
          <a:p>
            <a:pPr lvl="0"/>
            <a:r>
              <a:rPr lang="en-US"/>
              <a:t>Body copy sentence case and 14pt size</a:t>
            </a:r>
          </a:p>
        </p:txBody>
      </p:sp>
      <p:pic>
        <p:nvPicPr>
          <p:cNvPr id="16" name="Picture 15" descr="A purple airplane and globe&#10;&#10;Description automatically generated">
            <a:extLst>
              <a:ext uri="{FF2B5EF4-FFF2-40B4-BE49-F238E27FC236}">
                <a16:creationId xmlns:a16="http://schemas.microsoft.com/office/drawing/2014/main" id="{ED898F74-8932-9CFE-78D1-45CA3B5A9DEC}"/>
              </a:ext>
            </a:extLst>
          </p:cNvPr>
          <p:cNvPicPr>
            <a:picLocks noChangeAspect="1"/>
          </p:cNvPicPr>
          <p:nvPr userDrawn="1"/>
        </p:nvPicPr>
        <p:blipFill>
          <a:blip r:embed="rId2"/>
          <a:stretch>
            <a:fillRect/>
          </a:stretch>
        </p:blipFill>
        <p:spPr>
          <a:xfrm>
            <a:off x="4898188" y="2504393"/>
            <a:ext cx="1497407" cy="1331028"/>
          </a:xfrm>
          <a:prstGeom prst="rect">
            <a:avLst/>
          </a:prstGeom>
        </p:spPr>
      </p:pic>
      <p:pic>
        <p:nvPicPr>
          <p:cNvPr id="18" name="Graphic 17" descr="Wheelchair access outline">
            <a:extLst>
              <a:ext uri="{FF2B5EF4-FFF2-40B4-BE49-F238E27FC236}">
                <a16:creationId xmlns:a16="http://schemas.microsoft.com/office/drawing/2014/main" id="{CCCD0007-0EF7-0EDD-3853-0048C4B15B5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68993" y="2573873"/>
            <a:ext cx="1100157" cy="1100157"/>
          </a:xfrm>
          <a:prstGeom prst="rect">
            <a:avLst/>
          </a:prstGeom>
        </p:spPr>
      </p:pic>
      <p:pic>
        <p:nvPicPr>
          <p:cNvPr id="19" name="Picture 18" descr="A purple airplane in a black square&#10;&#10;Description automatically generated">
            <a:extLst>
              <a:ext uri="{FF2B5EF4-FFF2-40B4-BE49-F238E27FC236}">
                <a16:creationId xmlns:a16="http://schemas.microsoft.com/office/drawing/2014/main" id="{60BC3705-2FAD-0619-BAF9-A6305B07C156}"/>
              </a:ext>
            </a:extLst>
          </p:cNvPr>
          <p:cNvPicPr>
            <a:picLocks noChangeAspect="1"/>
          </p:cNvPicPr>
          <p:nvPr userDrawn="1"/>
        </p:nvPicPr>
        <p:blipFill>
          <a:blip r:embed="rId5"/>
          <a:stretch>
            <a:fillRect/>
          </a:stretch>
        </p:blipFill>
        <p:spPr>
          <a:xfrm>
            <a:off x="1038808" y="2412484"/>
            <a:ext cx="1585983" cy="1422937"/>
          </a:xfrm>
          <a:prstGeom prst="rect">
            <a:avLst/>
          </a:prstGeom>
        </p:spPr>
      </p:pic>
    </p:spTree>
    <p:extLst>
      <p:ext uri="{BB962C8B-B14F-4D97-AF65-F5344CB8AC3E}">
        <p14:creationId xmlns:p14="http://schemas.microsoft.com/office/powerpoint/2010/main" val="27348057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18864783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F7F793D1-AA11-C042-9427-E626EFDDA04F}"/>
              </a:ext>
            </a:extLst>
          </p:cNvPr>
          <p:cNvSpPr txBox="1"/>
          <p:nvPr userDrawn="1"/>
        </p:nvSpPr>
        <p:spPr>
          <a:xfrm>
            <a:off x="783030" y="6460124"/>
            <a:ext cx="1984839" cy="246349"/>
          </a:xfrm>
          <a:prstGeom prst="rect">
            <a:avLst/>
          </a:prstGeom>
          <a:noFill/>
        </p:spPr>
        <p:txBody>
          <a:bodyPr wrap="none" rtlCol="0">
            <a:spAutoFit/>
          </a:bodyPr>
          <a:lstStyle/>
          <a:p>
            <a:r>
              <a:rPr lang="en-US" sz="1001">
                <a:solidFill>
                  <a:srgbClr val="3B1D85"/>
                </a:solidFill>
              </a:rPr>
              <a:t>DENVER INTERNATIONAL AIRPORT</a:t>
            </a:r>
          </a:p>
        </p:txBody>
      </p:sp>
      <p:sp>
        <p:nvSpPr>
          <p:cNvPr id="14" name="Rectangle 13">
            <a:extLst>
              <a:ext uri="{FF2B5EF4-FFF2-40B4-BE49-F238E27FC236}">
                <a16:creationId xmlns:a16="http://schemas.microsoft.com/office/drawing/2014/main" id="{E1FD169B-5315-394D-9721-A82DB7C3D66F}"/>
              </a:ext>
            </a:extLst>
          </p:cNvPr>
          <p:cNvSpPr/>
          <p:nvPr userDrawn="1"/>
        </p:nvSpPr>
        <p:spPr>
          <a:xfrm>
            <a:off x="735806" y="6538930"/>
            <a:ext cx="102395" cy="104775"/>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15" name="Straight Connector 14">
            <a:extLst>
              <a:ext uri="{FF2B5EF4-FFF2-40B4-BE49-F238E27FC236}">
                <a16:creationId xmlns:a16="http://schemas.microsoft.com/office/drawing/2014/main" id="{868C656E-03DE-8F42-AC87-9E381D4DBD5B}"/>
              </a:ext>
            </a:extLst>
          </p:cNvPr>
          <p:cNvCxnSpPr>
            <a:cxnSpLocks/>
          </p:cNvCxnSpPr>
          <p:nvPr userDrawn="1"/>
        </p:nvCxnSpPr>
        <p:spPr>
          <a:xfrm flipH="1">
            <a:off x="-81371" y="6588588"/>
            <a:ext cx="864395" cy="0"/>
          </a:xfrm>
          <a:prstGeom prst="line">
            <a:avLst/>
          </a:prstGeom>
          <a:ln>
            <a:solidFill>
              <a:srgbClr val="3B1D85"/>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5D642979-1781-5347-9C27-073ED6AEB4BD}"/>
              </a:ext>
            </a:extLst>
          </p:cNvPr>
          <p:cNvSpPr>
            <a:spLocks noGrp="1"/>
          </p:cNvSpPr>
          <p:nvPr>
            <p:ph type="sldNum" sz="quarter" idx="4"/>
          </p:nvPr>
        </p:nvSpPr>
        <p:spPr>
          <a:xfrm>
            <a:off x="8675729" y="6356351"/>
            <a:ext cx="2844800" cy="365125"/>
          </a:xfrm>
          <a:prstGeom prst="rect">
            <a:avLst/>
          </a:prstGeom>
        </p:spPr>
        <p:txBody>
          <a:bodyPr vert="horz" lIns="91440" tIns="45720" rIns="91440" bIns="45720" rtlCol="0" anchor="ctr"/>
          <a:lstStyle>
            <a:lvl1pPr algn="r">
              <a:defRPr sz="1401">
                <a:solidFill>
                  <a:srgbClr val="3B1D85"/>
                </a:solidFill>
              </a:defRPr>
            </a:lvl1pPr>
          </a:lstStyle>
          <a:p>
            <a:fld id="{07685F98-2219-074E-8E84-0DD860A51521}" type="slidenum">
              <a:rPr lang="en-US" smtClean="0"/>
              <a:pPr/>
              <a:t>‹#›</a:t>
            </a:fld>
            <a:endParaRPr lang="en-US"/>
          </a:p>
        </p:txBody>
      </p:sp>
      <p:sp>
        <p:nvSpPr>
          <p:cNvPr id="16" name="Rectangle 15">
            <a:extLst>
              <a:ext uri="{FF2B5EF4-FFF2-40B4-BE49-F238E27FC236}">
                <a16:creationId xmlns:a16="http://schemas.microsoft.com/office/drawing/2014/main" id="{7546743B-9A6C-C54C-980E-11B05396565D}"/>
              </a:ext>
            </a:extLst>
          </p:cNvPr>
          <p:cNvSpPr/>
          <p:nvPr userDrawn="1"/>
        </p:nvSpPr>
        <p:spPr>
          <a:xfrm>
            <a:off x="0" y="17"/>
            <a:ext cx="12192000" cy="839223"/>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232E35"/>
              </a:solidFill>
            </a:endParaRPr>
          </a:p>
        </p:txBody>
      </p:sp>
      <p:sp>
        <p:nvSpPr>
          <p:cNvPr id="19" name="Title 3">
            <a:extLst>
              <a:ext uri="{FF2B5EF4-FFF2-40B4-BE49-F238E27FC236}">
                <a16:creationId xmlns:a16="http://schemas.microsoft.com/office/drawing/2014/main" id="{5BE159E9-5FF8-EB4F-8C8E-AE9CEF220FA2}"/>
              </a:ext>
            </a:extLst>
          </p:cNvPr>
          <p:cNvSpPr>
            <a:spLocks noGrp="1"/>
          </p:cNvSpPr>
          <p:nvPr>
            <p:ph type="title"/>
          </p:nvPr>
        </p:nvSpPr>
        <p:spPr>
          <a:xfrm>
            <a:off x="832671" y="85895"/>
            <a:ext cx="10515600" cy="839223"/>
          </a:xfrm>
        </p:spPr>
        <p:txBody>
          <a:bodyPr>
            <a:normAutofit/>
          </a:bodyPr>
          <a:lstStyle>
            <a:lvl1pPr>
              <a:defRPr sz="4267">
                <a:solidFill>
                  <a:schemeClr val="bg1"/>
                </a:solidFill>
              </a:defRPr>
            </a:lvl1pPr>
          </a:lstStyle>
          <a:p>
            <a:r>
              <a:rPr lang="en-US"/>
              <a:t>Click to edit Master title style</a:t>
            </a:r>
          </a:p>
        </p:txBody>
      </p:sp>
      <p:pic>
        <p:nvPicPr>
          <p:cNvPr id="21" name="Picture 20" descr="A picture containing drawing&#10;&#10;Description automatically generated">
            <a:extLst>
              <a:ext uri="{FF2B5EF4-FFF2-40B4-BE49-F238E27FC236}">
                <a16:creationId xmlns:a16="http://schemas.microsoft.com/office/drawing/2014/main" id="{71F7D7DB-D572-4D4F-87EE-394FA511C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9750" y="5896"/>
            <a:ext cx="660791" cy="617696"/>
          </a:xfrm>
          <a:prstGeom prst="rect">
            <a:avLst/>
          </a:prstGeom>
        </p:spPr>
      </p:pic>
    </p:spTree>
    <p:extLst>
      <p:ext uri="{BB962C8B-B14F-4D97-AF65-F5344CB8AC3E}">
        <p14:creationId xmlns:p14="http://schemas.microsoft.com/office/powerpoint/2010/main" val="22778341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4 - ORANGE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2" name="Picture 1" descr="A black and white logo&#10;&#10;Description automatically generated">
            <a:extLst>
              <a:ext uri="{FF2B5EF4-FFF2-40B4-BE49-F238E27FC236}">
                <a16:creationId xmlns:a16="http://schemas.microsoft.com/office/drawing/2014/main" id="{90EFDF38-6ADC-7092-162F-610E8C9F55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5" name="Text Placeholder 10">
            <a:extLst>
              <a:ext uri="{FF2B5EF4-FFF2-40B4-BE49-F238E27FC236}">
                <a16:creationId xmlns:a16="http://schemas.microsoft.com/office/drawing/2014/main" id="{8BA80A90-EA60-3973-6FB2-9800F42A5C79}"/>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813373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2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5C31418A-8F8E-263B-4C17-1F834EBA96AB}"/>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40330391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FAB36-9271-CEE2-EC8A-60E446B034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8965F9-D670-109B-5B33-B58CA26E8B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043F3A-BC1C-3DA5-2D16-AF67196500E5}"/>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F7E3311D-1C20-EB07-B803-0B2526920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C35E70-3871-3C70-8F7E-D210EE3E74A7}"/>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36873645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BD563-C4A8-08AD-7F37-BE95987D4F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4C8129-FC0F-0A15-102D-88D1867046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88738F-A4AE-D2A7-801B-692236978F39}"/>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B20C7F95-F3BB-4AB6-996E-C4E648C6DD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D0A5F3-59FA-E894-6CE1-9021B43294E6}"/>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39167634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EF021-9527-9AD6-4980-1C039E64289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3FCCC8-BE2D-6280-23FC-0F7A69D8CEC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70AE9D8-BBD9-B8F3-133D-B208003ECC14}"/>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446E28F6-F5C6-C6AB-847F-BC461DB678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67C0C8-5C40-6741-663A-DD14325CD2E2}"/>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4077759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3D765E8-D6C6-6443-9E84-8CC69B9DC425}"/>
              </a:ext>
            </a:extLst>
          </p:cNvPr>
          <p:cNvSpPr/>
          <p:nvPr userDrawn="1"/>
        </p:nvSpPr>
        <p:spPr>
          <a:xfrm>
            <a:off x="0" y="17"/>
            <a:ext cx="12192000" cy="839223"/>
          </a:xfrm>
          <a:prstGeom prst="rect">
            <a:avLst/>
          </a:prstGeom>
          <a:solidFill>
            <a:srgbClr val="3B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accent2">
                  <a:lumMod val="75000"/>
                </a:schemeClr>
              </a:solidFill>
              <a:highlight>
                <a:srgbClr val="B74D13"/>
              </a:highlight>
            </a:endParaRPr>
          </a:p>
        </p:txBody>
      </p:sp>
      <p:pic>
        <p:nvPicPr>
          <p:cNvPr id="18" name="Picture 17" descr="A picture containing drawing&#10;&#10;Description automatically generated">
            <a:extLst>
              <a:ext uri="{FF2B5EF4-FFF2-40B4-BE49-F238E27FC236}">
                <a16:creationId xmlns:a16="http://schemas.microsoft.com/office/drawing/2014/main" id="{BB025679-0DA9-964F-881C-39D8B82914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4843" y="1"/>
            <a:ext cx="660791" cy="617696"/>
          </a:xfrm>
          <a:prstGeom prst="rect">
            <a:avLst/>
          </a:prstGeom>
        </p:spPr>
      </p:pic>
      <p:sp>
        <p:nvSpPr>
          <p:cNvPr id="17" name="TextBox 16">
            <a:extLst>
              <a:ext uri="{FF2B5EF4-FFF2-40B4-BE49-F238E27FC236}">
                <a16:creationId xmlns:a16="http://schemas.microsoft.com/office/drawing/2014/main" id="{7BE3F799-3B09-6F4A-960E-75D646F0607B}"/>
              </a:ext>
            </a:extLst>
          </p:cNvPr>
          <p:cNvSpPr txBox="1"/>
          <p:nvPr userDrawn="1"/>
        </p:nvSpPr>
        <p:spPr>
          <a:xfrm>
            <a:off x="10661527" y="7496786"/>
            <a:ext cx="246308" cy="492613"/>
          </a:xfrm>
          <a:prstGeom prst="rect">
            <a:avLst/>
          </a:prstGeom>
          <a:noFill/>
        </p:spPr>
        <p:txBody>
          <a:bodyPr wrap="square" rtlCol="0">
            <a:spAutoFit/>
          </a:bodyPr>
          <a:lstStyle/>
          <a:p>
            <a:endParaRPr lang="en-US" sz="2401"/>
          </a:p>
        </p:txBody>
      </p:sp>
    </p:spTree>
    <p:extLst>
      <p:ext uri="{BB962C8B-B14F-4D97-AF65-F5344CB8AC3E}">
        <p14:creationId xmlns:p14="http://schemas.microsoft.com/office/powerpoint/2010/main" val="13641550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44D66-89A9-838B-233D-8C08C8F149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9C9212-653E-74F8-DBEA-1B0E127B00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F754C20-7152-2DA5-5B1A-A33940E00B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68DC90-7BCA-EBCB-58DB-F740DD9BDB18}"/>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6" name="Footer Placeholder 5">
            <a:extLst>
              <a:ext uri="{FF2B5EF4-FFF2-40B4-BE49-F238E27FC236}">
                <a16:creationId xmlns:a16="http://schemas.microsoft.com/office/drawing/2014/main" id="{390D71BD-8275-0122-6851-2452A0937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0077E4-3AFF-099B-21C0-781F77ED71DB}"/>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1473456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0CD3A-A340-0516-D4FF-E4DED6E15A0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1C1B770-3353-A71A-404D-258DB6D2C6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2A92233-B92E-AA78-8616-CA097FEC352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5715890-AEEA-A876-C13D-E9D18A10BB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C85D0DE-A90A-395E-74EB-A8E416FDE0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4DA5D2-F84C-3365-2E1B-F3678D7DB0EA}"/>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8" name="Footer Placeholder 7">
            <a:extLst>
              <a:ext uri="{FF2B5EF4-FFF2-40B4-BE49-F238E27FC236}">
                <a16:creationId xmlns:a16="http://schemas.microsoft.com/office/drawing/2014/main" id="{91BEB5BB-C2DB-D8B4-25A1-1CCA4FAF6A2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C2ADBC-43A8-C323-5003-BEDB79A8640A}"/>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23305221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253EA-0660-0E1A-378D-CB67ADFB93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F7F1EA-B1C6-975E-7940-BEAD8B8F82BA}"/>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4" name="Footer Placeholder 3">
            <a:extLst>
              <a:ext uri="{FF2B5EF4-FFF2-40B4-BE49-F238E27FC236}">
                <a16:creationId xmlns:a16="http://schemas.microsoft.com/office/drawing/2014/main" id="{23EBEA19-C0CE-EBFB-D88B-DD23173EC4D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D9ED597-69E1-90BE-D40B-91582D160E6B}"/>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906712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DB04AE-4A80-EA43-F525-D8B7600540C3}"/>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3" name="Footer Placeholder 2">
            <a:extLst>
              <a:ext uri="{FF2B5EF4-FFF2-40B4-BE49-F238E27FC236}">
                <a16:creationId xmlns:a16="http://schemas.microsoft.com/office/drawing/2014/main" id="{AFFBFF73-6E9B-B253-C25C-D74929123A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FB6F15-B84D-706D-909D-58A46BCA55E5}"/>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3262976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4138A-78DA-D1F2-9AC6-D448A0CACE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35B44AE-63ED-04BD-C0A9-B7ADD291DD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9889E6-075E-F5DF-C0EC-7CEC791500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61A220-613B-71F6-AE0E-57051A7C2250}"/>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6" name="Footer Placeholder 5">
            <a:extLst>
              <a:ext uri="{FF2B5EF4-FFF2-40B4-BE49-F238E27FC236}">
                <a16:creationId xmlns:a16="http://schemas.microsoft.com/office/drawing/2014/main" id="{0010E87C-DC54-73B3-1B82-E4BF708990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06DCB8-E35F-6BF3-8F6D-68381D118403}"/>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29837053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FCE20-FB05-9722-4D9D-ECB1F5542D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7898CC3-9B9A-97F5-C423-72EF6DD424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E36BD3-6E56-F96A-8E2A-C38260C812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B1EDBE-9E59-530F-2EBF-00B78505CA53}"/>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6" name="Footer Placeholder 5">
            <a:extLst>
              <a:ext uri="{FF2B5EF4-FFF2-40B4-BE49-F238E27FC236}">
                <a16:creationId xmlns:a16="http://schemas.microsoft.com/office/drawing/2014/main" id="{9C9AB690-984E-D89B-63BF-0257740D25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53C160-3665-9862-6B27-CCCCFE061316}"/>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39618312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E2285-7D63-1858-0499-40823AECE56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1F916F6-25C6-D52C-1CA8-1E53473D9B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12AB24-00B7-721B-87DA-7DB99EBB91BC}"/>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73D1751C-D96C-CDF8-0289-3324A7D3DA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947DA1-10B3-C0C2-E63A-AC6A97DF0736}"/>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34028571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860124-A401-FFA9-5FC0-6F5588FEBB3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DEA356-AAFA-2EA6-1B77-1F8E9DC77D0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780830-9BC7-8704-6E54-A5348A1F1E19}"/>
              </a:ext>
            </a:extLst>
          </p:cNvPr>
          <p:cNvSpPr>
            <a:spLocks noGrp="1"/>
          </p:cNvSpPr>
          <p:nvPr>
            <p:ph type="dt" sz="half" idx="10"/>
          </p:nvPr>
        </p:nvSpPr>
        <p:spPr/>
        <p:txBody>
          <a:body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52E1B589-9FA2-510F-F37F-531BDA0546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1B453F-0930-8D16-BF8C-D43F91DE8BF8}"/>
              </a:ext>
            </a:extLst>
          </p:cNvPr>
          <p:cNvSpPr>
            <a:spLocks noGrp="1"/>
          </p:cNvSpPr>
          <p:nvPr>
            <p:ph type="sldNum" sz="quarter" idx="12"/>
          </p:nvPr>
        </p:nvSpPr>
        <p:spPr/>
        <p:txBody>
          <a:bodyPr/>
          <a:lstStyle/>
          <a:p>
            <a:fld id="{6A10F667-8286-4FD0-8D2D-0D07FFA8DA6B}" type="slidenum">
              <a:rPr lang="en-US" smtClean="0"/>
              <a:t>‹#›</a:t>
            </a:fld>
            <a:endParaRPr lang="en-US"/>
          </a:p>
        </p:txBody>
      </p:sp>
    </p:spTree>
    <p:extLst>
      <p:ext uri="{BB962C8B-B14F-4D97-AF65-F5344CB8AC3E}">
        <p14:creationId xmlns:p14="http://schemas.microsoft.com/office/powerpoint/2010/main" val="2986336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274BD9-AC88-CB4A-AFE5-37C3E54D59F1}"/>
              </a:ext>
            </a:extLst>
          </p:cNvPr>
          <p:cNvSpPr/>
          <p:nvPr userDrawn="1"/>
        </p:nvSpPr>
        <p:spPr>
          <a:xfrm>
            <a:off x="0" y="0"/>
            <a:ext cx="228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a:extLst>
              <a:ext uri="{FF2B5EF4-FFF2-40B4-BE49-F238E27FC236}">
                <a16:creationId xmlns:a16="http://schemas.microsoft.com/office/drawing/2014/main" id="{8E6255D4-CD69-6E49-B37D-65A9A05337D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36194" name="Rectangle 2"/>
          <p:cNvSpPr>
            <a:spLocks noGrp="1" noChangeArrowheads="1"/>
          </p:cNvSpPr>
          <p:nvPr>
            <p:ph type="ctrTitle" hasCustomPrompt="1"/>
          </p:nvPr>
        </p:nvSpPr>
        <p:spPr>
          <a:xfrm>
            <a:off x="1022517" y="1295401"/>
            <a:ext cx="10556648" cy="2589803"/>
          </a:xfrm>
        </p:spPr>
        <p:txBody>
          <a:bodyPr wrap="square" anchor="b"/>
          <a:lstStyle>
            <a:lvl1pPr>
              <a:lnSpc>
                <a:spcPct val="80000"/>
              </a:lnSpc>
              <a:defRPr sz="6000" b="0" i="0" cap="all" baseline="0">
                <a:solidFill>
                  <a:schemeClr val="bg1"/>
                </a:solidFill>
                <a:latin typeface="+mj-lt"/>
              </a:defRPr>
            </a:lvl1pPr>
          </a:lstStyle>
          <a:p>
            <a:r>
              <a:rPr lang="en-US"/>
              <a:t>Click to edit </a:t>
            </a:r>
            <a:br>
              <a:rPr lang="en-US"/>
            </a:br>
            <a:r>
              <a:rPr lang="en-US"/>
              <a:t>Master title style</a:t>
            </a:r>
          </a:p>
        </p:txBody>
      </p:sp>
      <p:sp>
        <p:nvSpPr>
          <p:cNvPr id="136195" name="Rectangle 3"/>
          <p:cNvSpPr>
            <a:spLocks noGrp="1" noChangeArrowheads="1"/>
          </p:cNvSpPr>
          <p:nvPr>
            <p:ph type="subTitle" idx="1"/>
          </p:nvPr>
        </p:nvSpPr>
        <p:spPr>
          <a:xfrm>
            <a:off x="1036517" y="4021429"/>
            <a:ext cx="10517191" cy="604363"/>
          </a:xfrm>
        </p:spPr>
        <p:txBody>
          <a:bodyPr/>
          <a:lstStyle>
            <a:lvl1pPr marL="0" indent="0">
              <a:buFont typeface="Wingdings" pitchFamily="2" charset="2"/>
              <a:buNone/>
              <a:defRPr sz="2500" cap="all" baseline="0">
                <a:solidFill>
                  <a:schemeClr val="bg1"/>
                </a:solidFill>
                <a:latin typeface="+mn-lt"/>
              </a:defRPr>
            </a:lvl1pPr>
          </a:lstStyle>
          <a:p>
            <a:r>
              <a:rPr lang="en-US"/>
              <a:t>Click to edit Master subtitle style</a:t>
            </a:r>
          </a:p>
        </p:txBody>
      </p:sp>
      <p:pic>
        <p:nvPicPr>
          <p:cNvPr id="7" name="Graphic 6">
            <a:extLst>
              <a:ext uri="{FF2B5EF4-FFF2-40B4-BE49-F238E27FC236}">
                <a16:creationId xmlns:a16="http://schemas.microsoft.com/office/drawing/2014/main" id="{AA96753C-37B1-46A6-9576-8CF1C696B42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9188" y="448851"/>
            <a:ext cx="2419503" cy="493776"/>
          </a:xfrm>
          <a:prstGeom prst="rect">
            <a:avLst/>
          </a:prstGeom>
        </p:spPr>
      </p:pic>
      <p:sp>
        <p:nvSpPr>
          <p:cNvPr id="14" name="Content Placeholder 13">
            <a:extLst>
              <a:ext uri="{FF2B5EF4-FFF2-40B4-BE49-F238E27FC236}">
                <a16:creationId xmlns:a16="http://schemas.microsoft.com/office/drawing/2014/main" id="{42F4844D-DBA3-49C7-BB41-E1D7C77F8042}"/>
              </a:ext>
            </a:extLst>
          </p:cNvPr>
          <p:cNvSpPr>
            <a:spLocks noGrp="1"/>
          </p:cNvSpPr>
          <p:nvPr>
            <p:ph sz="quarter" idx="11" hasCustomPrompt="1"/>
          </p:nvPr>
        </p:nvSpPr>
        <p:spPr>
          <a:xfrm>
            <a:off x="1036640" y="5422754"/>
            <a:ext cx="10556875" cy="846551"/>
          </a:xfrm>
        </p:spPr>
        <p:txBody>
          <a:bodyPr/>
          <a:lstStyle>
            <a:lvl1pPr marL="0" indent="0">
              <a:lnSpc>
                <a:spcPct val="110000"/>
              </a:lnSpc>
              <a:spcBef>
                <a:spcPts val="0"/>
              </a:spcBef>
              <a:buFontTx/>
              <a:buNone/>
              <a:defRPr sz="1600" baseline="0">
                <a:solidFill>
                  <a:schemeClr val="bg1"/>
                </a:solidFill>
                <a:latin typeface="Franklin Gothic Book" panose="020B0503020102020204" pitchFamily="34" charset="0"/>
              </a:defRPr>
            </a:lvl1pPr>
          </a:lstStyle>
          <a:p>
            <a:pPr lvl="0"/>
            <a:r>
              <a:rPr lang="en-US"/>
              <a:t>Presenters name</a:t>
            </a:r>
          </a:p>
          <a:p>
            <a:pPr lvl="0"/>
            <a:r>
              <a:rPr lang="en-US"/>
              <a:t>Date</a:t>
            </a:r>
          </a:p>
        </p:txBody>
      </p:sp>
    </p:spTree>
    <p:extLst>
      <p:ext uri="{BB962C8B-B14F-4D97-AF65-F5344CB8AC3E}">
        <p14:creationId xmlns:p14="http://schemas.microsoft.com/office/powerpoint/2010/main" val="11462249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Layout (PL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fld id="{8A5743FA-19ED-4A9D-9D57-C0E819892670}" type="slidenum">
              <a:rPr lang="en-US" smtClean="0"/>
              <a:pPr/>
              <a:t>‹#›</a:t>
            </a:fld>
            <a:endParaRPr lang="en-US"/>
          </a:p>
        </p:txBody>
      </p:sp>
      <p:grpSp>
        <p:nvGrpSpPr>
          <p:cNvPr id="4" name="Group 3">
            <a:extLst>
              <a:ext uri="{FF2B5EF4-FFF2-40B4-BE49-F238E27FC236}">
                <a16:creationId xmlns:a16="http://schemas.microsoft.com/office/drawing/2014/main" id="{FC7FBAA9-E7C9-0B4E-8852-20B82A2C567A}"/>
              </a:ext>
            </a:extLst>
          </p:cNvPr>
          <p:cNvGrpSpPr/>
          <p:nvPr userDrawn="1"/>
        </p:nvGrpSpPr>
        <p:grpSpPr>
          <a:xfrm>
            <a:off x="11657958" y="0"/>
            <a:ext cx="534042" cy="536448"/>
            <a:chOff x="11657958" y="0"/>
            <a:chExt cx="534042" cy="536448"/>
          </a:xfrm>
        </p:grpSpPr>
        <p:sp>
          <p:nvSpPr>
            <p:cNvPr id="5" name="Rectangle 4">
              <a:extLst>
                <a:ext uri="{FF2B5EF4-FFF2-40B4-BE49-F238E27FC236}">
                  <a16:creationId xmlns:a16="http://schemas.microsoft.com/office/drawing/2014/main" id="{3473D84F-DE80-E946-942B-C552CCDA6970}"/>
                </a:ext>
              </a:extLst>
            </p:cNvPr>
            <p:cNvSpPr/>
            <p:nvPr userDrawn="1"/>
          </p:nvSpPr>
          <p:spPr>
            <a:xfrm>
              <a:off x="11657958" y="0"/>
              <a:ext cx="534042" cy="536448"/>
            </a:xfrm>
            <a:prstGeom prst="rect">
              <a:avLst/>
            </a:prstGeom>
            <a:solidFill>
              <a:srgbClr val="081931">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858A456-F52E-B241-94E0-0C8927BB9C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04592" y="121569"/>
              <a:ext cx="254173" cy="300386"/>
            </a:xfrm>
            <a:prstGeom prst="rect">
              <a:avLst/>
            </a:prstGeom>
          </p:spPr>
        </p:pic>
      </p:grpSp>
      <p:sp>
        <p:nvSpPr>
          <p:cNvPr id="8" name="Footer Placeholder 1">
            <a:extLst>
              <a:ext uri="{FF2B5EF4-FFF2-40B4-BE49-F238E27FC236}">
                <a16:creationId xmlns:a16="http://schemas.microsoft.com/office/drawing/2014/main" id="{64DC72BE-5F86-DE49-98FC-1F5647041565}"/>
              </a:ext>
            </a:extLst>
          </p:cNvPr>
          <p:cNvSpPr txBox="1">
            <a:spLocks/>
          </p:cNvSpPr>
          <p:nvPr userDrawn="1"/>
        </p:nvSpPr>
        <p:spPr>
          <a:xfrm>
            <a:off x="9043615" y="6613010"/>
            <a:ext cx="2447198" cy="252248"/>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r>
              <a:rPr lang="en-US" sz="700">
                <a:solidFill>
                  <a:schemeClr val="bg1">
                    <a:lumMod val="50000"/>
                  </a:schemeClr>
                </a:solidFill>
              </a:rPr>
              <a:t>Sensitive / Proprietary</a:t>
            </a:r>
          </a:p>
        </p:txBody>
      </p:sp>
      <p:sp>
        <p:nvSpPr>
          <p:cNvPr id="9" name="Footer Placeholder 1">
            <a:extLst>
              <a:ext uri="{FF2B5EF4-FFF2-40B4-BE49-F238E27FC236}">
                <a16:creationId xmlns:a16="http://schemas.microsoft.com/office/drawing/2014/main" id="{1F4C516D-553B-3948-AF2C-F1F37EBF8B92}"/>
              </a:ext>
            </a:extLst>
          </p:cNvPr>
          <p:cNvSpPr txBox="1">
            <a:spLocks/>
          </p:cNvSpPr>
          <p:nvPr userDrawn="1"/>
        </p:nvSpPr>
        <p:spPr>
          <a:xfrm>
            <a:off x="533405" y="6528075"/>
            <a:ext cx="4041757" cy="365125"/>
          </a:xfrm>
          <a:prstGeom prst="rect">
            <a:avLst/>
          </a:prstGeom>
        </p:spPr>
        <p:txBody>
          <a:bodyPr vert="horz" lIns="91440" tIns="45720" rIns="91440" bIns="45720" rtlCol="0" anchor="ctr"/>
          <a:lstStyle>
            <a:defPPr>
              <a:defRPr lang="en-US"/>
            </a:defPPr>
            <a:lvl1pPr marL="0" algn="r" defTabSz="1219050" rtl="0" eaLnBrk="1" latinLnBrk="0" hangingPunct="1">
              <a:defRPr sz="700" kern="1200" baseline="0">
                <a:solidFill>
                  <a:schemeClr val="bg1"/>
                </a:solidFill>
                <a:latin typeface="+mn-lt"/>
                <a:ea typeface="+mn-ea"/>
                <a:cs typeface="+mn-cs"/>
              </a:defRPr>
            </a:lvl1pPr>
            <a:lvl2pPr marL="609523" algn="l" defTabSz="1219050" rtl="0" eaLnBrk="1" latinLnBrk="0" hangingPunct="1">
              <a:defRPr sz="2400" kern="1200">
                <a:solidFill>
                  <a:schemeClr val="tx1"/>
                </a:solidFill>
                <a:latin typeface="+mn-lt"/>
                <a:ea typeface="+mn-ea"/>
                <a:cs typeface="+mn-cs"/>
              </a:defRPr>
            </a:lvl2pPr>
            <a:lvl3pPr marL="1219050" algn="l" defTabSz="1219050" rtl="0" eaLnBrk="1" latinLnBrk="0" hangingPunct="1">
              <a:defRPr sz="2400" kern="1200">
                <a:solidFill>
                  <a:schemeClr val="tx1"/>
                </a:solidFill>
                <a:latin typeface="+mn-lt"/>
                <a:ea typeface="+mn-ea"/>
                <a:cs typeface="+mn-cs"/>
              </a:defRPr>
            </a:lvl3pPr>
            <a:lvl4pPr marL="1828573" algn="l" defTabSz="1219050" rtl="0" eaLnBrk="1" latinLnBrk="0" hangingPunct="1">
              <a:defRPr sz="2400" kern="1200">
                <a:solidFill>
                  <a:schemeClr val="tx1"/>
                </a:solidFill>
                <a:latin typeface="+mn-lt"/>
                <a:ea typeface="+mn-ea"/>
                <a:cs typeface="+mn-cs"/>
              </a:defRPr>
            </a:lvl4pPr>
            <a:lvl5pPr marL="2438098" algn="l" defTabSz="1219050" rtl="0" eaLnBrk="1" latinLnBrk="0" hangingPunct="1">
              <a:defRPr sz="2400" kern="1200">
                <a:solidFill>
                  <a:schemeClr val="tx1"/>
                </a:solidFill>
                <a:latin typeface="+mn-lt"/>
                <a:ea typeface="+mn-ea"/>
                <a:cs typeface="+mn-cs"/>
              </a:defRPr>
            </a:lvl5pPr>
            <a:lvl6pPr marL="3047620" algn="l" defTabSz="1219050" rtl="0" eaLnBrk="1" latinLnBrk="0" hangingPunct="1">
              <a:defRPr sz="2400" kern="1200">
                <a:solidFill>
                  <a:schemeClr val="tx1"/>
                </a:solidFill>
                <a:latin typeface="+mn-lt"/>
                <a:ea typeface="+mn-ea"/>
                <a:cs typeface="+mn-cs"/>
              </a:defRPr>
            </a:lvl6pPr>
            <a:lvl7pPr marL="3657143" algn="l" defTabSz="1219050" rtl="0" eaLnBrk="1" latinLnBrk="0" hangingPunct="1">
              <a:defRPr sz="2400" kern="1200">
                <a:solidFill>
                  <a:schemeClr val="tx1"/>
                </a:solidFill>
                <a:latin typeface="+mn-lt"/>
                <a:ea typeface="+mn-ea"/>
                <a:cs typeface="+mn-cs"/>
              </a:defRPr>
            </a:lvl7pPr>
            <a:lvl8pPr marL="4266667" algn="l" defTabSz="1219050" rtl="0" eaLnBrk="1" latinLnBrk="0" hangingPunct="1">
              <a:defRPr sz="2400" kern="1200">
                <a:solidFill>
                  <a:schemeClr val="tx1"/>
                </a:solidFill>
                <a:latin typeface="+mn-lt"/>
                <a:ea typeface="+mn-ea"/>
                <a:cs typeface="+mn-cs"/>
              </a:defRPr>
            </a:lvl8pPr>
            <a:lvl9pPr marL="4876191" algn="l" defTabSz="1219050" rtl="0" eaLnBrk="1" latinLnBrk="0" hangingPunct="1">
              <a:defRPr sz="2400" kern="1200">
                <a:solidFill>
                  <a:schemeClr val="tx1"/>
                </a:solidFill>
                <a:latin typeface="+mn-lt"/>
                <a:ea typeface="+mn-ea"/>
                <a:cs typeface="+mn-cs"/>
              </a:defRPr>
            </a:lvl9pPr>
          </a:lstStyle>
          <a:p>
            <a:pPr algn="l"/>
            <a:r>
              <a:rPr lang="en-US" b="0" i="0">
                <a:solidFill>
                  <a:schemeClr val="bg1">
                    <a:lumMod val="50000"/>
                  </a:schemeClr>
                </a:solidFill>
                <a:latin typeface="+mn-lt"/>
              </a:rPr>
              <a:t>Parsons Corporation</a:t>
            </a:r>
          </a:p>
        </p:txBody>
      </p:sp>
    </p:spTree>
    <p:extLst>
      <p:ext uri="{BB962C8B-B14F-4D97-AF65-F5344CB8AC3E}">
        <p14:creationId xmlns:p14="http://schemas.microsoft.com/office/powerpoint/2010/main" val="3671247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4 - GREEN - Image WHITE log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3" name="Picture Placeholder 2">
            <a:extLst>
              <a:ext uri="{FF2B5EF4-FFF2-40B4-BE49-F238E27FC236}">
                <a16:creationId xmlns:a16="http://schemas.microsoft.com/office/drawing/2014/main" id="{E3A906D3-8A54-1DE5-31B0-CCE09DD8E77C}"/>
              </a:ext>
            </a:extLst>
          </p:cNvPr>
          <p:cNvSpPr>
            <a:spLocks noGrp="1"/>
          </p:cNvSpPr>
          <p:nvPr>
            <p:ph type="pic" sz="quarter" idx="15"/>
          </p:nvPr>
        </p:nvSpPr>
        <p:spPr>
          <a:xfrm>
            <a:off x="8647113" y="-16042"/>
            <a:ext cx="3544887" cy="6922168"/>
          </a:xfrm>
          <a:custGeom>
            <a:avLst/>
            <a:gdLst>
              <a:gd name="connsiteX0" fmla="*/ 0 w 3544887"/>
              <a:gd name="connsiteY0" fmla="*/ 0 h 6858000"/>
              <a:gd name="connsiteX1" fmla="*/ 3544887 w 3544887"/>
              <a:gd name="connsiteY1" fmla="*/ 0 h 6858000"/>
              <a:gd name="connsiteX2" fmla="*/ 3544887 w 3544887"/>
              <a:gd name="connsiteY2" fmla="*/ 6858000 h 6858000"/>
              <a:gd name="connsiteX3" fmla="*/ 0 w 3544887"/>
              <a:gd name="connsiteY3" fmla="*/ 6858000 h 6858000"/>
              <a:gd name="connsiteX4" fmla="*/ 0 w 3544887"/>
              <a:gd name="connsiteY4" fmla="*/ 0 h 6858000"/>
              <a:gd name="connsiteX0" fmla="*/ 0 w 3544887"/>
              <a:gd name="connsiteY0" fmla="*/ 0 h 6922168"/>
              <a:gd name="connsiteX1" fmla="*/ 3544887 w 3544887"/>
              <a:gd name="connsiteY1" fmla="*/ 0 h 6922168"/>
              <a:gd name="connsiteX2" fmla="*/ 3544887 w 3544887"/>
              <a:gd name="connsiteY2" fmla="*/ 6858000 h 6922168"/>
              <a:gd name="connsiteX3" fmla="*/ 1187116 w 3544887"/>
              <a:gd name="connsiteY3" fmla="*/ 6922168 h 6922168"/>
              <a:gd name="connsiteX4" fmla="*/ 0 w 3544887"/>
              <a:gd name="connsiteY4" fmla="*/ 0 h 692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87" h="6922168">
                <a:moveTo>
                  <a:pt x="0" y="0"/>
                </a:moveTo>
                <a:lnTo>
                  <a:pt x="3544887" y="0"/>
                </a:lnTo>
                <a:lnTo>
                  <a:pt x="3544887" y="6858000"/>
                </a:lnTo>
                <a:lnTo>
                  <a:pt x="1187116" y="6922168"/>
                </a:lnTo>
                <a:lnTo>
                  <a:pt x="0" y="0"/>
                </a:lnTo>
                <a:close/>
              </a:path>
            </a:pathLst>
          </a:custGeom>
        </p:spPr>
        <p:txBody>
          <a:bodyPr/>
          <a:lstStyle>
            <a:lvl1pPr marL="0" indent="0" algn="ctr">
              <a:buNone/>
              <a:defRPr sz="2000" b="1" i="1"/>
            </a:lvl1pPr>
          </a:lstStyle>
          <a:p>
            <a:endParaRPr lang="en-US"/>
          </a:p>
          <a:p>
            <a:endParaRPr lang="en-US"/>
          </a:p>
          <a:p>
            <a:endParaRPr lang="en-US"/>
          </a:p>
          <a:p>
            <a:endParaRPr lang="en-US"/>
          </a:p>
          <a:p>
            <a:br>
              <a:rPr lang="en-US"/>
            </a:br>
            <a:br>
              <a:rPr lang="en-US"/>
            </a:br>
            <a:br>
              <a:rPr lang="en-US"/>
            </a:br>
            <a:r>
              <a:rPr lang="en-US"/>
              <a:t>       Click to replace image with      </a:t>
            </a:r>
            <a:br>
              <a:rPr lang="en-US"/>
            </a:br>
            <a:r>
              <a:rPr lang="en-US"/>
              <a:t>        your own. Or keep as is.</a:t>
            </a:r>
          </a:p>
        </p:txBody>
      </p:sp>
      <p:pic>
        <p:nvPicPr>
          <p:cNvPr id="13" name="Picture 12" descr="A black and white logo&#10;&#10;Description automatically generated">
            <a:extLst>
              <a:ext uri="{FF2B5EF4-FFF2-40B4-BE49-F238E27FC236}">
                <a16:creationId xmlns:a16="http://schemas.microsoft.com/office/drawing/2014/main" id="{4A63C94D-302D-2C1F-951E-4472526EA3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33188" y="-6670"/>
            <a:ext cx="565288" cy="565288"/>
          </a:xfrm>
          <a:prstGeom prst="rect">
            <a:avLst/>
          </a:prstGeom>
        </p:spPr>
      </p:pic>
      <p:sp>
        <p:nvSpPr>
          <p:cNvPr id="2" name="Text Placeholder 10">
            <a:extLst>
              <a:ext uri="{FF2B5EF4-FFF2-40B4-BE49-F238E27FC236}">
                <a16:creationId xmlns:a16="http://schemas.microsoft.com/office/drawing/2014/main" id="{8130B2CB-A7DB-568E-E6DF-132A1E5593C5}"/>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C3D831"/>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3648409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Subheader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D8F9AD-0F35-4F3A-8114-56FC09B46C45}"/>
              </a:ext>
            </a:extLst>
          </p:cNvPr>
          <p:cNvSpPr/>
          <p:nvPr userDrawn="1"/>
        </p:nvSpPr>
        <p:spPr>
          <a:xfrm rot="5400000">
            <a:off x="5951220" y="618923"/>
            <a:ext cx="274320" cy="12207240"/>
          </a:xfrm>
          <a:prstGeom prst="rect">
            <a:avLst/>
          </a:prstGeom>
          <a:gradFill>
            <a:gsLst>
              <a:gs pos="0">
                <a:srgbClr val="50BF34"/>
              </a:gs>
              <a:gs pos="80000">
                <a:srgbClr val="00AEE6"/>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84170916-A500-4638-8044-9F463F805345}"/>
              </a:ext>
            </a:extLst>
          </p:cNvPr>
          <p:cNvSpPr/>
          <p:nvPr userDrawn="1"/>
        </p:nvSpPr>
        <p:spPr>
          <a:xfrm>
            <a:off x="0" y="6"/>
            <a:ext cx="923109" cy="221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6">
            <a:extLst>
              <a:ext uri="{FF2B5EF4-FFF2-40B4-BE49-F238E27FC236}">
                <a16:creationId xmlns:a16="http://schemas.microsoft.com/office/drawing/2014/main" id="{922CE42A-CB28-4300-8E9E-E8BEE2EDF52C}"/>
              </a:ext>
            </a:extLst>
          </p:cNvPr>
          <p:cNvSpPr>
            <a:spLocks noGrp="1"/>
          </p:cNvSpPr>
          <p:nvPr>
            <p:ph type="body" sz="quarter" idx="13" hasCustomPrompt="1"/>
          </p:nvPr>
        </p:nvSpPr>
        <p:spPr>
          <a:xfrm>
            <a:off x="522177" y="1015346"/>
            <a:ext cx="11404747" cy="333375"/>
          </a:xfrm>
        </p:spPr>
        <p:txBody>
          <a:bodyPr anchor="ctr" anchorCtr="0"/>
          <a:lstStyle>
            <a:lvl1pPr marL="0" indent="0">
              <a:buFont typeface="Wingdings" panose="05000000000000000000" pitchFamily="2" charset="2"/>
              <a:buNone/>
              <a:defRPr sz="1600" b="0">
                <a:solidFill>
                  <a:schemeClr val="bg1">
                    <a:lumMod val="50000"/>
                  </a:schemeClr>
                </a:solidFill>
                <a:latin typeface="+mn-lt"/>
                <a:cs typeface="Arial" panose="020B0604020202020204" pitchFamily="34" charset="0"/>
              </a:defRPr>
            </a:lvl1pPr>
          </a:lstStyle>
          <a:p>
            <a:pPr lvl="0"/>
            <a:r>
              <a:rPr lang="en-US"/>
              <a:t>Subtitle</a:t>
            </a:r>
          </a:p>
        </p:txBody>
      </p:sp>
      <p:sp>
        <p:nvSpPr>
          <p:cNvPr id="3" name="Footer Placeholder 2">
            <a:extLst>
              <a:ext uri="{FF2B5EF4-FFF2-40B4-BE49-F238E27FC236}">
                <a16:creationId xmlns:a16="http://schemas.microsoft.com/office/drawing/2014/main" id="{9C625FD0-2F78-46CE-B0C6-911C0438EFE5}"/>
              </a:ext>
            </a:extLst>
          </p:cNvPr>
          <p:cNvSpPr>
            <a:spLocks noGrp="1"/>
          </p:cNvSpPr>
          <p:nvPr>
            <p:ph type="ftr" sz="quarter" idx="14"/>
          </p:nvPr>
        </p:nvSpPr>
        <p:spPr/>
        <p:txBody>
          <a:bodyPr/>
          <a:lstStyle/>
          <a:p>
            <a:r>
              <a:rPr lang="en-US"/>
              <a:t>Sensitive / Confidential / Proprietary</a:t>
            </a:r>
            <a:endParaRPr lang="en-US">
              <a:latin typeface="Franklin Gothic Medium" panose="020B0603020102020204" pitchFamily="34" charset="0"/>
            </a:endParaRPr>
          </a:p>
        </p:txBody>
      </p:sp>
      <p:sp>
        <p:nvSpPr>
          <p:cNvPr id="4" name="Slide Number Placeholder 3">
            <a:extLst>
              <a:ext uri="{FF2B5EF4-FFF2-40B4-BE49-F238E27FC236}">
                <a16:creationId xmlns:a16="http://schemas.microsoft.com/office/drawing/2014/main" id="{7D6433CD-70EA-46F4-A4DE-C10BE4B46E24}"/>
              </a:ext>
            </a:extLst>
          </p:cNvPr>
          <p:cNvSpPr>
            <a:spLocks noGrp="1"/>
          </p:cNvSpPr>
          <p:nvPr>
            <p:ph type="sldNum" sz="quarter" idx="15"/>
          </p:nvPr>
        </p:nvSpPr>
        <p:spPr/>
        <p:txBody>
          <a:bodyPr/>
          <a:lstStyle/>
          <a:p>
            <a:pPr fontAlgn="base">
              <a:spcBef>
                <a:spcPct val="0"/>
              </a:spcBef>
              <a:spcAft>
                <a:spcPct val="0"/>
              </a:spcAft>
            </a:pPr>
            <a:fld id="{8A5743FA-19ED-4A9D-9D57-C0E819892670}" type="slidenum">
              <a:rPr lang="en-US" smtClean="0"/>
              <a:pPr fontAlgn="base">
                <a:spcBef>
                  <a:spcPct val="0"/>
                </a:spcBef>
                <a:spcAft>
                  <a:spcPct val="0"/>
                </a:spcAft>
              </a:pPr>
              <a:t>‹#›</a:t>
            </a:fld>
            <a:endParaRPr lang="en-US"/>
          </a:p>
        </p:txBody>
      </p:sp>
      <p:sp>
        <p:nvSpPr>
          <p:cNvPr id="2" name="Title 1">
            <a:extLst>
              <a:ext uri="{FF2B5EF4-FFF2-40B4-BE49-F238E27FC236}">
                <a16:creationId xmlns:a16="http://schemas.microsoft.com/office/drawing/2014/main" id="{91293D69-DB91-415E-9FD8-1CF64AC2355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85223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 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DEA42A3-DD5E-4806-882E-0E2AAD867A10}"/>
              </a:ext>
            </a:extLst>
          </p:cNvPr>
          <p:cNvSpPr/>
          <p:nvPr userDrawn="1"/>
        </p:nvSpPr>
        <p:spPr>
          <a:xfrm rot="5400000">
            <a:off x="5951220" y="618923"/>
            <a:ext cx="274320" cy="12207240"/>
          </a:xfrm>
          <a:prstGeom prst="rect">
            <a:avLst/>
          </a:prstGeom>
          <a:gradFill>
            <a:gsLst>
              <a:gs pos="0">
                <a:srgbClr val="50BF34"/>
              </a:gs>
              <a:gs pos="80000">
                <a:srgbClr val="00AEE6"/>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730DF9E7-AA98-4B0C-AD0F-BF7E772E0419}"/>
              </a:ext>
            </a:extLst>
          </p:cNvPr>
          <p:cNvSpPr/>
          <p:nvPr userDrawn="1"/>
        </p:nvSpPr>
        <p:spPr>
          <a:xfrm>
            <a:off x="0" y="6"/>
            <a:ext cx="923109" cy="221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28"/>
          <p:cNvSpPr>
            <a:spLocks noGrp="1"/>
          </p:cNvSpPr>
          <p:nvPr>
            <p:ph type="pic" sz="quarter" idx="11"/>
          </p:nvPr>
        </p:nvSpPr>
        <p:spPr>
          <a:xfrm>
            <a:off x="1982640" y="1371277"/>
            <a:ext cx="2528305" cy="3464312"/>
          </a:xfrm>
          <a:prstGeom prst="rect">
            <a:avLst/>
          </a:prstGeom>
          <a:solidFill>
            <a:schemeClr val="tx2"/>
          </a:solidFill>
          <a:ln>
            <a:noFill/>
          </a:ln>
        </p:spPr>
        <p:txBody>
          <a:bodyPr vert="horz" tIns="0" bIns="0"/>
          <a:lstStyle>
            <a:lvl1pPr marL="0" indent="0">
              <a:buFontTx/>
              <a:buNone/>
              <a:defRPr>
                <a:solidFill>
                  <a:schemeClr val="bg1">
                    <a:lumMod val="50000"/>
                  </a:schemeClr>
                </a:solidFill>
              </a:defRPr>
            </a:lvl1pPr>
          </a:lstStyle>
          <a:p>
            <a:r>
              <a:rPr lang="en-US"/>
              <a:t>Click icon to add picture</a:t>
            </a:r>
          </a:p>
        </p:txBody>
      </p:sp>
      <p:sp>
        <p:nvSpPr>
          <p:cNvPr id="7" name="Text Placeholder 33"/>
          <p:cNvSpPr>
            <a:spLocks noGrp="1"/>
          </p:cNvSpPr>
          <p:nvPr>
            <p:ph type="body" sz="quarter" idx="14" hasCustomPrompt="1"/>
          </p:nvPr>
        </p:nvSpPr>
        <p:spPr>
          <a:xfrm>
            <a:off x="1986370" y="5472336"/>
            <a:ext cx="2520847" cy="348725"/>
          </a:xfrm>
          <a:prstGeom prst="rect">
            <a:avLst/>
          </a:prstGeom>
        </p:spPr>
        <p:txBody>
          <a:bodyPr vert="horz" lIns="91440" tIns="0" rIns="91440" bIns="0">
            <a:normAutofit/>
          </a:bodyPr>
          <a:lstStyle>
            <a:lvl1pPr marL="0" indent="0" algn="ctr" defTabSz="914286" rtl="0" eaLnBrk="1" latinLnBrk="0" hangingPunct="1">
              <a:lnSpc>
                <a:spcPct val="90000"/>
              </a:lnSpc>
              <a:spcBef>
                <a:spcPts val="0"/>
              </a:spcBef>
              <a:spcAft>
                <a:spcPts val="400"/>
              </a:spcAft>
              <a:buNone/>
              <a:defRPr lang="en-US" sz="1400" kern="1200" dirty="0" smtClean="0">
                <a:solidFill>
                  <a:schemeClr val="tx2"/>
                </a:solidFill>
                <a:latin typeface="+mn-lt"/>
                <a:ea typeface="+mn-ea"/>
                <a:cs typeface="Arial"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lvl="0"/>
            <a:r>
              <a:rPr lang="en-US"/>
              <a:t>Click to edit master text styles</a:t>
            </a:r>
          </a:p>
        </p:txBody>
      </p:sp>
      <p:sp>
        <p:nvSpPr>
          <p:cNvPr id="8" name="Text Placeholder 33"/>
          <p:cNvSpPr>
            <a:spLocks noGrp="1"/>
          </p:cNvSpPr>
          <p:nvPr>
            <p:ph type="body" sz="quarter" idx="15" hasCustomPrompt="1"/>
          </p:nvPr>
        </p:nvSpPr>
        <p:spPr>
          <a:xfrm>
            <a:off x="1986370" y="4860553"/>
            <a:ext cx="2520847" cy="504497"/>
          </a:xfrm>
          <a:prstGeom prst="rect">
            <a:avLst/>
          </a:prstGeom>
        </p:spPr>
        <p:txBody>
          <a:bodyPr vert="horz" lIns="0" tIns="0" rIns="0" bIns="0" anchor="b">
            <a:normAutofit/>
          </a:bodyPr>
          <a:lstStyle>
            <a:lvl1pPr marL="0" indent="0" algn="ctr" defTabSz="914286" rtl="0" eaLnBrk="1" latinLnBrk="0" hangingPunct="1">
              <a:lnSpc>
                <a:spcPct val="90000"/>
              </a:lnSpc>
              <a:spcBef>
                <a:spcPct val="0"/>
              </a:spcBef>
              <a:spcAft>
                <a:spcPts val="400"/>
              </a:spcAft>
              <a:buNone/>
              <a:defRPr lang="en-US" sz="1600" b="0" i="0" kern="1200" cap="none" baseline="0" dirty="0" smtClean="0">
                <a:solidFill>
                  <a:schemeClr val="accent1"/>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lvl="0"/>
            <a:r>
              <a:rPr lang="en-US"/>
              <a:t>Click to enter </a:t>
            </a:r>
            <a:br>
              <a:rPr lang="en-US"/>
            </a:br>
            <a:r>
              <a:rPr lang="en-US"/>
              <a:t>master text</a:t>
            </a:r>
          </a:p>
        </p:txBody>
      </p:sp>
      <p:sp>
        <p:nvSpPr>
          <p:cNvPr id="9" name="Picture Placeholder 28"/>
          <p:cNvSpPr>
            <a:spLocks noGrp="1"/>
          </p:cNvSpPr>
          <p:nvPr>
            <p:ph type="pic" sz="quarter" idx="16"/>
          </p:nvPr>
        </p:nvSpPr>
        <p:spPr>
          <a:xfrm>
            <a:off x="4798992" y="1371277"/>
            <a:ext cx="2528305" cy="3464312"/>
          </a:xfrm>
          <a:prstGeom prst="rect">
            <a:avLst/>
          </a:prstGeom>
          <a:solidFill>
            <a:schemeClr val="tx2"/>
          </a:solidFill>
          <a:ln>
            <a:noFill/>
          </a:ln>
        </p:spPr>
        <p:txBody>
          <a:bodyPr vert="horz" tIns="0" bIns="0"/>
          <a:lstStyle>
            <a:lvl1pPr marL="0" indent="0">
              <a:buFontTx/>
              <a:buNone/>
              <a:defRPr>
                <a:solidFill>
                  <a:schemeClr val="bg1">
                    <a:lumMod val="50000"/>
                  </a:schemeClr>
                </a:solidFill>
              </a:defRPr>
            </a:lvl1pPr>
          </a:lstStyle>
          <a:p>
            <a:r>
              <a:rPr lang="en-US"/>
              <a:t>Click icon to add picture</a:t>
            </a:r>
          </a:p>
        </p:txBody>
      </p:sp>
      <p:sp>
        <p:nvSpPr>
          <p:cNvPr id="10" name="Text Placeholder 33"/>
          <p:cNvSpPr>
            <a:spLocks noGrp="1"/>
          </p:cNvSpPr>
          <p:nvPr>
            <p:ph type="body" sz="quarter" idx="17" hasCustomPrompt="1"/>
          </p:nvPr>
        </p:nvSpPr>
        <p:spPr>
          <a:xfrm>
            <a:off x="4802722" y="5472336"/>
            <a:ext cx="2520847" cy="348725"/>
          </a:xfrm>
          <a:prstGeom prst="rect">
            <a:avLst/>
          </a:prstGeom>
        </p:spPr>
        <p:txBody>
          <a:bodyPr vert="horz" lIns="91440" tIns="0" rIns="91440" bIns="0">
            <a:normAutofit/>
          </a:bodyPr>
          <a:lstStyle>
            <a:lvl1pPr marL="0" indent="0" algn="ctr" defTabSz="914286" rtl="0" eaLnBrk="1" latinLnBrk="0" hangingPunct="1">
              <a:lnSpc>
                <a:spcPct val="90000"/>
              </a:lnSpc>
              <a:spcBef>
                <a:spcPts val="0"/>
              </a:spcBef>
              <a:spcAft>
                <a:spcPts val="400"/>
              </a:spcAft>
              <a:buNone/>
              <a:defRPr lang="en-US" sz="1400" kern="1200" dirty="0" smtClean="0">
                <a:solidFill>
                  <a:schemeClr val="tx2"/>
                </a:solidFill>
                <a:latin typeface="+mn-lt"/>
                <a:ea typeface="+mn-ea"/>
                <a:cs typeface="Arial"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lvl="0"/>
            <a:r>
              <a:rPr lang="en-US"/>
              <a:t>Click to edit master text styles</a:t>
            </a:r>
          </a:p>
        </p:txBody>
      </p:sp>
      <p:sp>
        <p:nvSpPr>
          <p:cNvPr id="11" name="Text Placeholder 33"/>
          <p:cNvSpPr>
            <a:spLocks noGrp="1"/>
          </p:cNvSpPr>
          <p:nvPr>
            <p:ph type="body" sz="quarter" idx="18" hasCustomPrompt="1"/>
          </p:nvPr>
        </p:nvSpPr>
        <p:spPr>
          <a:xfrm>
            <a:off x="4802722" y="4860553"/>
            <a:ext cx="2520847" cy="504497"/>
          </a:xfrm>
          <a:prstGeom prst="rect">
            <a:avLst/>
          </a:prstGeom>
        </p:spPr>
        <p:txBody>
          <a:bodyPr vert="horz" lIns="0" tIns="0" rIns="0" bIns="0" anchor="b">
            <a:normAutofit/>
          </a:bodyPr>
          <a:lstStyle>
            <a:lvl1pPr marL="0" indent="0" algn="ctr" defTabSz="914286" rtl="0" eaLnBrk="1" latinLnBrk="0" hangingPunct="1">
              <a:lnSpc>
                <a:spcPct val="90000"/>
              </a:lnSpc>
              <a:spcBef>
                <a:spcPct val="0"/>
              </a:spcBef>
              <a:spcAft>
                <a:spcPts val="400"/>
              </a:spcAft>
              <a:buNone/>
              <a:defRPr lang="en-US" sz="1600" b="0" i="0" kern="1200" cap="none" baseline="0" dirty="0" smtClean="0">
                <a:solidFill>
                  <a:schemeClr val="accent1"/>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lvl="0"/>
            <a:r>
              <a:rPr lang="en-US"/>
              <a:t>Click to enter </a:t>
            </a:r>
            <a:br>
              <a:rPr lang="en-US"/>
            </a:br>
            <a:r>
              <a:rPr lang="en-US"/>
              <a:t>master text</a:t>
            </a:r>
          </a:p>
        </p:txBody>
      </p:sp>
      <p:sp>
        <p:nvSpPr>
          <p:cNvPr id="12" name="Picture Placeholder 28"/>
          <p:cNvSpPr>
            <a:spLocks noGrp="1"/>
          </p:cNvSpPr>
          <p:nvPr>
            <p:ph type="pic" sz="quarter" idx="19"/>
          </p:nvPr>
        </p:nvSpPr>
        <p:spPr>
          <a:xfrm>
            <a:off x="7622801" y="1371277"/>
            <a:ext cx="2528305" cy="3464312"/>
          </a:xfrm>
          <a:prstGeom prst="rect">
            <a:avLst/>
          </a:prstGeom>
          <a:solidFill>
            <a:schemeClr val="tx2"/>
          </a:solidFill>
          <a:ln>
            <a:noFill/>
          </a:ln>
        </p:spPr>
        <p:txBody>
          <a:bodyPr vert="horz" tIns="0" bIns="0"/>
          <a:lstStyle>
            <a:lvl1pPr marL="0" indent="0">
              <a:buFontTx/>
              <a:buNone/>
              <a:defRPr>
                <a:solidFill>
                  <a:schemeClr val="bg1">
                    <a:lumMod val="50000"/>
                  </a:schemeClr>
                </a:solidFill>
              </a:defRPr>
            </a:lvl1pPr>
          </a:lstStyle>
          <a:p>
            <a:r>
              <a:rPr lang="en-US"/>
              <a:t>Click icon to add picture</a:t>
            </a:r>
          </a:p>
        </p:txBody>
      </p:sp>
      <p:sp>
        <p:nvSpPr>
          <p:cNvPr id="13" name="Text Placeholder 33"/>
          <p:cNvSpPr>
            <a:spLocks noGrp="1"/>
          </p:cNvSpPr>
          <p:nvPr>
            <p:ph type="body" sz="quarter" idx="20" hasCustomPrompt="1"/>
          </p:nvPr>
        </p:nvSpPr>
        <p:spPr>
          <a:xfrm>
            <a:off x="7626533" y="5472336"/>
            <a:ext cx="2520847" cy="348725"/>
          </a:xfrm>
          <a:prstGeom prst="rect">
            <a:avLst/>
          </a:prstGeom>
        </p:spPr>
        <p:txBody>
          <a:bodyPr vert="horz" lIns="91440" tIns="0" rIns="91440" bIns="0">
            <a:normAutofit/>
          </a:bodyPr>
          <a:lstStyle>
            <a:lvl1pPr marL="0" indent="0" algn="ctr" defTabSz="914286" rtl="0" eaLnBrk="1" latinLnBrk="0" hangingPunct="1">
              <a:lnSpc>
                <a:spcPct val="90000"/>
              </a:lnSpc>
              <a:spcBef>
                <a:spcPts val="0"/>
              </a:spcBef>
              <a:spcAft>
                <a:spcPts val="400"/>
              </a:spcAft>
              <a:buNone/>
              <a:defRPr lang="en-US" sz="1400" kern="1200" dirty="0" smtClean="0">
                <a:solidFill>
                  <a:schemeClr val="tx2"/>
                </a:solidFill>
                <a:latin typeface="+mn-lt"/>
                <a:ea typeface="+mn-ea"/>
                <a:cs typeface="Arial"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lvl="0"/>
            <a:r>
              <a:rPr lang="en-US"/>
              <a:t>Click to edit master text styles</a:t>
            </a:r>
          </a:p>
        </p:txBody>
      </p:sp>
      <p:sp>
        <p:nvSpPr>
          <p:cNvPr id="14" name="Text Placeholder 33"/>
          <p:cNvSpPr>
            <a:spLocks noGrp="1"/>
          </p:cNvSpPr>
          <p:nvPr>
            <p:ph type="body" sz="quarter" idx="21" hasCustomPrompt="1"/>
          </p:nvPr>
        </p:nvSpPr>
        <p:spPr>
          <a:xfrm>
            <a:off x="7626533" y="4860553"/>
            <a:ext cx="2520847" cy="504497"/>
          </a:xfrm>
          <a:prstGeom prst="rect">
            <a:avLst/>
          </a:prstGeom>
        </p:spPr>
        <p:txBody>
          <a:bodyPr vert="horz" lIns="0" tIns="0" rIns="0" bIns="0" anchor="b">
            <a:normAutofit/>
          </a:bodyPr>
          <a:lstStyle>
            <a:lvl1pPr marL="0" indent="0" algn="ctr" defTabSz="914286" rtl="0" eaLnBrk="1" latinLnBrk="0" hangingPunct="1">
              <a:lnSpc>
                <a:spcPct val="90000"/>
              </a:lnSpc>
              <a:spcBef>
                <a:spcPct val="0"/>
              </a:spcBef>
              <a:spcAft>
                <a:spcPts val="400"/>
              </a:spcAft>
              <a:buNone/>
              <a:defRPr lang="en-US" sz="1600" b="0" i="0" kern="1200" cap="none" baseline="0" dirty="0" smtClean="0">
                <a:solidFill>
                  <a:schemeClr val="accent1"/>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a:lvl2pPr marL="0" algn="l" defTabSz="914286" rtl="0" eaLnBrk="1" latinLnBrk="0" hangingPunct="1">
              <a:defRPr lang="en-US" sz="1400" kern="1200" dirty="0" smtClean="0">
                <a:solidFill>
                  <a:srgbClr val="F2F2F2"/>
                </a:solidFill>
                <a:latin typeface="Calibri"/>
                <a:ea typeface="+mn-ea"/>
                <a:cs typeface="Calibri"/>
              </a:defRPr>
            </a:lvl2pPr>
            <a:lvl3pPr marL="0" algn="l" defTabSz="914286" rtl="0" eaLnBrk="1" latinLnBrk="0" hangingPunct="1">
              <a:defRPr lang="en-US" sz="1400" kern="1200" dirty="0" smtClean="0">
                <a:solidFill>
                  <a:srgbClr val="F2F2F2"/>
                </a:solidFill>
                <a:latin typeface="Calibri"/>
                <a:ea typeface="+mn-ea"/>
                <a:cs typeface="Calibri"/>
              </a:defRPr>
            </a:lvl3pPr>
            <a:lvl4pPr marL="0" algn="l" defTabSz="914286" rtl="0" eaLnBrk="1" latinLnBrk="0" hangingPunct="1">
              <a:defRPr lang="en-US" sz="1400" kern="1200" dirty="0" smtClean="0">
                <a:solidFill>
                  <a:srgbClr val="F2F2F2"/>
                </a:solidFill>
                <a:latin typeface="Calibri"/>
                <a:ea typeface="+mn-ea"/>
                <a:cs typeface="Calibri"/>
              </a:defRPr>
            </a:lvl4pPr>
            <a:lvl5pPr marL="0" algn="l" defTabSz="914286" rtl="0" eaLnBrk="1" latinLnBrk="0" hangingPunct="1">
              <a:defRPr lang="en-US" sz="1400" kern="1200" dirty="0">
                <a:solidFill>
                  <a:srgbClr val="F2F2F2"/>
                </a:solidFill>
                <a:latin typeface="Calibri"/>
                <a:ea typeface="+mn-ea"/>
                <a:cs typeface="Calibri"/>
              </a:defRPr>
            </a:lvl5pPr>
          </a:lstStyle>
          <a:p>
            <a:pPr marL="0" marR="0" lvl="0" indent="0" algn="ctr" defTabSz="914286" rtl="0" eaLnBrk="1" fontAlgn="base" latinLnBrk="0" hangingPunct="1">
              <a:lnSpc>
                <a:spcPct val="90000"/>
              </a:lnSpc>
              <a:spcBef>
                <a:spcPct val="0"/>
              </a:spcBef>
              <a:spcAft>
                <a:spcPts val="400"/>
              </a:spcAft>
              <a:buClr>
                <a:schemeClr val="accent1"/>
              </a:buClr>
              <a:buSzTx/>
              <a:buFont typeface="Arial" pitchFamily="34" charset="0"/>
              <a:buNone/>
              <a:tabLst/>
              <a:defRPr/>
            </a:pPr>
            <a:r>
              <a:rPr lang="en-US"/>
              <a:t>Click to enter </a:t>
            </a:r>
            <a:br>
              <a:rPr lang="en-US"/>
            </a:br>
            <a:r>
              <a:rPr lang="en-US"/>
              <a:t>master text</a:t>
            </a:r>
          </a:p>
        </p:txBody>
      </p:sp>
      <p:sp>
        <p:nvSpPr>
          <p:cNvPr id="4" name="Title 3">
            <a:extLst>
              <a:ext uri="{FF2B5EF4-FFF2-40B4-BE49-F238E27FC236}">
                <a16:creationId xmlns:a16="http://schemas.microsoft.com/office/drawing/2014/main" id="{A83EEDB1-BFE5-458D-9E01-5B57A2EBEE3C}"/>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a:extLst>
              <a:ext uri="{FF2B5EF4-FFF2-40B4-BE49-F238E27FC236}">
                <a16:creationId xmlns:a16="http://schemas.microsoft.com/office/drawing/2014/main" id="{DF0F873E-98E6-4BD1-BCF1-A8F783C61CC0}"/>
              </a:ext>
            </a:extLst>
          </p:cNvPr>
          <p:cNvSpPr>
            <a:spLocks noGrp="1"/>
          </p:cNvSpPr>
          <p:nvPr>
            <p:ph type="ftr" sz="quarter" idx="22"/>
          </p:nvPr>
        </p:nvSpPr>
        <p:spPr/>
        <p:txBody>
          <a:bodyPr/>
          <a:lstStyle/>
          <a:p>
            <a:r>
              <a:rPr lang="en-US"/>
              <a:t>Sensitive / Proprietary</a:t>
            </a:r>
            <a:endParaRPr lang="en-US">
              <a:latin typeface="Franklin Gothic Medium" panose="020B0603020102020204" pitchFamily="34" charset="0"/>
            </a:endParaRPr>
          </a:p>
        </p:txBody>
      </p:sp>
      <p:sp>
        <p:nvSpPr>
          <p:cNvPr id="6" name="Slide Number Placeholder 5">
            <a:extLst>
              <a:ext uri="{FF2B5EF4-FFF2-40B4-BE49-F238E27FC236}">
                <a16:creationId xmlns:a16="http://schemas.microsoft.com/office/drawing/2014/main" id="{A7D365C0-657C-4379-907A-C4344F66B580}"/>
              </a:ext>
            </a:extLst>
          </p:cNvPr>
          <p:cNvSpPr>
            <a:spLocks noGrp="1"/>
          </p:cNvSpPr>
          <p:nvPr>
            <p:ph type="sldNum" sz="quarter" idx="23"/>
          </p:nvPr>
        </p:nvSpPr>
        <p:spPr/>
        <p:txBody>
          <a:bodyPr/>
          <a:lstStyle/>
          <a:p>
            <a:pPr fontAlgn="base">
              <a:spcBef>
                <a:spcPct val="0"/>
              </a:spcBef>
              <a:spcAft>
                <a:spcPct val="0"/>
              </a:spcAft>
            </a:pPr>
            <a:fld id="{8A5743FA-19ED-4A9D-9D57-C0E819892670}"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4193982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Cover 02">
    <p:spTree>
      <p:nvGrpSpPr>
        <p:cNvPr id="1" name=""/>
        <p:cNvGrpSpPr/>
        <p:nvPr/>
      </p:nvGrpSpPr>
      <p:grpSpPr>
        <a:xfrm>
          <a:off x="0" y="0"/>
          <a:ext cx="0" cy="0"/>
          <a:chOff x="0" y="0"/>
          <a:chExt cx="0" cy="0"/>
        </a:xfrm>
      </p:grpSpPr>
      <p:pic>
        <p:nvPicPr>
          <p:cNvPr id="3" name="Bckgrnd">
            <a:extLst>
              <a:ext uri="{FF2B5EF4-FFF2-40B4-BE49-F238E27FC236}">
                <a16:creationId xmlns:a16="http://schemas.microsoft.com/office/drawing/2014/main" id="{95DF01D0-3B7F-0BE2-8E14-32E858A9860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0"/>
            <a:ext cx="12191998" cy="6857999"/>
          </a:xfrm>
          <a:prstGeom prst="rect">
            <a:avLst/>
          </a:prstGeom>
        </p:spPr>
      </p:pic>
      <p:sp>
        <p:nvSpPr>
          <p:cNvPr id="10" name="Title 1">
            <a:extLst>
              <a:ext uri="{FF2B5EF4-FFF2-40B4-BE49-F238E27FC236}">
                <a16:creationId xmlns:a16="http://schemas.microsoft.com/office/drawing/2014/main" id="{71C82790-37A6-46E6-BBBB-D3BDD6474DA8}"/>
              </a:ext>
            </a:extLst>
          </p:cNvPr>
          <p:cNvSpPr>
            <a:spLocks noGrp="1"/>
          </p:cNvSpPr>
          <p:nvPr>
            <p:ph type="ctrTitle" hasCustomPrompt="1"/>
          </p:nvPr>
        </p:nvSpPr>
        <p:spPr>
          <a:xfrm>
            <a:off x="520784" y="2750950"/>
            <a:ext cx="4822741" cy="2826411"/>
          </a:xfrm>
        </p:spPr>
        <p:txBody>
          <a:bodyPr anchor="t" anchorCtr="0">
            <a:noAutofit/>
          </a:bodyPr>
          <a:lstStyle>
            <a:lvl1pPr algn="l">
              <a:defRPr sz="4000" b="0">
                <a:solidFill>
                  <a:schemeClr val="bg1"/>
                </a:solidFill>
              </a:defRPr>
            </a:lvl1pPr>
          </a:lstStyle>
          <a:p>
            <a:r>
              <a:rPr lang="en-US"/>
              <a:t>Title of Presentation</a:t>
            </a:r>
          </a:p>
        </p:txBody>
      </p:sp>
      <p:sp>
        <p:nvSpPr>
          <p:cNvPr id="11" name="Subtitle 2">
            <a:extLst>
              <a:ext uri="{FF2B5EF4-FFF2-40B4-BE49-F238E27FC236}">
                <a16:creationId xmlns:a16="http://schemas.microsoft.com/office/drawing/2014/main" id="{EC27D4FE-3A79-4E97-8B6C-7612B3629612}"/>
              </a:ext>
            </a:extLst>
          </p:cNvPr>
          <p:cNvSpPr>
            <a:spLocks noGrp="1"/>
          </p:cNvSpPr>
          <p:nvPr>
            <p:ph type="subTitle" idx="1" hasCustomPrompt="1"/>
          </p:nvPr>
        </p:nvSpPr>
        <p:spPr>
          <a:xfrm>
            <a:off x="520784" y="1639468"/>
            <a:ext cx="4822741" cy="520511"/>
          </a:xfrm>
        </p:spPr>
        <p:txBody>
          <a:bodyPr>
            <a:no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sp>
        <p:nvSpPr>
          <p:cNvPr id="6" name="Picture Placeholder 10">
            <a:extLst>
              <a:ext uri="{FF2B5EF4-FFF2-40B4-BE49-F238E27FC236}">
                <a16:creationId xmlns:a16="http://schemas.microsoft.com/office/drawing/2014/main" id="{F46A4994-F6CD-1273-5E41-E227B70EB68A}"/>
              </a:ext>
            </a:extLst>
          </p:cNvPr>
          <p:cNvSpPr>
            <a:spLocks noGrp="1"/>
          </p:cNvSpPr>
          <p:nvPr>
            <p:ph type="pic" sz="quarter" idx="10"/>
          </p:nvPr>
        </p:nvSpPr>
        <p:spPr>
          <a:xfrm>
            <a:off x="6368919" y="-29128"/>
            <a:ext cx="5826499" cy="6549855"/>
          </a:xfrm>
          <a:custGeom>
            <a:avLst/>
            <a:gdLst>
              <a:gd name="connsiteX0" fmla="*/ 0 w 5830432"/>
              <a:gd name="connsiteY0" fmla="*/ 0 h 6585574"/>
              <a:gd name="connsiteX1" fmla="*/ 4858674 w 5830432"/>
              <a:gd name="connsiteY1" fmla="*/ 0 h 6585574"/>
              <a:gd name="connsiteX2" fmla="*/ 5830432 w 5830432"/>
              <a:gd name="connsiteY2" fmla="*/ 971758 h 6585574"/>
              <a:gd name="connsiteX3" fmla="*/ 5830432 w 5830432"/>
              <a:gd name="connsiteY3" fmla="*/ 6585574 h 6585574"/>
              <a:gd name="connsiteX4" fmla="*/ 0 w 5830432"/>
              <a:gd name="connsiteY4" fmla="*/ 6585574 h 6585574"/>
              <a:gd name="connsiteX5" fmla="*/ 0 w 5830432"/>
              <a:gd name="connsiteY5" fmla="*/ 0 h 6585574"/>
              <a:gd name="connsiteX0" fmla="*/ 0 w 5830432"/>
              <a:gd name="connsiteY0" fmla="*/ 0 h 6585574"/>
              <a:gd name="connsiteX1" fmla="*/ 4858674 w 5830432"/>
              <a:gd name="connsiteY1" fmla="*/ 0 h 6585574"/>
              <a:gd name="connsiteX2" fmla="*/ 5830432 w 5830432"/>
              <a:gd name="connsiteY2" fmla="*/ 971758 h 6585574"/>
              <a:gd name="connsiteX3" fmla="*/ 2458582 w 5830432"/>
              <a:gd name="connsiteY3" fmla="*/ 6585574 h 6585574"/>
              <a:gd name="connsiteX4" fmla="*/ 0 w 5830432"/>
              <a:gd name="connsiteY4" fmla="*/ 6585574 h 6585574"/>
              <a:gd name="connsiteX5" fmla="*/ 0 w 5830432"/>
              <a:gd name="connsiteY5" fmla="*/ 0 h 6585574"/>
              <a:gd name="connsiteX0" fmla="*/ 0 w 5811382"/>
              <a:gd name="connsiteY0" fmla="*/ 0 h 6585574"/>
              <a:gd name="connsiteX1" fmla="*/ 4858674 w 5811382"/>
              <a:gd name="connsiteY1" fmla="*/ 0 h 6585574"/>
              <a:gd name="connsiteX2" fmla="*/ 5811382 w 5811382"/>
              <a:gd name="connsiteY2" fmla="*/ 5038933 h 6585574"/>
              <a:gd name="connsiteX3" fmla="*/ 2458582 w 5811382"/>
              <a:gd name="connsiteY3" fmla="*/ 6585574 h 6585574"/>
              <a:gd name="connsiteX4" fmla="*/ 0 w 5811382"/>
              <a:gd name="connsiteY4" fmla="*/ 6585574 h 6585574"/>
              <a:gd name="connsiteX5" fmla="*/ 0 w 5811382"/>
              <a:gd name="connsiteY5" fmla="*/ 0 h 6585574"/>
              <a:gd name="connsiteX0" fmla="*/ 0 w 5811382"/>
              <a:gd name="connsiteY0" fmla="*/ 0 h 6585574"/>
              <a:gd name="connsiteX1" fmla="*/ 4858674 w 5811382"/>
              <a:gd name="connsiteY1" fmla="*/ 0 h 6585574"/>
              <a:gd name="connsiteX2" fmla="*/ 5811382 w 5811382"/>
              <a:gd name="connsiteY2" fmla="*/ 5038933 h 6585574"/>
              <a:gd name="connsiteX3" fmla="*/ 2506207 w 5811382"/>
              <a:gd name="connsiteY3" fmla="*/ 6585574 h 6585574"/>
              <a:gd name="connsiteX4" fmla="*/ 0 w 5811382"/>
              <a:gd name="connsiteY4" fmla="*/ 6585574 h 6585574"/>
              <a:gd name="connsiteX5" fmla="*/ 0 w 5811382"/>
              <a:gd name="connsiteY5" fmla="*/ 0 h 6585574"/>
              <a:gd name="connsiteX0" fmla="*/ 0 w 5820699"/>
              <a:gd name="connsiteY0" fmla="*/ 0 h 6585574"/>
              <a:gd name="connsiteX1" fmla="*/ 5820699 w 5820699"/>
              <a:gd name="connsiteY1" fmla="*/ 19050 h 6585574"/>
              <a:gd name="connsiteX2" fmla="*/ 5811382 w 5820699"/>
              <a:gd name="connsiteY2" fmla="*/ 5038933 h 6585574"/>
              <a:gd name="connsiteX3" fmla="*/ 2506207 w 5820699"/>
              <a:gd name="connsiteY3" fmla="*/ 6585574 h 6585574"/>
              <a:gd name="connsiteX4" fmla="*/ 0 w 5820699"/>
              <a:gd name="connsiteY4" fmla="*/ 6585574 h 6585574"/>
              <a:gd name="connsiteX5" fmla="*/ 0 w 5820699"/>
              <a:gd name="connsiteY5" fmla="*/ 0 h 6585574"/>
              <a:gd name="connsiteX0" fmla="*/ 0 w 5820699"/>
              <a:gd name="connsiteY0" fmla="*/ 0 h 6585574"/>
              <a:gd name="connsiteX1" fmla="*/ 5820699 w 5820699"/>
              <a:gd name="connsiteY1" fmla="*/ 0 h 6585574"/>
              <a:gd name="connsiteX2" fmla="*/ 5811382 w 5820699"/>
              <a:gd name="connsiteY2" fmla="*/ 5038933 h 6585574"/>
              <a:gd name="connsiteX3" fmla="*/ 2506207 w 5820699"/>
              <a:gd name="connsiteY3" fmla="*/ 6585574 h 6585574"/>
              <a:gd name="connsiteX4" fmla="*/ 0 w 5820699"/>
              <a:gd name="connsiteY4" fmla="*/ 6585574 h 6585574"/>
              <a:gd name="connsiteX5" fmla="*/ 0 w 5820699"/>
              <a:gd name="connsiteY5" fmla="*/ 0 h 6585574"/>
              <a:gd name="connsiteX0" fmla="*/ 0 w 5823081"/>
              <a:gd name="connsiteY0" fmla="*/ 0 h 6585574"/>
              <a:gd name="connsiteX1" fmla="*/ 5823081 w 5823081"/>
              <a:gd name="connsiteY1" fmla="*/ 38100 h 6585574"/>
              <a:gd name="connsiteX2" fmla="*/ 5811382 w 5823081"/>
              <a:gd name="connsiteY2" fmla="*/ 5038933 h 6585574"/>
              <a:gd name="connsiteX3" fmla="*/ 2506207 w 5823081"/>
              <a:gd name="connsiteY3" fmla="*/ 6585574 h 6585574"/>
              <a:gd name="connsiteX4" fmla="*/ 0 w 5823081"/>
              <a:gd name="connsiteY4" fmla="*/ 6585574 h 6585574"/>
              <a:gd name="connsiteX5" fmla="*/ 0 w 5823081"/>
              <a:gd name="connsiteY5" fmla="*/ 0 h 6585574"/>
              <a:gd name="connsiteX0" fmla="*/ 0 w 5823081"/>
              <a:gd name="connsiteY0" fmla="*/ 0 h 6549855"/>
              <a:gd name="connsiteX1" fmla="*/ 5823081 w 5823081"/>
              <a:gd name="connsiteY1" fmla="*/ 2381 h 6549855"/>
              <a:gd name="connsiteX2" fmla="*/ 5811382 w 5823081"/>
              <a:gd name="connsiteY2" fmla="*/ 5003214 h 6549855"/>
              <a:gd name="connsiteX3" fmla="*/ 2506207 w 5823081"/>
              <a:gd name="connsiteY3" fmla="*/ 6549855 h 6549855"/>
              <a:gd name="connsiteX4" fmla="*/ 0 w 5823081"/>
              <a:gd name="connsiteY4" fmla="*/ 6549855 h 6549855"/>
              <a:gd name="connsiteX5" fmla="*/ 0 w 5823081"/>
              <a:gd name="connsiteY5" fmla="*/ 0 h 6549855"/>
              <a:gd name="connsiteX0" fmla="*/ 0 w 5823081"/>
              <a:gd name="connsiteY0" fmla="*/ 0 h 6549855"/>
              <a:gd name="connsiteX1" fmla="*/ 5823081 w 5823081"/>
              <a:gd name="connsiteY1" fmla="*/ 2381 h 6549855"/>
              <a:gd name="connsiteX2" fmla="*/ 5811382 w 5823081"/>
              <a:gd name="connsiteY2" fmla="*/ 5003214 h 6549855"/>
              <a:gd name="connsiteX3" fmla="*/ 2530019 w 5823081"/>
              <a:gd name="connsiteY3" fmla="*/ 6549855 h 6549855"/>
              <a:gd name="connsiteX4" fmla="*/ 0 w 5823081"/>
              <a:gd name="connsiteY4" fmla="*/ 6549855 h 6549855"/>
              <a:gd name="connsiteX5" fmla="*/ 0 w 5823081"/>
              <a:gd name="connsiteY5" fmla="*/ 0 h 6549855"/>
              <a:gd name="connsiteX0" fmla="*/ 0 w 5824161"/>
              <a:gd name="connsiteY0" fmla="*/ 0 h 6549855"/>
              <a:gd name="connsiteX1" fmla="*/ 5823081 w 5824161"/>
              <a:gd name="connsiteY1" fmla="*/ 2381 h 6549855"/>
              <a:gd name="connsiteX2" fmla="*/ 5823288 w 5824161"/>
              <a:gd name="connsiteY2" fmla="*/ 5015120 h 6549855"/>
              <a:gd name="connsiteX3" fmla="*/ 2530019 w 5824161"/>
              <a:gd name="connsiteY3" fmla="*/ 6549855 h 6549855"/>
              <a:gd name="connsiteX4" fmla="*/ 0 w 5824161"/>
              <a:gd name="connsiteY4" fmla="*/ 6549855 h 6549855"/>
              <a:gd name="connsiteX5" fmla="*/ 0 w 5824161"/>
              <a:gd name="connsiteY5" fmla="*/ 0 h 6549855"/>
              <a:gd name="connsiteX0" fmla="*/ 0 w 5824161"/>
              <a:gd name="connsiteY0" fmla="*/ 0 h 6549855"/>
              <a:gd name="connsiteX1" fmla="*/ 5823081 w 5824161"/>
              <a:gd name="connsiteY1" fmla="*/ 2381 h 6549855"/>
              <a:gd name="connsiteX2" fmla="*/ 5823288 w 5824161"/>
              <a:gd name="connsiteY2" fmla="*/ 4823734 h 6549855"/>
              <a:gd name="connsiteX3" fmla="*/ 2530019 w 5824161"/>
              <a:gd name="connsiteY3" fmla="*/ 6549855 h 6549855"/>
              <a:gd name="connsiteX4" fmla="*/ 0 w 5824161"/>
              <a:gd name="connsiteY4" fmla="*/ 6549855 h 6549855"/>
              <a:gd name="connsiteX5" fmla="*/ 0 w 5824161"/>
              <a:gd name="connsiteY5" fmla="*/ 0 h 6549855"/>
              <a:gd name="connsiteX0" fmla="*/ 0 w 5823081"/>
              <a:gd name="connsiteY0" fmla="*/ 0 h 6549855"/>
              <a:gd name="connsiteX1" fmla="*/ 5823081 w 5823081"/>
              <a:gd name="connsiteY1" fmla="*/ 2381 h 6549855"/>
              <a:gd name="connsiteX2" fmla="*/ 5802023 w 5823081"/>
              <a:gd name="connsiteY2" fmla="*/ 4770571 h 6549855"/>
              <a:gd name="connsiteX3" fmla="*/ 2530019 w 5823081"/>
              <a:gd name="connsiteY3" fmla="*/ 6549855 h 6549855"/>
              <a:gd name="connsiteX4" fmla="*/ 0 w 5823081"/>
              <a:gd name="connsiteY4" fmla="*/ 6549855 h 6549855"/>
              <a:gd name="connsiteX5" fmla="*/ 0 w 5823081"/>
              <a:gd name="connsiteY5" fmla="*/ 0 h 6549855"/>
              <a:gd name="connsiteX0" fmla="*/ 0 w 5826499"/>
              <a:gd name="connsiteY0" fmla="*/ 0 h 6549855"/>
              <a:gd name="connsiteX1" fmla="*/ 5823081 w 5826499"/>
              <a:gd name="connsiteY1" fmla="*/ 2381 h 6549855"/>
              <a:gd name="connsiteX2" fmla="*/ 5825835 w 5826499"/>
              <a:gd name="connsiteY2" fmla="*/ 4777714 h 6549855"/>
              <a:gd name="connsiteX3" fmla="*/ 2530019 w 5826499"/>
              <a:gd name="connsiteY3" fmla="*/ 6549855 h 6549855"/>
              <a:gd name="connsiteX4" fmla="*/ 0 w 5826499"/>
              <a:gd name="connsiteY4" fmla="*/ 6549855 h 6549855"/>
              <a:gd name="connsiteX5" fmla="*/ 0 w 5826499"/>
              <a:gd name="connsiteY5" fmla="*/ 0 h 654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6499" h="6549855">
                <a:moveTo>
                  <a:pt x="0" y="0"/>
                </a:moveTo>
                <a:lnTo>
                  <a:pt x="5823081" y="2381"/>
                </a:lnTo>
                <a:cubicBezTo>
                  <a:pt x="5819975" y="1675675"/>
                  <a:pt x="5828941" y="3104420"/>
                  <a:pt x="5825835" y="4777714"/>
                </a:cubicBezTo>
                <a:lnTo>
                  <a:pt x="2530019" y="6549855"/>
                </a:lnTo>
                <a:lnTo>
                  <a:pt x="0" y="6549855"/>
                </a:lnTo>
                <a:lnTo>
                  <a:pt x="0" y="0"/>
                </a:lnTo>
                <a:close/>
              </a:path>
            </a:pathLst>
          </a:custGeom>
          <a:solidFill>
            <a:srgbClr val="D7E2ED"/>
          </a:solidFill>
        </p:spPr>
        <p:txBody>
          <a:bodyPr/>
          <a:lstStyle>
            <a:lvl1pPr>
              <a:defRPr>
                <a:solidFill>
                  <a:schemeClr val="accent3"/>
                </a:solidFill>
              </a:defRPr>
            </a:lvl1pPr>
          </a:lstStyle>
          <a:p>
            <a:r>
              <a:rPr lang="en-US"/>
              <a:t>Click icon to add picture</a:t>
            </a:r>
          </a:p>
        </p:txBody>
      </p:sp>
    </p:spTree>
    <p:extLst>
      <p:ext uri="{BB962C8B-B14F-4D97-AF65-F5344CB8AC3E}">
        <p14:creationId xmlns:p14="http://schemas.microsoft.com/office/powerpoint/2010/main" val="15801985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Layout 0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6FF55A5-35A1-68D5-4EED-0A03DE406C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7628021" y="0"/>
            <a:ext cx="4563980" cy="6858000"/>
          </a:xfrm>
          <a:prstGeom prst="rect">
            <a:avLst/>
          </a:prstGeom>
        </p:spPr>
      </p:pic>
      <p:sp>
        <p:nvSpPr>
          <p:cNvPr id="5" name="TextBox 4">
            <a:extLst>
              <a:ext uri="{FF2B5EF4-FFF2-40B4-BE49-F238E27FC236}">
                <a16:creationId xmlns:a16="http://schemas.microsoft.com/office/drawing/2014/main" id="{441BEAA0-0ECF-7EF5-E016-0B896BE161BD}"/>
              </a:ext>
            </a:extLst>
          </p:cNvPr>
          <p:cNvSpPr txBox="1"/>
          <p:nvPr/>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bg1"/>
                </a:solidFill>
              </a:rPr>
              <a:pPr algn="r"/>
              <a:t>‹#›</a:t>
            </a:fld>
            <a:endParaRPr lang="en-US">
              <a:solidFill>
                <a:schemeClr val="bg1"/>
              </a:solidFill>
            </a:endParaRPr>
          </a:p>
        </p:txBody>
      </p:sp>
      <p:sp>
        <p:nvSpPr>
          <p:cNvPr id="3" name="Text Placeholder 7">
            <a:extLst>
              <a:ext uri="{FF2B5EF4-FFF2-40B4-BE49-F238E27FC236}">
                <a16:creationId xmlns:a16="http://schemas.microsoft.com/office/drawing/2014/main" id="{E5138D36-372A-D116-49CF-C8DD6A7F698B}"/>
              </a:ext>
            </a:extLst>
          </p:cNvPr>
          <p:cNvSpPr>
            <a:spLocks noGrp="1"/>
          </p:cNvSpPr>
          <p:nvPr>
            <p:ph type="body" sz="quarter" idx="10" hasCustomPrompt="1"/>
          </p:nvPr>
        </p:nvSpPr>
        <p:spPr>
          <a:xfrm>
            <a:off x="542259" y="341577"/>
            <a:ext cx="6771604" cy="1169159"/>
          </a:xfrm>
        </p:spPr>
        <p:txBody>
          <a:bodyPr anchor="ctr" anchorCtr="0"/>
          <a:lstStyle>
            <a:lvl1pPr marL="45720" indent="0" algn="l">
              <a:lnSpc>
                <a:spcPct val="110000"/>
              </a:lnSpc>
              <a:spcBef>
                <a:spcPts val="0"/>
              </a:spcBef>
              <a:buNone/>
              <a:defRPr sz="3200">
                <a:solidFill>
                  <a:schemeClr val="accent1"/>
                </a:solidFill>
                <a:latin typeface="Segoe UI Semibold" panose="020B0702040204020203" pitchFamily="34" charset="0"/>
                <a:cs typeface="Segoe UI Semibold" panose="020B0702040204020203" pitchFamily="34" charset="0"/>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a:t>Headline Here</a:t>
            </a:r>
          </a:p>
        </p:txBody>
      </p:sp>
      <p:sp>
        <p:nvSpPr>
          <p:cNvPr id="6" name="Content Placeholder 2">
            <a:extLst>
              <a:ext uri="{FF2B5EF4-FFF2-40B4-BE49-F238E27FC236}">
                <a16:creationId xmlns:a16="http://schemas.microsoft.com/office/drawing/2014/main" id="{5ACEA79A-FD70-C49E-22AA-804E69B335C4}"/>
              </a:ext>
            </a:extLst>
          </p:cNvPr>
          <p:cNvSpPr>
            <a:spLocks noGrp="1"/>
          </p:cNvSpPr>
          <p:nvPr>
            <p:ph sz="half" idx="1"/>
          </p:nvPr>
        </p:nvSpPr>
        <p:spPr>
          <a:xfrm>
            <a:off x="542259" y="1751729"/>
            <a:ext cx="6810792" cy="4425233"/>
          </a:xfrm>
        </p:spPr>
        <p:txBody>
          <a:bodyPr>
            <a:no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6BD63F5C-1218-0440-EEA6-D7DD9286F73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2259" y="6445777"/>
            <a:ext cx="530507" cy="157041"/>
          </a:xfrm>
          <a:prstGeom prst="rect">
            <a:avLst/>
          </a:prstGeom>
        </p:spPr>
      </p:pic>
      <p:sp>
        <p:nvSpPr>
          <p:cNvPr id="8" name="TextBox 7">
            <a:extLst>
              <a:ext uri="{FF2B5EF4-FFF2-40B4-BE49-F238E27FC236}">
                <a16:creationId xmlns:a16="http://schemas.microsoft.com/office/drawing/2014/main" id="{3F448CF6-5FB5-D4EC-B2E4-3FEAF0042B7A}"/>
              </a:ext>
            </a:extLst>
          </p:cNvPr>
          <p:cNvSpPr txBox="1"/>
          <p:nvPr userDrawn="1"/>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bg1"/>
                </a:solidFill>
              </a:rPr>
              <a:pPr algn="r"/>
              <a:t>‹#›</a:t>
            </a:fld>
            <a:endParaRPr lang="en-US">
              <a:solidFill>
                <a:schemeClr val="bg1"/>
              </a:solidFill>
            </a:endParaRPr>
          </a:p>
        </p:txBody>
      </p:sp>
      <p:pic>
        <p:nvPicPr>
          <p:cNvPr id="9" name="Graphic 8">
            <a:extLst>
              <a:ext uri="{FF2B5EF4-FFF2-40B4-BE49-F238E27FC236}">
                <a16:creationId xmlns:a16="http://schemas.microsoft.com/office/drawing/2014/main" id="{23057A05-F4EA-DFE8-69F8-E1FB547262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2259" y="6445777"/>
            <a:ext cx="530507" cy="157041"/>
          </a:xfrm>
          <a:prstGeom prst="rect">
            <a:avLst/>
          </a:prstGeom>
        </p:spPr>
      </p:pic>
      <p:sp>
        <p:nvSpPr>
          <p:cNvPr id="10" name="TextBox 9">
            <a:extLst>
              <a:ext uri="{FF2B5EF4-FFF2-40B4-BE49-F238E27FC236}">
                <a16:creationId xmlns:a16="http://schemas.microsoft.com/office/drawing/2014/main" id="{809DAB89-99E1-97C1-8F7C-1504562695AB}"/>
              </a:ext>
            </a:extLst>
          </p:cNvPr>
          <p:cNvSpPr txBox="1"/>
          <p:nvPr userDrawn="1"/>
        </p:nvSpPr>
        <p:spPr>
          <a:xfrm>
            <a:off x="1285783" y="6375879"/>
            <a:ext cx="3379622" cy="276999"/>
          </a:xfrm>
          <a:prstGeom prst="rect">
            <a:avLst/>
          </a:prstGeom>
          <a:noFill/>
        </p:spPr>
        <p:txBody>
          <a:bodyPr wrap="square" rtlCol="0">
            <a:spAutoFit/>
          </a:bodyPr>
          <a:lstStyle/>
          <a:p>
            <a:pPr algn="l"/>
            <a:r>
              <a:rPr lang="en-US" sz="1200">
                <a:solidFill>
                  <a:schemeClr val="accent1"/>
                </a:solidFill>
              </a:rPr>
              <a:t>Creating Tomorrow, </a:t>
            </a:r>
            <a:r>
              <a:rPr lang="en-US" sz="1200" b="1">
                <a:solidFill>
                  <a:schemeClr val="accent1"/>
                </a:solidFill>
              </a:rPr>
              <a:t>Together</a:t>
            </a:r>
          </a:p>
        </p:txBody>
      </p:sp>
      <p:cxnSp>
        <p:nvCxnSpPr>
          <p:cNvPr id="11" name="Straight Connector 10">
            <a:extLst>
              <a:ext uri="{FF2B5EF4-FFF2-40B4-BE49-F238E27FC236}">
                <a16:creationId xmlns:a16="http://schemas.microsoft.com/office/drawing/2014/main" id="{F80387EF-6C2F-58FC-F9DF-97BF947EDEB9}"/>
              </a:ext>
            </a:extLst>
          </p:cNvPr>
          <p:cNvCxnSpPr>
            <a:cxnSpLocks/>
          </p:cNvCxnSpPr>
          <p:nvPr userDrawn="1"/>
        </p:nvCxnSpPr>
        <p:spPr>
          <a:xfrm>
            <a:off x="1215243" y="6377218"/>
            <a:ext cx="0" cy="27432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805F1877-B34D-C246-AEB9-BC11A35FD9D3}"/>
              </a:ext>
            </a:extLst>
          </p:cNvPr>
          <p:cNvSpPr/>
          <p:nvPr userDrawn="1"/>
        </p:nvSpPr>
        <p:spPr>
          <a:xfrm>
            <a:off x="0" y="0"/>
            <a:ext cx="12188952" cy="100584"/>
          </a:xfrm>
          <a:prstGeom prst="rect">
            <a:avLst/>
          </a:prstGeom>
          <a:gradFill>
            <a:gsLst>
              <a:gs pos="82000">
                <a:schemeClr val="accent5"/>
              </a:gs>
              <a:gs pos="0">
                <a:schemeClr val="accent1"/>
              </a:gs>
              <a:gs pos="44000">
                <a:schemeClr val="accent3"/>
              </a:gs>
              <a:gs pos="100000">
                <a:srgbClr val="EBDAA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48461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yout 06">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F6C8B747-5359-7F3D-DBF8-2BE5F585B5D2}"/>
              </a:ext>
            </a:extLst>
          </p:cNvPr>
          <p:cNvSpPr/>
          <p:nvPr userDrawn="1"/>
        </p:nvSpPr>
        <p:spPr>
          <a:xfrm>
            <a:off x="3575743" y="1873181"/>
            <a:ext cx="8099241" cy="893186"/>
          </a:xfrm>
          <a:prstGeom prst="roundRect">
            <a:avLst>
              <a:gd name="adj" fmla="val 50000"/>
            </a:avLst>
          </a:prstGeom>
          <a:solidFill>
            <a:srgbClr val="F2F5F9"/>
          </a:solidFill>
          <a:ln>
            <a:noFill/>
          </a:ln>
          <a:effectLst>
            <a:outerShdw blurRad="50800" dist="254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ontent Placeholder 3">
            <a:extLst>
              <a:ext uri="{FF2B5EF4-FFF2-40B4-BE49-F238E27FC236}">
                <a16:creationId xmlns:a16="http://schemas.microsoft.com/office/drawing/2014/main" id="{79807872-ACDC-AC45-D2CD-051A260F8B46}"/>
              </a:ext>
            </a:extLst>
          </p:cNvPr>
          <p:cNvSpPr>
            <a:spLocks noGrp="1"/>
          </p:cNvSpPr>
          <p:nvPr>
            <p:ph sz="half" idx="10"/>
          </p:nvPr>
        </p:nvSpPr>
        <p:spPr>
          <a:xfrm>
            <a:off x="4662791" y="1873182"/>
            <a:ext cx="6932579" cy="893186"/>
          </a:xfrm>
        </p:spPr>
        <p:txBody>
          <a:bodyPr anchor="ctr">
            <a:noAutofit/>
          </a:bodyPr>
          <a:lstStyle>
            <a:lvl1pPr marL="45720" indent="0">
              <a:spcBef>
                <a:spcPts val="600"/>
              </a:spcBef>
              <a:buNone/>
              <a:defRPr sz="1600" b="0">
                <a:solidFill>
                  <a:schemeClr val="tx2"/>
                </a:solidFill>
              </a:defRPr>
            </a:lvl1pPr>
            <a:lvl2pPr marL="457200" indent="0">
              <a:buNone/>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0"/>
            <a:r>
              <a:rPr lang="en-US"/>
              <a:t>Second level</a:t>
            </a:r>
          </a:p>
        </p:txBody>
      </p:sp>
      <p:sp>
        <p:nvSpPr>
          <p:cNvPr id="30" name="Rectangle: Rounded Corners 29">
            <a:extLst>
              <a:ext uri="{FF2B5EF4-FFF2-40B4-BE49-F238E27FC236}">
                <a16:creationId xmlns:a16="http://schemas.microsoft.com/office/drawing/2014/main" id="{C9954136-BF92-0597-BA8B-1A171604858C}"/>
              </a:ext>
            </a:extLst>
          </p:cNvPr>
          <p:cNvSpPr/>
          <p:nvPr userDrawn="1"/>
        </p:nvSpPr>
        <p:spPr>
          <a:xfrm>
            <a:off x="3575743" y="3071989"/>
            <a:ext cx="8099241" cy="885967"/>
          </a:xfrm>
          <a:prstGeom prst="roundRect">
            <a:avLst>
              <a:gd name="adj" fmla="val 50000"/>
            </a:avLst>
          </a:prstGeom>
          <a:solidFill>
            <a:srgbClr val="F2F5F9"/>
          </a:solidFill>
          <a:ln>
            <a:noFill/>
          </a:ln>
          <a:effectLst>
            <a:outerShdw blurRad="50800" dist="254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3">
            <a:extLst>
              <a:ext uri="{FF2B5EF4-FFF2-40B4-BE49-F238E27FC236}">
                <a16:creationId xmlns:a16="http://schemas.microsoft.com/office/drawing/2014/main" id="{1167C241-C771-2164-B58B-C867B04D396D}"/>
              </a:ext>
            </a:extLst>
          </p:cNvPr>
          <p:cNvSpPr>
            <a:spLocks noGrp="1"/>
          </p:cNvSpPr>
          <p:nvPr>
            <p:ph sz="half" idx="11"/>
          </p:nvPr>
        </p:nvSpPr>
        <p:spPr>
          <a:xfrm>
            <a:off x="4662791" y="3071990"/>
            <a:ext cx="6932579" cy="885967"/>
          </a:xfrm>
        </p:spPr>
        <p:txBody>
          <a:bodyPr anchor="ctr">
            <a:noAutofit/>
          </a:bodyPr>
          <a:lstStyle>
            <a:lvl1pPr marL="45720" indent="0">
              <a:spcBef>
                <a:spcPts val="600"/>
              </a:spcBef>
              <a:buNone/>
              <a:defRPr sz="1600" b="0">
                <a:solidFill>
                  <a:schemeClr val="tx2"/>
                </a:solidFill>
              </a:defRPr>
            </a:lvl1pPr>
            <a:lvl2pPr marL="457200" indent="0">
              <a:buNone/>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0"/>
            <a:r>
              <a:rPr lang="en-US"/>
              <a:t>Second level</a:t>
            </a:r>
          </a:p>
        </p:txBody>
      </p:sp>
      <p:sp>
        <p:nvSpPr>
          <p:cNvPr id="32" name="Rectangle: Rounded Corners 31">
            <a:extLst>
              <a:ext uri="{FF2B5EF4-FFF2-40B4-BE49-F238E27FC236}">
                <a16:creationId xmlns:a16="http://schemas.microsoft.com/office/drawing/2014/main" id="{4992695A-E128-2645-3FA5-DEF9EBC1EAE9}"/>
              </a:ext>
            </a:extLst>
          </p:cNvPr>
          <p:cNvSpPr/>
          <p:nvPr userDrawn="1"/>
        </p:nvSpPr>
        <p:spPr>
          <a:xfrm>
            <a:off x="3575743" y="4256709"/>
            <a:ext cx="8099241" cy="893186"/>
          </a:xfrm>
          <a:prstGeom prst="roundRect">
            <a:avLst>
              <a:gd name="adj" fmla="val 50000"/>
            </a:avLst>
          </a:prstGeom>
          <a:solidFill>
            <a:srgbClr val="F2F5F9"/>
          </a:solidFill>
          <a:ln>
            <a:noFill/>
          </a:ln>
          <a:effectLst>
            <a:outerShdw blurRad="50800" dist="254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3">
            <a:extLst>
              <a:ext uri="{FF2B5EF4-FFF2-40B4-BE49-F238E27FC236}">
                <a16:creationId xmlns:a16="http://schemas.microsoft.com/office/drawing/2014/main" id="{682F9E9D-3C71-F987-D9C9-5F327E068011}"/>
              </a:ext>
            </a:extLst>
          </p:cNvPr>
          <p:cNvSpPr>
            <a:spLocks noGrp="1"/>
          </p:cNvSpPr>
          <p:nvPr>
            <p:ph sz="half" idx="12"/>
          </p:nvPr>
        </p:nvSpPr>
        <p:spPr>
          <a:xfrm>
            <a:off x="4662791" y="4256710"/>
            <a:ext cx="6932579" cy="893186"/>
          </a:xfrm>
        </p:spPr>
        <p:txBody>
          <a:bodyPr anchor="ctr">
            <a:noAutofit/>
          </a:bodyPr>
          <a:lstStyle>
            <a:lvl1pPr marL="45720" indent="0">
              <a:spcBef>
                <a:spcPts val="600"/>
              </a:spcBef>
              <a:buNone/>
              <a:defRPr sz="1600" b="0">
                <a:solidFill>
                  <a:schemeClr val="tx2"/>
                </a:solidFill>
              </a:defRPr>
            </a:lvl1pPr>
            <a:lvl2pPr marL="457200" indent="0">
              <a:buNone/>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0"/>
            <a:r>
              <a:rPr lang="en-US"/>
              <a:t>Second level</a:t>
            </a:r>
          </a:p>
        </p:txBody>
      </p:sp>
      <p:sp>
        <p:nvSpPr>
          <p:cNvPr id="34" name="Rectangle: Rounded Corners 33">
            <a:extLst>
              <a:ext uri="{FF2B5EF4-FFF2-40B4-BE49-F238E27FC236}">
                <a16:creationId xmlns:a16="http://schemas.microsoft.com/office/drawing/2014/main" id="{8E4CD17C-67A4-2928-891F-9897675435E8}"/>
              </a:ext>
            </a:extLst>
          </p:cNvPr>
          <p:cNvSpPr/>
          <p:nvPr userDrawn="1"/>
        </p:nvSpPr>
        <p:spPr>
          <a:xfrm>
            <a:off x="3575743" y="5443070"/>
            <a:ext cx="8099241" cy="893186"/>
          </a:xfrm>
          <a:prstGeom prst="roundRect">
            <a:avLst>
              <a:gd name="adj" fmla="val 50000"/>
            </a:avLst>
          </a:prstGeom>
          <a:solidFill>
            <a:srgbClr val="F2F5F9"/>
          </a:solidFill>
          <a:ln>
            <a:noFill/>
          </a:ln>
          <a:effectLst>
            <a:outerShdw blurRad="50800" dist="254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ontent Placeholder 3">
            <a:extLst>
              <a:ext uri="{FF2B5EF4-FFF2-40B4-BE49-F238E27FC236}">
                <a16:creationId xmlns:a16="http://schemas.microsoft.com/office/drawing/2014/main" id="{4AE83F96-A705-361F-2877-42159E3F1235}"/>
              </a:ext>
            </a:extLst>
          </p:cNvPr>
          <p:cNvSpPr>
            <a:spLocks noGrp="1"/>
          </p:cNvSpPr>
          <p:nvPr>
            <p:ph sz="half" idx="13"/>
          </p:nvPr>
        </p:nvSpPr>
        <p:spPr>
          <a:xfrm>
            <a:off x="4662791" y="5443071"/>
            <a:ext cx="6932579" cy="893186"/>
          </a:xfrm>
        </p:spPr>
        <p:txBody>
          <a:bodyPr anchor="ctr">
            <a:noAutofit/>
          </a:bodyPr>
          <a:lstStyle>
            <a:lvl1pPr marL="45720" indent="0">
              <a:spcBef>
                <a:spcPts val="600"/>
              </a:spcBef>
              <a:buNone/>
              <a:defRPr sz="1600" b="0">
                <a:solidFill>
                  <a:schemeClr val="tx2"/>
                </a:solidFill>
              </a:defRPr>
            </a:lvl1pPr>
            <a:lvl2pPr marL="457200" indent="0">
              <a:buNone/>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0"/>
            <a:r>
              <a:rPr lang="en-US"/>
              <a:t>Second level</a:t>
            </a:r>
          </a:p>
        </p:txBody>
      </p:sp>
      <p:sp>
        <p:nvSpPr>
          <p:cNvPr id="27" name="Rectangle: Rounded Corners 26">
            <a:extLst>
              <a:ext uri="{FF2B5EF4-FFF2-40B4-BE49-F238E27FC236}">
                <a16:creationId xmlns:a16="http://schemas.microsoft.com/office/drawing/2014/main" id="{BE9BEAE9-7078-4743-CE88-A1BF84F60050}"/>
              </a:ext>
            </a:extLst>
          </p:cNvPr>
          <p:cNvSpPr/>
          <p:nvPr userDrawn="1"/>
        </p:nvSpPr>
        <p:spPr>
          <a:xfrm>
            <a:off x="3575743" y="680930"/>
            <a:ext cx="8099241" cy="893186"/>
          </a:xfrm>
          <a:prstGeom prst="roundRect">
            <a:avLst>
              <a:gd name="adj" fmla="val 50000"/>
            </a:avLst>
          </a:prstGeom>
          <a:solidFill>
            <a:srgbClr val="F2F5F9"/>
          </a:solidFill>
          <a:ln>
            <a:noFill/>
          </a:ln>
          <a:effectLst>
            <a:outerShdw blurRad="50800" dist="254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2400F35-BCB0-9C9B-D0F7-C827A3202A0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3003" y="0"/>
            <a:ext cx="4069397" cy="6858000"/>
          </a:xfrm>
          <a:prstGeom prst="rect">
            <a:avLst/>
          </a:prstGeom>
        </p:spPr>
      </p:pic>
      <p:sp>
        <p:nvSpPr>
          <p:cNvPr id="5" name="Title 1">
            <a:extLst>
              <a:ext uri="{FF2B5EF4-FFF2-40B4-BE49-F238E27FC236}">
                <a16:creationId xmlns:a16="http://schemas.microsoft.com/office/drawing/2014/main" id="{5353297D-6F76-BFFD-E307-F0BCB01443AB}"/>
              </a:ext>
            </a:extLst>
          </p:cNvPr>
          <p:cNvSpPr>
            <a:spLocks noGrp="1"/>
          </p:cNvSpPr>
          <p:nvPr>
            <p:ph type="title" hasCustomPrompt="1"/>
          </p:nvPr>
        </p:nvSpPr>
        <p:spPr>
          <a:xfrm>
            <a:off x="318290" y="582961"/>
            <a:ext cx="3141848" cy="5616670"/>
          </a:xfrm>
        </p:spPr>
        <p:txBody>
          <a:bodyPr/>
          <a:lstStyle>
            <a:lvl1pPr>
              <a:defRPr>
                <a:solidFill>
                  <a:schemeClr val="bg1"/>
                </a:solidFill>
              </a:defRPr>
            </a:lvl1pPr>
          </a:lstStyle>
          <a:p>
            <a:r>
              <a:rPr lang="en-US"/>
              <a:t>Headline</a:t>
            </a:r>
          </a:p>
        </p:txBody>
      </p:sp>
      <p:sp>
        <p:nvSpPr>
          <p:cNvPr id="8" name="Content Placeholder 3">
            <a:extLst>
              <a:ext uri="{FF2B5EF4-FFF2-40B4-BE49-F238E27FC236}">
                <a16:creationId xmlns:a16="http://schemas.microsoft.com/office/drawing/2014/main" id="{B811A6CD-1984-9022-C4AD-F3A8E2030A76}"/>
              </a:ext>
            </a:extLst>
          </p:cNvPr>
          <p:cNvSpPr>
            <a:spLocks noGrp="1"/>
          </p:cNvSpPr>
          <p:nvPr>
            <p:ph sz="half" idx="2"/>
          </p:nvPr>
        </p:nvSpPr>
        <p:spPr>
          <a:xfrm>
            <a:off x="4662791" y="680931"/>
            <a:ext cx="6932579" cy="893186"/>
          </a:xfrm>
        </p:spPr>
        <p:txBody>
          <a:bodyPr anchor="ctr">
            <a:noAutofit/>
          </a:bodyPr>
          <a:lstStyle>
            <a:lvl1pPr marL="45720" indent="0">
              <a:spcBef>
                <a:spcPts val="600"/>
              </a:spcBef>
              <a:buNone/>
              <a:defRPr sz="1600" b="0">
                <a:solidFill>
                  <a:schemeClr val="tx2"/>
                </a:solidFill>
              </a:defRPr>
            </a:lvl1pPr>
            <a:lvl2pPr marL="457200" indent="0">
              <a:buNone/>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0"/>
            <a:r>
              <a:rPr lang="en-US"/>
              <a:t>Second level</a:t>
            </a:r>
          </a:p>
        </p:txBody>
      </p:sp>
      <p:pic>
        <p:nvPicPr>
          <p:cNvPr id="3" name="Graphic 2">
            <a:extLst>
              <a:ext uri="{FF2B5EF4-FFF2-40B4-BE49-F238E27FC236}">
                <a16:creationId xmlns:a16="http://schemas.microsoft.com/office/drawing/2014/main" id="{B2DB9025-637F-1FFC-90E3-7C0668E9E8F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6580" y="6446686"/>
            <a:ext cx="530508" cy="157039"/>
          </a:xfrm>
          <a:prstGeom prst="rect">
            <a:avLst/>
          </a:prstGeom>
        </p:spPr>
      </p:pic>
      <p:pic>
        <p:nvPicPr>
          <p:cNvPr id="7" name="Graphic 6">
            <a:extLst>
              <a:ext uri="{FF2B5EF4-FFF2-40B4-BE49-F238E27FC236}">
                <a16:creationId xmlns:a16="http://schemas.microsoft.com/office/drawing/2014/main" id="{F1E16420-C81E-0D03-2C67-EC3CC846B6A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6580" y="6446686"/>
            <a:ext cx="530508" cy="157039"/>
          </a:xfrm>
          <a:prstGeom prst="rect">
            <a:avLst/>
          </a:prstGeom>
        </p:spPr>
      </p:pic>
      <p:sp>
        <p:nvSpPr>
          <p:cNvPr id="9" name="Rectangle 8">
            <a:extLst>
              <a:ext uri="{FF2B5EF4-FFF2-40B4-BE49-F238E27FC236}">
                <a16:creationId xmlns:a16="http://schemas.microsoft.com/office/drawing/2014/main" id="{FC7E0749-F85F-0CA2-F27E-6D78F8B4C936}"/>
              </a:ext>
            </a:extLst>
          </p:cNvPr>
          <p:cNvSpPr/>
          <p:nvPr userDrawn="1"/>
        </p:nvSpPr>
        <p:spPr>
          <a:xfrm>
            <a:off x="0" y="0"/>
            <a:ext cx="12188952" cy="100584"/>
          </a:xfrm>
          <a:prstGeom prst="rect">
            <a:avLst/>
          </a:prstGeom>
          <a:gradFill>
            <a:gsLst>
              <a:gs pos="82000">
                <a:schemeClr val="accent5"/>
              </a:gs>
              <a:gs pos="0">
                <a:schemeClr val="accent1"/>
              </a:gs>
              <a:gs pos="44000">
                <a:schemeClr val="accent3"/>
              </a:gs>
              <a:gs pos="100000">
                <a:srgbClr val="EBDAA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C25A3211-9B32-16B0-6B4A-DAAA08EDB2B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618990" y="680930"/>
            <a:ext cx="884949" cy="1107825"/>
          </a:xfrm>
          <a:prstGeom prst="rect">
            <a:avLst/>
          </a:prstGeom>
        </p:spPr>
      </p:pic>
      <p:pic>
        <p:nvPicPr>
          <p:cNvPr id="15" name="Graphic 14">
            <a:extLst>
              <a:ext uri="{FF2B5EF4-FFF2-40B4-BE49-F238E27FC236}">
                <a16:creationId xmlns:a16="http://schemas.microsoft.com/office/drawing/2014/main" id="{43CB1644-4CAA-7515-9393-3BA2138E8E5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608848" y="1866627"/>
            <a:ext cx="884949" cy="1120936"/>
          </a:xfrm>
          <a:prstGeom prst="rect">
            <a:avLst/>
          </a:prstGeom>
        </p:spPr>
      </p:pic>
      <p:pic>
        <p:nvPicPr>
          <p:cNvPr id="17" name="Graphic 16">
            <a:extLst>
              <a:ext uri="{FF2B5EF4-FFF2-40B4-BE49-F238E27FC236}">
                <a16:creationId xmlns:a16="http://schemas.microsoft.com/office/drawing/2014/main" id="{065DA7CA-807B-3435-6BF3-AD1A93C432F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616454" y="3065435"/>
            <a:ext cx="884949" cy="1107825"/>
          </a:xfrm>
          <a:prstGeom prst="rect">
            <a:avLst/>
          </a:prstGeom>
        </p:spPr>
      </p:pic>
      <p:pic>
        <p:nvPicPr>
          <p:cNvPr id="23" name="Graphic 22">
            <a:extLst>
              <a:ext uri="{FF2B5EF4-FFF2-40B4-BE49-F238E27FC236}">
                <a16:creationId xmlns:a16="http://schemas.microsoft.com/office/drawing/2014/main" id="{692E91D4-44B1-2067-E770-8F6AC24983C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3613919" y="5436830"/>
            <a:ext cx="884949" cy="1107825"/>
          </a:xfrm>
          <a:prstGeom prst="rect">
            <a:avLst/>
          </a:prstGeom>
        </p:spPr>
      </p:pic>
      <p:pic>
        <p:nvPicPr>
          <p:cNvPr id="25" name="Graphic 24">
            <a:extLst>
              <a:ext uri="{FF2B5EF4-FFF2-40B4-BE49-F238E27FC236}">
                <a16:creationId xmlns:a16="http://schemas.microsoft.com/office/drawing/2014/main" id="{7CD22659-64FD-4278-E57B-C73257F08647}"/>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3611383" y="4251132"/>
            <a:ext cx="884949" cy="1107825"/>
          </a:xfrm>
          <a:prstGeom prst="rect">
            <a:avLst/>
          </a:prstGeom>
        </p:spPr>
      </p:pic>
    </p:spTree>
    <p:extLst>
      <p:ext uri="{BB962C8B-B14F-4D97-AF65-F5344CB8AC3E}">
        <p14:creationId xmlns:p14="http://schemas.microsoft.com/office/powerpoint/2010/main" val="20055305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Layout 02+Purpo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4C1DD-D61A-4470-950C-CD3DED0732B8}"/>
              </a:ext>
            </a:extLst>
          </p:cNvPr>
          <p:cNvSpPr>
            <a:spLocks noGrp="1"/>
          </p:cNvSpPr>
          <p:nvPr>
            <p:ph type="title" hasCustomPrompt="1"/>
          </p:nvPr>
        </p:nvSpPr>
        <p:spPr>
          <a:xfrm>
            <a:off x="542258" y="365126"/>
            <a:ext cx="11190341" cy="1145610"/>
          </a:xfrm>
        </p:spPr>
        <p:txBody>
          <a:bodyPr>
            <a:noAutofit/>
          </a:bodyPr>
          <a:lstStyle>
            <a:lvl1pPr>
              <a:defRPr/>
            </a:lvl1pPr>
          </a:lstStyle>
          <a:p>
            <a:r>
              <a:rPr lang="en-US"/>
              <a:t>Headline</a:t>
            </a:r>
          </a:p>
        </p:txBody>
      </p:sp>
      <p:sp>
        <p:nvSpPr>
          <p:cNvPr id="3" name="Content Placeholder 2">
            <a:extLst>
              <a:ext uri="{FF2B5EF4-FFF2-40B4-BE49-F238E27FC236}">
                <a16:creationId xmlns:a16="http://schemas.microsoft.com/office/drawing/2014/main" id="{10531252-3281-48C5-AD8A-FCAD0A87DCB1}"/>
              </a:ext>
            </a:extLst>
          </p:cNvPr>
          <p:cNvSpPr>
            <a:spLocks noGrp="1"/>
          </p:cNvSpPr>
          <p:nvPr>
            <p:ph sz="half" idx="1"/>
          </p:nvPr>
        </p:nvSpPr>
        <p:spPr>
          <a:xfrm>
            <a:off x="542259" y="2000815"/>
            <a:ext cx="2647344" cy="4176147"/>
          </a:xfrm>
        </p:spPr>
        <p:txBody>
          <a:bodyPr>
            <a:noAutofit/>
          </a:bodyPr>
          <a:lstStyle>
            <a:lvl1pPr marL="228600" indent="-182880">
              <a:buFont typeface="Arial" panose="020B0604020202020204" pitchFamily="34" charset="0"/>
              <a:buChar char="•"/>
              <a:defRPr sz="1600"/>
            </a:lvl1pPr>
            <a:lvl2pPr marL="640080" indent="-182880">
              <a:buFont typeface="Arial" panose="020B0604020202020204" pitchFamily="34" charset="0"/>
              <a:buChar char="•"/>
              <a:defRPr sz="1400"/>
            </a:lvl2pPr>
            <a:lvl3pPr marL="1097280" indent="-182880">
              <a:buFont typeface="Arial" panose="020B0604020202020204" pitchFamily="34" charset="0"/>
              <a:buChar char="•"/>
              <a:defRPr sz="1200"/>
            </a:lvl3pPr>
            <a:lvl4pPr marL="1554480" indent="-182880">
              <a:buFont typeface="Arial" panose="020B0604020202020204" pitchFamily="34" charset="0"/>
              <a:buChar char="•"/>
              <a:defRPr sz="1100"/>
            </a:lvl4pPr>
            <a:lvl5pPr marL="2011680" indent="-18288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B6D82F43-4D4F-5CC9-5DC8-143AADDB6477}"/>
              </a:ext>
            </a:extLst>
          </p:cNvPr>
          <p:cNvSpPr txBox="1"/>
          <p:nvPr/>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tx2"/>
                </a:solidFill>
              </a:rPr>
              <a:pPr algn="r"/>
              <a:t>‹#›</a:t>
            </a:fld>
            <a:endParaRPr lang="en-US">
              <a:solidFill>
                <a:schemeClr val="tx2"/>
              </a:solidFill>
            </a:endParaRPr>
          </a:p>
        </p:txBody>
      </p:sp>
      <p:sp>
        <p:nvSpPr>
          <p:cNvPr id="7" name="Content Placeholder 2">
            <a:extLst>
              <a:ext uri="{FF2B5EF4-FFF2-40B4-BE49-F238E27FC236}">
                <a16:creationId xmlns:a16="http://schemas.microsoft.com/office/drawing/2014/main" id="{E8597223-DFE1-65E1-3675-6D5844D9E168}"/>
              </a:ext>
            </a:extLst>
          </p:cNvPr>
          <p:cNvSpPr>
            <a:spLocks noGrp="1"/>
          </p:cNvSpPr>
          <p:nvPr>
            <p:ph sz="half" idx="10"/>
          </p:nvPr>
        </p:nvSpPr>
        <p:spPr>
          <a:xfrm>
            <a:off x="3362305" y="2000815"/>
            <a:ext cx="2647344" cy="4176147"/>
          </a:xfrm>
        </p:spPr>
        <p:txBody>
          <a:bodyPr>
            <a:noAutofit/>
          </a:bodyPr>
          <a:lstStyle>
            <a:lvl1pPr marL="228600" indent="-182880">
              <a:buFont typeface="Arial" panose="020B0604020202020204" pitchFamily="34" charset="0"/>
              <a:buChar char="•"/>
              <a:defRPr sz="1600"/>
            </a:lvl1pPr>
            <a:lvl2pPr marL="640080" indent="-182880">
              <a:buFont typeface="Arial" panose="020B0604020202020204" pitchFamily="34" charset="0"/>
              <a:buChar char="•"/>
              <a:defRPr sz="1400"/>
            </a:lvl2pPr>
            <a:lvl3pPr marL="1097280" indent="-182880">
              <a:buFont typeface="Arial" panose="020B0604020202020204" pitchFamily="34" charset="0"/>
              <a:buChar char="•"/>
              <a:defRPr sz="1200"/>
            </a:lvl3pPr>
            <a:lvl4pPr marL="1554480" indent="-182880">
              <a:buFont typeface="Arial" panose="020B0604020202020204" pitchFamily="34" charset="0"/>
              <a:buChar char="•"/>
              <a:defRPr sz="1100"/>
            </a:lvl4pPr>
            <a:lvl5pPr marL="2011680" indent="-18288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E495B2BB-3AB9-5FCE-49F4-416E1514C443}"/>
              </a:ext>
            </a:extLst>
          </p:cNvPr>
          <p:cNvSpPr txBox="1"/>
          <p:nvPr/>
        </p:nvSpPr>
        <p:spPr>
          <a:xfrm>
            <a:off x="1285783" y="6375879"/>
            <a:ext cx="3379622" cy="276999"/>
          </a:xfrm>
          <a:prstGeom prst="rect">
            <a:avLst/>
          </a:prstGeom>
          <a:noFill/>
        </p:spPr>
        <p:txBody>
          <a:bodyPr wrap="square" rtlCol="0">
            <a:spAutoFit/>
          </a:bodyPr>
          <a:lstStyle/>
          <a:p>
            <a:pPr algn="l"/>
            <a:r>
              <a:rPr lang="en-US" sz="1200">
                <a:solidFill>
                  <a:schemeClr val="accent1"/>
                </a:solidFill>
              </a:rPr>
              <a:t>Creating Tomorrow, </a:t>
            </a:r>
            <a:r>
              <a:rPr lang="en-US" sz="1200" b="1">
                <a:solidFill>
                  <a:schemeClr val="accent1"/>
                </a:solidFill>
              </a:rPr>
              <a:t>Together</a:t>
            </a:r>
          </a:p>
        </p:txBody>
      </p:sp>
      <p:cxnSp>
        <p:nvCxnSpPr>
          <p:cNvPr id="9" name="Straight Connector 8">
            <a:extLst>
              <a:ext uri="{FF2B5EF4-FFF2-40B4-BE49-F238E27FC236}">
                <a16:creationId xmlns:a16="http://schemas.microsoft.com/office/drawing/2014/main" id="{E8298577-3534-0FE7-911D-E0BD92B4FA3D}"/>
              </a:ext>
            </a:extLst>
          </p:cNvPr>
          <p:cNvCxnSpPr>
            <a:cxnSpLocks/>
          </p:cNvCxnSpPr>
          <p:nvPr/>
        </p:nvCxnSpPr>
        <p:spPr>
          <a:xfrm>
            <a:off x="1215243" y="6377218"/>
            <a:ext cx="0" cy="27432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27623ED-45A0-3731-3DFE-C51D6041F84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259" y="6445777"/>
            <a:ext cx="530507" cy="157041"/>
          </a:xfrm>
          <a:prstGeom prst="rect">
            <a:avLst/>
          </a:prstGeom>
        </p:spPr>
      </p:pic>
      <p:sp>
        <p:nvSpPr>
          <p:cNvPr id="4" name="TextBox 3">
            <a:extLst>
              <a:ext uri="{FF2B5EF4-FFF2-40B4-BE49-F238E27FC236}">
                <a16:creationId xmlns:a16="http://schemas.microsoft.com/office/drawing/2014/main" id="{C2E71D49-29CB-A5F0-41C7-7ECB12ABCA6D}"/>
              </a:ext>
            </a:extLst>
          </p:cNvPr>
          <p:cNvSpPr txBox="1"/>
          <p:nvPr userDrawn="1"/>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tx2"/>
                </a:solidFill>
              </a:rPr>
              <a:pPr algn="r"/>
              <a:t>‹#›</a:t>
            </a:fld>
            <a:endParaRPr lang="en-US">
              <a:solidFill>
                <a:schemeClr val="tx2"/>
              </a:solidFill>
            </a:endParaRPr>
          </a:p>
        </p:txBody>
      </p:sp>
      <p:sp>
        <p:nvSpPr>
          <p:cNvPr id="5" name="TextBox 4">
            <a:extLst>
              <a:ext uri="{FF2B5EF4-FFF2-40B4-BE49-F238E27FC236}">
                <a16:creationId xmlns:a16="http://schemas.microsoft.com/office/drawing/2014/main" id="{1326D0EF-766D-5488-C8B6-663B4A20778C}"/>
              </a:ext>
            </a:extLst>
          </p:cNvPr>
          <p:cNvSpPr txBox="1"/>
          <p:nvPr userDrawn="1"/>
        </p:nvSpPr>
        <p:spPr>
          <a:xfrm>
            <a:off x="1285783" y="6375879"/>
            <a:ext cx="3379622" cy="276999"/>
          </a:xfrm>
          <a:prstGeom prst="rect">
            <a:avLst/>
          </a:prstGeom>
          <a:noFill/>
        </p:spPr>
        <p:txBody>
          <a:bodyPr wrap="square" rtlCol="0">
            <a:spAutoFit/>
          </a:bodyPr>
          <a:lstStyle/>
          <a:p>
            <a:pPr algn="l"/>
            <a:r>
              <a:rPr lang="en-US" sz="1200">
                <a:solidFill>
                  <a:schemeClr val="accent1"/>
                </a:solidFill>
              </a:rPr>
              <a:t>Creating Tomorrow, </a:t>
            </a:r>
            <a:r>
              <a:rPr lang="en-US" sz="1200" b="1">
                <a:solidFill>
                  <a:schemeClr val="accent1"/>
                </a:solidFill>
              </a:rPr>
              <a:t>Together</a:t>
            </a:r>
          </a:p>
        </p:txBody>
      </p:sp>
      <p:cxnSp>
        <p:nvCxnSpPr>
          <p:cNvPr id="12" name="Straight Connector 11">
            <a:extLst>
              <a:ext uri="{FF2B5EF4-FFF2-40B4-BE49-F238E27FC236}">
                <a16:creationId xmlns:a16="http://schemas.microsoft.com/office/drawing/2014/main" id="{F0049AB4-2E5F-9FF3-9979-51DE10865AB1}"/>
              </a:ext>
            </a:extLst>
          </p:cNvPr>
          <p:cNvCxnSpPr>
            <a:cxnSpLocks/>
          </p:cNvCxnSpPr>
          <p:nvPr userDrawn="1"/>
        </p:nvCxnSpPr>
        <p:spPr>
          <a:xfrm>
            <a:off x="1215243" y="6377218"/>
            <a:ext cx="0" cy="27432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9E25C59E-58C3-E708-E28E-69CEF708C1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259" y="6445777"/>
            <a:ext cx="530507" cy="157041"/>
          </a:xfrm>
          <a:prstGeom prst="rect">
            <a:avLst/>
          </a:prstGeom>
        </p:spPr>
      </p:pic>
      <p:sp>
        <p:nvSpPr>
          <p:cNvPr id="10" name="Rectangle 9">
            <a:extLst>
              <a:ext uri="{FF2B5EF4-FFF2-40B4-BE49-F238E27FC236}">
                <a16:creationId xmlns:a16="http://schemas.microsoft.com/office/drawing/2014/main" id="{088721E2-167C-F3B7-C236-96DD1FC1081C}"/>
              </a:ext>
            </a:extLst>
          </p:cNvPr>
          <p:cNvSpPr/>
          <p:nvPr userDrawn="1"/>
        </p:nvSpPr>
        <p:spPr>
          <a:xfrm>
            <a:off x="0" y="0"/>
            <a:ext cx="12188952" cy="100584"/>
          </a:xfrm>
          <a:prstGeom prst="rect">
            <a:avLst/>
          </a:prstGeom>
          <a:gradFill>
            <a:gsLst>
              <a:gs pos="82000">
                <a:schemeClr val="accent5"/>
              </a:gs>
              <a:gs pos="0">
                <a:schemeClr val="accent1"/>
              </a:gs>
              <a:gs pos="44000">
                <a:schemeClr val="accent3"/>
              </a:gs>
              <a:gs pos="100000">
                <a:srgbClr val="EBDAA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128BC10F-BF0D-A3D3-5392-7FA1DC39FE6D}"/>
              </a:ext>
            </a:extLst>
          </p:cNvPr>
          <p:cNvSpPr>
            <a:spLocks noGrp="1"/>
          </p:cNvSpPr>
          <p:nvPr>
            <p:ph sz="half" idx="11"/>
          </p:nvPr>
        </p:nvSpPr>
        <p:spPr>
          <a:xfrm>
            <a:off x="6182351" y="2000815"/>
            <a:ext cx="2647344" cy="4176147"/>
          </a:xfrm>
        </p:spPr>
        <p:txBody>
          <a:bodyPr>
            <a:noAutofit/>
          </a:bodyPr>
          <a:lstStyle>
            <a:lvl1pPr marL="228600" indent="-182880">
              <a:buFont typeface="Arial" panose="020B0604020202020204" pitchFamily="34" charset="0"/>
              <a:buChar char="•"/>
              <a:defRPr sz="1600"/>
            </a:lvl1pPr>
            <a:lvl2pPr marL="640080" indent="-182880">
              <a:buFont typeface="Arial" panose="020B0604020202020204" pitchFamily="34" charset="0"/>
              <a:buChar char="•"/>
              <a:defRPr sz="1400"/>
            </a:lvl2pPr>
            <a:lvl3pPr marL="1097280" indent="-182880">
              <a:buFont typeface="Arial" panose="020B0604020202020204" pitchFamily="34" charset="0"/>
              <a:buChar char="•"/>
              <a:defRPr sz="1200"/>
            </a:lvl3pPr>
            <a:lvl4pPr marL="1554480" indent="-182880">
              <a:buFont typeface="Arial" panose="020B0604020202020204" pitchFamily="34" charset="0"/>
              <a:buChar char="•"/>
              <a:defRPr sz="1100"/>
            </a:lvl4pPr>
            <a:lvl5pPr marL="2011680" indent="-18288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C1E0DB9-CE2A-5803-F48E-42A5C753BB0A}"/>
              </a:ext>
            </a:extLst>
          </p:cNvPr>
          <p:cNvSpPr>
            <a:spLocks noGrp="1"/>
          </p:cNvSpPr>
          <p:nvPr>
            <p:ph sz="half" idx="12"/>
          </p:nvPr>
        </p:nvSpPr>
        <p:spPr>
          <a:xfrm>
            <a:off x="9002397" y="2000815"/>
            <a:ext cx="2647344" cy="4176147"/>
          </a:xfrm>
        </p:spPr>
        <p:txBody>
          <a:bodyPr>
            <a:noAutofit/>
          </a:bodyPr>
          <a:lstStyle>
            <a:lvl1pPr marL="228600" indent="-182880">
              <a:buFont typeface="Arial" panose="020B0604020202020204" pitchFamily="34" charset="0"/>
              <a:buChar char="•"/>
              <a:defRPr sz="1600"/>
            </a:lvl1pPr>
            <a:lvl2pPr marL="640080" indent="-182880">
              <a:buFont typeface="Arial" panose="020B0604020202020204" pitchFamily="34" charset="0"/>
              <a:buChar char="•"/>
              <a:defRPr sz="1400"/>
            </a:lvl2pPr>
            <a:lvl3pPr marL="1097280" indent="-182880">
              <a:buFont typeface="Arial" panose="020B0604020202020204" pitchFamily="34" charset="0"/>
              <a:buChar char="•"/>
              <a:defRPr sz="1200"/>
            </a:lvl3pPr>
            <a:lvl4pPr marL="1554480" indent="-182880">
              <a:buFont typeface="Arial" panose="020B0604020202020204" pitchFamily="34" charset="0"/>
              <a:buChar char="•"/>
              <a:defRPr sz="1100"/>
            </a:lvl4pPr>
            <a:lvl5pPr marL="2011680" indent="-18288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6701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1799B-B7E7-49CB-B736-3F19C7555283}"/>
              </a:ext>
            </a:extLst>
          </p:cNvPr>
          <p:cNvSpPr>
            <a:spLocks noGrp="1"/>
          </p:cNvSpPr>
          <p:nvPr>
            <p:ph type="title" hasCustomPrompt="1"/>
          </p:nvPr>
        </p:nvSpPr>
        <p:spPr/>
        <p:txBody>
          <a:bodyPr>
            <a:noAutofit/>
          </a:bodyPr>
          <a:lstStyle>
            <a:lvl1pPr>
              <a:defRPr/>
            </a:lvl1pPr>
          </a:lstStyle>
          <a:p>
            <a:r>
              <a:rPr lang="en-US"/>
              <a:t>Headline</a:t>
            </a:r>
          </a:p>
        </p:txBody>
      </p:sp>
      <p:sp>
        <p:nvSpPr>
          <p:cNvPr id="9" name="Picture Placeholder 3">
            <a:extLst>
              <a:ext uri="{FF2B5EF4-FFF2-40B4-BE49-F238E27FC236}">
                <a16:creationId xmlns:a16="http://schemas.microsoft.com/office/drawing/2014/main" id="{64B13BA0-3BF8-4E21-A516-7868EBF2A45E}"/>
              </a:ext>
            </a:extLst>
          </p:cNvPr>
          <p:cNvSpPr>
            <a:spLocks noGrp="1"/>
          </p:cNvSpPr>
          <p:nvPr>
            <p:ph type="pic" sz="quarter" idx="12"/>
          </p:nvPr>
        </p:nvSpPr>
        <p:spPr>
          <a:xfrm>
            <a:off x="977153" y="2229919"/>
            <a:ext cx="2029609" cy="2398161"/>
          </a:xfrm>
          <a:solidFill>
            <a:srgbClr val="D7E2ED"/>
          </a:solidFill>
        </p:spPr>
        <p:txBody>
          <a:bodyPr/>
          <a:lstStyle/>
          <a:p>
            <a:r>
              <a:rPr lang="en-US"/>
              <a:t>Click icon to add picture</a:t>
            </a:r>
          </a:p>
        </p:txBody>
      </p:sp>
      <p:sp>
        <p:nvSpPr>
          <p:cNvPr id="16" name="Text Placeholder 15">
            <a:extLst>
              <a:ext uri="{FF2B5EF4-FFF2-40B4-BE49-F238E27FC236}">
                <a16:creationId xmlns:a16="http://schemas.microsoft.com/office/drawing/2014/main" id="{01DD99D4-20F3-41AB-92C4-B8343EACB115}"/>
              </a:ext>
            </a:extLst>
          </p:cNvPr>
          <p:cNvSpPr>
            <a:spLocks noGrp="1"/>
          </p:cNvSpPr>
          <p:nvPr>
            <p:ph type="body" sz="quarter" idx="13" hasCustomPrompt="1"/>
          </p:nvPr>
        </p:nvSpPr>
        <p:spPr>
          <a:xfrm>
            <a:off x="977153" y="4760261"/>
            <a:ext cx="1774107" cy="422633"/>
          </a:xfrm>
        </p:spPr>
        <p:txBody>
          <a:bodyPr>
            <a:noAutofit/>
          </a:bodyPr>
          <a:lstStyle>
            <a:lvl1pPr marL="0" indent="0">
              <a:buNone/>
              <a:defRPr sz="1800">
                <a:solidFill>
                  <a:schemeClr val="tx2"/>
                </a:solidFill>
              </a:defRPr>
            </a:lvl1pPr>
          </a:lstStyle>
          <a:p>
            <a:pPr lvl="0"/>
            <a:r>
              <a:rPr lang="en-US"/>
              <a:t>Name</a:t>
            </a:r>
          </a:p>
        </p:txBody>
      </p:sp>
      <p:sp>
        <p:nvSpPr>
          <p:cNvPr id="17" name="Picture Placeholder 3">
            <a:extLst>
              <a:ext uri="{FF2B5EF4-FFF2-40B4-BE49-F238E27FC236}">
                <a16:creationId xmlns:a16="http://schemas.microsoft.com/office/drawing/2014/main" id="{AA3F32DD-695D-4742-A44B-F438D311CD1E}"/>
              </a:ext>
            </a:extLst>
          </p:cNvPr>
          <p:cNvSpPr>
            <a:spLocks noGrp="1"/>
          </p:cNvSpPr>
          <p:nvPr>
            <p:ph type="pic" sz="quarter" idx="14"/>
          </p:nvPr>
        </p:nvSpPr>
        <p:spPr>
          <a:xfrm>
            <a:off x="3710791" y="2229919"/>
            <a:ext cx="2029609" cy="2398161"/>
          </a:xfrm>
          <a:solidFill>
            <a:srgbClr val="D7E2ED"/>
          </a:solidFill>
        </p:spPr>
        <p:txBody>
          <a:bodyPr/>
          <a:lstStyle/>
          <a:p>
            <a:r>
              <a:rPr lang="en-US"/>
              <a:t>Click icon to add picture</a:t>
            </a:r>
          </a:p>
        </p:txBody>
      </p:sp>
      <p:sp>
        <p:nvSpPr>
          <p:cNvPr id="18" name="Picture Placeholder 3">
            <a:extLst>
              <a:ext uri="{FF2B5EF4-FFF2-40B4-BE49-F238E27FC236}">
                <a16:creationId xmlns:a16="http://schemas.microsoft.com/office/drawing/2014/main" id="{094264CA-684C-401D-B037-7BB42AB27DC6}"/>
              </a:ext>
            </a:extLst>
          </p:cNvPr>
          <p:cNvSpPr>
            <a:spLocks noGrp="1"/>
          </p:cNvSpPr>
          <p:nvPr>
            <p:ph type="pic" sz="quarter" idx="15"/>
          </p:nvPr>
        </p:nvSpPr>
        <p:spPr>
          <a:xfrm>
            <a:off x="6444429" y="2229919"/>
            <a:ext cx="2029609" cy="2398161"/>
          </a:xfrm>
          <a:solidFill>
            <a:srgbClr val="D7E2ED"/>
          </a:solidFill>
        </p:spPr>
        <p:txBody>
          <a:bodyPr/>
          <a:lstStyle/>
          <a:p>
            <a:r>
              <a:rPr lang="en-US"/>
              <a:t>Click icon to add picture</a:t>
            </a:r>
          </a:p>
        </p:txBody>
      </p:sp>
      <p:sp>
        <p:nvSpPr>
          <p:cNvPr id="19" name="Picture Placeholder 3">
            <a:extLst>
              <a:ext uri="{FF2B5EF4-FFF2-40B4-BE49-F238E27FC236}">
                <a16:creationId xmlns:a16="http://schemas.microsoft.com/office/drawing/2014/main" id="{B9387C5F-F9B0-4D9B-B286-2B0C84BD0AEC}"/>
              </a:ext>
            </a:extLst>
          </p:cNvPr>
          <p:cNvSpPr>
            <a:spLocks noGrp="1"/>
          </p:cNvSpPr>
          <p:nvPr>
            <p:ph type="pic" sz="quarter" idx="16"/>
          </p:nvPr>
        </p:nvSpPr>
        <p:spPr>
          <a:xfrm>
            <a:off x="9178067" y="2229919"/>
            <a:ext cx="2029609" cy="2398161"/>
          </a:xfrm>
          <a:solidFill>
            <a:srgbClr val="D7E2ED"/>
          </a:solidFill>
        </p:spPr>
        <p:txBody>
          <a:bodyPr/>
          <a:lstStyle/>
          <a:p>
            <a:r>
              <a:rPr lang="en-US"/>
              <a:t>Click icon to add picture</a:t>
            </a:r>
          </a:p>
        </p:txBody>
      </p:sp>
      <p:sp>
        <p:nvSpPr>
          <p:cNvPr id="20" name="Text Placeholder 15">
            <a:extLst>
              <a:ext uri="{FF2B5EF4-FFF2-40B4-BE49-F238E27FC236}">
                <a16:creationId xmlns:a16="http://schemas.microsoft.com/office/drawing/2014/main" id="{3DAB3865-6A93-45B7-9E71-87CD4F144F70}"/>
              </a:ext>
            </a:extLst>
          </p:cNvPr>
          <p:cNvSpPr>
            <a:spLocks noGrp="1"/>
          </p:cNvSpPr>
          <p:nvPr>
            <p:ph type="body" sz="quarter" idx="17" hasCustomPrompt="1"/>
          </p:nvPr>
        </p:nvSpPr>
        <p:spPr>
          <a:xfrm>
            <a:off x="3710791" y="4760261"/>
            <a:ext cx="1774107" cy="422633"/>
          </a:xfrm>
        </p:spPr>
        <p:txBody>
          <a:bodyPr>
            <a:noAutofit/>
          </a:bodyPr>
          <a:lstStyle>
            <a:lvl1pPr marL="0" indent="0">
              <a:buNone/>
              <a:defRPr sz="1800">
                <a:solidFill>
                  <a:schemeClr val="tx2"/>
                </a:solidFill>
              </a:defRPr>
            </a:lvl1pPr>
          </a:lstStyle>
          <a:p>
            <a:pPr lvl="0"/>
            <a:r>
              <a:rPr lang="en-US"/>
              <a:t>Name</a:t>
            </a:r>
          </a:p>
        </p:txBody>
      </p:sp>
      <p:sp>
        <p:nvSpPr>
          <p:cNvPr id="21" name="Text Placeholder 15">
            <a:extLst>
              <a:ext uri="{FF2B5EF4-FFF2-40B4-BE49-F238E27FC236}">
                <a16:creationId xmlns:a16="http://schemas.microsoft.com/office/drawing/2014/main" id="{5897D4A9-0C21-452F-B9D6-6F74D5B26499}"/>
              </a:ext>
            </a:extLst>
          </p:cNvPr>
          <p:cNvSpPr>
            <a:spLocks noGrp="1"/>
          </p:cNvSpPr>
          <p:nvPr>
            <p:ph type="body" sz="quarter" idx="18" hasCustomPrompt="1"/>
          </p:nvPr>
        </p:nvSpPr>
        <p:spPr>
          <a:xfrm>
            <a:off x="6444429" y="4760261"/>
            <a:ext cx="1774107" cy="422633"/>
          </a:xfrm>
        </p:spPr>
        <p:txBody>
          <a:bodyPr>
            <a:noAutofit/>
          </a:bodyPr>
          <a:lstStyle>
            <a:lvl1pPr marL="0" indent="0">
              <a:buNone/>
              <a:defRPr sz="1800">
                <a:solidFill>
                  <a:schemeClr val="tx2"/>
                </a:solidFill>
              </a:defRPr>
            </a:lvl1pPr>
          </a:lstStyle>
          <a:p>
            <a:pPr lvl="0"/>
            <a:r>
              <a:rPr lang="en-US"/>
              <a:t>Name</a:t>
            </a:r>
          </a:p>
        </p:txBody>
      </p:sp>
      <p:sp>
        <p:nvSpPr>
          <p:cNvPr id="22" name="Text Placeholder 15">
            <a:extLst>
              <a:ext uri="{FF2B5EF4-FFF2-40B4-BE49-F238E27FC236}">
                <a16:creationId xmlns:a16="http://schemas.microsoft.com/office/drawing/2014/main" id="{A274AC66-70D2-4879-A2F0-D522BA352E15}"/>
              </a:ext>
            </a:extLst>
          </p:cNvPr>
          <p:cNvSpPr>
            <a:spLocks noGrp="1"/>
          </p:cNvSpPr>
          <p:nvPr>
            <p:ph type="body" sz="quarter" idx="19" hasCustomPrompt="1"/>
          </p:nvPr>
        </p:nvSpPr>
        <p:spPr>
          <a:xfrm>
            <a:off x="9178068" y="4760261"/>
            <a:ext cx="1774107" cy="422633"/>
          </a:xfrm>
        </p:spPr>
        <p:txBody>
          <a:bodyPr>
            <a:noAutofit/>
          </a:bodyPr>
          <a:lstStyle>
            <a:lvl1pPr marL="0" indent="0">
              <a:buNone/>
              <a:defRPr sz="1800">
                <a:solidFill>
                  <a:schemeClr val="tx2"/>
                </a:solidFill>
              </a:defRPr>
            </a:lvl1pPr>
          </a:lstStyle>
          <a:p>
            <a:pPr lvl="0"/>
            <a:r>
              <a:rPr lang="en-US"/>
              <a:t>Name</a:t>
            </a:r>
          </a:p>
        </p:txBody>
      </p:sp>
      <p:sp>
        <p:nvSpPr>
          <p:cNvPr id="23" name="Text Placeholder 15">
            <a:extLst>
              <a:ext uri="{FF2B5EF4-FFF2-40B4-BE49-F238E27FC236}">
                <a16:creationId xmlns:a16="http://schemas.microsoft.com/office/drawing/2014/main" id="{434B7460-B666-4E62-AF26-5788C616DF10}"/>
              </a:ext>
            </a:extLst>
          </p:cNvPr>
          <p:cNvSpPr>
            <a:spLocks noGrp="1"/>
          </p:cNvSpPr>
          <p:nvPr>
            <p:ph type="body" sz="quarter" idx="20" hasCustomPrompt="1"/>
          </p:nvPr>
        </p:nvSpPr>
        <p:spPr>
          <a:xfrm>
            <a:off x="977153" y="5182894"/>
            <a:ext cx="1774107" cy="422633"/>
          </a:xfrm>
        </p:spPr>
        <p:txBody>
          <a:bodyPr>
            <a:noAutofit/>
          </a:bodyPr>
          <a:lstStyle>
            <a:lvl1pPr marL="0" indent="0">
              <a:buNone/>
              <a:defRPr sz="1600" i="1">
                <a:solidFill>
                  <a:schemeClr val="tx2"/>
                </a:solidFill>
              </a:defRPr>
            </a:lvl1pPr>
          </a:lstStyle>
          <a:p>
            <a:pPr lvl="0"/>
            <a:r>
              <a:rPr lang="en-US"/>
              <a:t>Title</a:t>
            </a:r>
          </a:p>
        </p:txBody>
      </p:sp>
      <p:sp>
        <p:nvSpPr>
          <p:cNvPr id="24" name="Text Placeholder 15">
            <a:extLst>
              <a:ext uri="{FF2B5EF4-FFF2-40B4-BE49-F238E27FC236}">
                <a16:creationId xmlns:a16="http://schemas.microsoft.com/office/drawing/2014/main" id="{23AA1151-8294-4893-81AB-64443F44590A}"/>
              </a:ext>
            </a:extLst>
          </p:cNvPr>
          <p:cNvSpPr>
            <a:spLocks noGrp="1"/>
          </p:cNvSpPr>
          <p:nvPr>
            <p:ph type="body" sz="quarter" idx="21" hasCustomPrompt="1"/>
          </p:nvPr>
        </p:nvSpPr>
        <p:spPr>
          <a:xfrm>
            <a:off x="3710791" y="5182894"/>
            <a:ext cx="1774107" cy="422633"/>
          </a:xfrm>
        </p:spPr>
        <p:txBody>
          <a:bodyPr>
            <a:noAutofit/>
          </a:bodyPr>
          <a:lstStyle>
            <a:lvl1pPr marL="0" indent="0">
              <a:buNone/>
              <a:defRPr sz="1600" i="1">
                <a:solidFill>
                  <a:schemeClr val="tx2"/>
                </a:solidFill>
              </a:defRPr>
            </a:lvl1pPr>
          </a:lstStyle>
          <a:p>
            <a:pPr lvl="0"/>
            <a:r>
              <a:rPr lang="en-US"/>
              <a:t>Title</a:t>
            </a:r>
          </a:p>
        </p:txBody>
      </p:sp>
      <p:sp>
        <p:nvSpPr>
          <p:cNvPr id="25" name="Text Placeholder 15">
            <a:extLst>
              <a:ext uri="{FF2B5EF4-FFF2-40B4-BE49-F238E27FC236}">
                <a16:creationId xmlns:a16="http://schemas.microsoft.com/office/drawing/2014/main" id="{714532AB-4CA4-49E0-8DC8-0C7FFC7AC2A8}"/>
              </a:ext>
            </a:extLst>
          </p:cNvPr>
          <p:cNvSpPr>
            <a:spLocks noGrp="1"/>
          </p:cNvSpPr>
          <p:nvPr>
            <p:ph type="body" sz="quarter" idx="22" hasCustomPrompt="1"/>
          </p:nvPr>
        </p:nvSpPr>
        <p:spPr>
          <a:xfrm>
            <a:off x="6444429" y="5182894"/>
            <a:ext cx="1774107" cy="422633"/>
          </a:xfrm>
        </p:spPr>
        <p:txBody>
          <a:bodyPr>
            <a:noAutofit/>
          </a:bodyPr>
          <a:lstStyle>
            <a:lvl1pPr marL="0" indent="0">
              <a:buNone/>
              <a:defRPr sz="1600" i="1">
                <a:solidFill>
                  <a:schemeClr val="tx2"/>
                </a:solidFill>
              </a:defRPr>
            </a:lvl1pPr>
          </a:lstStyle>
          <a:p>
            <a:pPr lvl="0"/>
            <a:r>
              <a:rPr lang="en-US"/>
              <a:t>Title</a:t>
            </a:r>
          </a:p>
        </p:txBody>
      </p:sp>
      <p:sp>
        <p:nvSpPr>
          <p:cNvPr id="26" name="Text Placeholder 15">
            <a:extLst>
              <a:ext uri="{FF2B5EF4-FFF2-40B4-BE49-F238E27FC236}">
                <a16:creationId xmlns:a16="http://schemas.microsoft.com/office/drawing/2014/main" id="{09B69B05-F081-4FC3-90FE-6BC9194491AE}"/>
              </a:ext>
            </a:extLst>
          </p:cNvPr>
          <p:cNvSpPr>
            <a:spLocks noGrp="1"/>
          </p:cNvSpPr>
          <p:nvPr>
            <p:ph type="body" sz="quarter" idx="23" hasCustomPrompt="1"/>
          </p:nvPr>
        </p:nvSpPr>
        <p:spPr>
          <a:xfrm>
            <a:off x="9178067" y="5182894"/>
            <a:ext cx="1774107" cy="422633"/>
          </a:xfrm>
        </p:spPr>
        <p:txBody>
          <a:bodyPr>
            <a:noAutofit/>
          </a:bodyPr>
          <a:lstStyle>
            <a:lvl1pPr marL="0" indent="0">
              <a:buNone/>
              <a:defRPr sz="1600" i="1">
                <a:solidFill>
                  <a:schemeClr val="tx2"/>
                </a:solidFill>
              </a:defRPr>
            </a:lvl1pPr>
          </a:lstStyle>
          <a:p>
            <a:pPr lvl="0"/>
            <a:r>
              <a:rPr lang="en-US"/>
              <a:t>Title</a:t>
            </a:r>
          </a:p>
        </p:txBody>
      </p:sp>
      <p:sp>
        <p:nvSpPr>
          <p:cNvPr id="3" name="TextBox 2">
            <a:extLst>
              <a:ext uri="{FF2B5EF4-FFF2-40B4-BE49-F238E27FC236}">
                <a16:creationId xmlns:a16="http://schemas.microsoft.com/office/drawing/2014/main" id="{57C7D53C-4D9F-A7C5-D94B-AC4007A3BD9A}"/>
              </a:ext>
            </a:extLst>
          </p:cNvPr>
          <p:cNvSpPr txBox="1"/>
          <p:nvPr/>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tx2"/>
                </a:solidFill>
              </a:rPr>
              <a:pPr algn="r"/>
              <a:t>‹#›</a:t>
            </a:fld>
            <a:endParaRPr lang="en-US">
              <a:solidFill>
                <a:schemeClr val="tx2"/>
              </a:solidFill>
            </a:endParaRPr>
          </a:p>
        </p:txBody>
      </p:sp>
      <p:pic>
        <p:nvPicPr>
          <p:cNvPr id="5" name="Graphic 4">
            <a:extLst>
              <a:ext uri="{FF2B5EF4-FFF2-40B4-BE49-F238E27FC236}">
                <a16:creationId xmlns:a16="http://schemas.microsoft.com/office/drawing/2014/main" id="{4CB3D201-C5CF-3CFF-3975-A1826078CEC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259" y="6445777"/>
            <a:ext cx="530507" cy="157041"/>
          </a:xfrm>
          <a:prstGeom prst="rect">
            <a:avLst/>
          </a:prstGeom>
        </p:spPr>
      </p:pic>
      <p:sp>
        <p:nvSpPr>
          <p:cNvPr id="4" name="TextBox 3">
            <a:extLst>
              <a:ext uri="{FF2B5EF4-FFF2-40B4-BE49-F238E27FC236}">
                <a16:creationId xmlns:a16="http://schemas.microsoft.com/office/drawing/2014/main" id="{27D279A2-0E6B-A96D-0711-7B61C9D9D07A}"/>
              </a:ext>
            </a:extLst>
          </p:cNvPr>
          <p:cNvSpPr txBox="1"/>
          <p:nvPr userDrawn="1"/>
        </p:nvSpPr>
        <p:spPr>
          <a:xfrm>
            <a:off x="10751967" y="6439658"/>
            <a:ext cx="897774" cy="169277"/>
          </a:xfrm>
          <a:prstGeom prst="rect">
            <a:avLst/>
          </a:prstGeom>
          <a:noFill/>
        </p:spPr>
        <p:txBody>
          <a:bodyPr wrap="square" lIns="0" tIns="0" rIns="0" bIns="0" rtlCol="0" anchor="ctr">
            <a:spAutoFit/>
          </a:bodyPr>
          <a:lstStyle/>
          <a:p>
            <a:pPr algn="r"/>
            <a:fld id="{49C50C60-FC48-4D01-B31C-F950F1C34CF3}" type="slidenum">
              <a:rPr lang="en-US" sz="1100" smtClean="0">
                <a:solidFill>
                  <a:schemeClr val="tx2"/>
                </a:solidFill>
              </a:rPr>
              <a:pPr algn="r"/>
              <a:t>‹#›</a:t>
            </a:fld>
            <a:endParaRPr lang="en-US">
              <a:solidFill>
                <a:schemeClr val="tx2"/>
              </a:solidFill>
            </a:endParaRPr>
          </a:p>
        </p:txBody>
      </p:sp>
      <p:pic>
        <p:nvPicPr>
          <p:cNvPr id="6" name="Graphic 5">
            <a:extLst>
              <a:ext uri="{FF2B5EF4-FFF2-40B4-BE49-F238E27FC236}">
                <a16:creationId xmlns:a16="http://schemas.microsoft.com/office/drawing/2014/main" id="{A808294A-2A3C-BEF1-E8E9-5CD0669051C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259" y="6445777"/>
            <a:ext cx="530507" cy="157041"/>
          </a:xfrm>
          <a:prstGeom prst="rect">
            <a:avLst/>
          </a:prstGeom>
        </p:spPr>
      </p:pic>
      <p:sp>
        <p:nvSpPr>
          <p:cNvPr id="7" name="TextBox 6">
            <a:extLst>
              <a:ext uri="{FF2B5EF4-FFF2-40B4-BE49-F238E27FC236}">
                <a16:creationId xmlns:a16="http://schemas.microsoft.com/office/drawing/2014/main" id="{F3703D56-0429-DAE3-778C-BA06D38C47D3}"/>
              </a:ext>
            </a:extLst>
          </p:cNvPr>
          <p:cNvSpPr txBox="1"/>
          <p:nvPr userDrawn="1"/>
        </p:nvSpPr>
        <p:spPr>
          <a:xfrm>
            <a:off x="1285783" y="6375879"/>
            <a:ext cx="3379622" cy="276999"/>
          </a:xfrm>
          <a:prstGeom prst="rect">
            <a:avLst/>
          </a:prstGeom>
          <a:noFill/>
        </p:spPr>
        <p:txBody>
          <a:bodyPr wrap="square" rtlCol="0">
            <a:spAutoFit/>
          </a:bodyPr>
          <a:lstStyle/>
          <a:p>
            <a:pPr algn="l"/>
            <a:r>
              <a:rPr lang="en-US" sz="1200">
                <a:solidFill>
                  <a:schemeClr val="accent1"/>
                </a:solidFill>
              </a:rPr>
              <a:t>Creating Tomorrow, </a:t>
            </a:r>
            <a:r>
              <a:rPr lang="en-US" sz="1200" b="1">
                <a:solidFill>
                  <a:schemeClr val="accent1"/>
                </a:solidFill>
              </a:rPr>
              <a:t>Together</a:t>
            </a:r>
          </a:p>
        </p:txBody>
      </p:sp>
      <p:cxnSp>
        <p:nvCxnSpPr>
          <p:cNvPr id="8" name="Straight Connector 7">
            <a:extLst>
              <a:ext uri="{FF2B5EF4-FFF2-40B4-BE49-F238E27FC236}">
                <a16:creationId xmlns:a16="http://schemas.microsoft.com/office/drawing/2014/main" id="{7393B141-1DC8-D032-3668-15C66D62BAD1}"/>
              </a:ext>
            </a:extLst>
          </p:cNvPr>
          <p:cNvCxnSpPr>
            <a:cxnSpLocks/>
          </p:cNvCxnSpPr>
          <p:nvPr userDrawn="1"/>
        </p:nvCxnSpPr>
        <p:spPr>
          <a:xfrm>
            <a:off x="1215243" y="6377218"/>
            <a:ext cx="0" cy="27432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34872449-54F8-BC04-92A7-79467984C314}"/>
              </a:ext>
            </a:extLst>
          </p:cNvPr>
          <p:cNvSpPr/>
          <p:nvPr userDrawn="1"/>
        </p:nvSpPr>
        <p:spPr>
          <a:xfrm>
            <a:off x="0" y="0"/>
            <a:ext cx="12188952" cy="100584"/>
          </a:xfrm>
          <a:prstGeom prst="rect">
            <a:avLst/>
          </a:prstGeom>
          <a:gradFill>
            <a:gsLst>
              <a:gs pos="82000">
                <a:schemeClr val="accent5"/>
              </a:gs>
              <a:gs pos="0">
                <a:schemeClr val="accent1"/>
              </a:gs>
              <a:gs pos="44000">
                <a:schemeClr val="accent3"/>
              </a:gs>
              <a:gs pos="100000">
                <a:srgbClr val="EBDAA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80204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1 Cover (Teal/Green)">
    <p:bg>
      <p:bgPr>
        <a:solidFill>
          <a:schemeClr val="tx2"/>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F5A2BD3-B72F-344B-A30D-8C3365691ECB}"/>
              </a:ext>
            </a:extLst>
          </p:cNvPr>
          <p:cNvSpPr>
            <a:spLocks noGrp="1"/>
          </p:cNvSpPr>
          <p:nvPr>
            <p:ph type="body" sz="quarter" idx="10" hasCustomPrompt="1"/>
          </p:nvPr>
        </p:nvSpPr>
        <p:spPr>
          <a:xfrm>
            <a:off x="263525" y="1782234"/>
            <a:ext cx="7691438" cy="1462087"/>
          </a:xfrm>
        </p:spPr>
        <p:txBody>
          <a:bodyPr anchor="b" anchorCtr="0">
            <a:normAutofit/>
          </a:bodyPr>
          <a:lstStyle>
            <a:lvl1pPr>
              <a:defRPr sz="6000" b="1" i="0">
                <a:solidFill>
                  <a:schemeClr val="bg1"/>
                </a:solidFill>
                <a:latin typeface="Arial" panose="020B0604020202020204" pitchFamily="34" charset="0"/>
                <a:ea typeface="AECOM Sans" panose="020B0504020202020204" pitchFamily="34" charset="0"/>
                <a:cs typeface="Arial" panose="020B0604020202020204" pitchFamily="34" charset="0"/>
              </a:defRPr>
            </a:lvl1pPr>
          </a:lstStyle>
          <a:p>
            <a:pPr lvl="0"/>
            <a:r>
              <a:rPr lang="en-GB"/>
              <a:t>Presentation name</a:t>
            </a:r>
          </a:p>
        </p:txBody>
      </p:sp>
      <p:sp>
        <p:nvSpPr>
          <p:cNvPr id="8" name="Text Placeholder 4">
            <a:extLst>
              <a:ext uri="{FF2B5EF4-FFF2-40B4-BE49-F238E27FC236}">
                <a16:creationId xmlns:a16="http://schemas.microsoft.com/office/drawing/2014/main" id="{48B15545-CDE4-2D46-87A4-4286855F50B5}"/>
              </a:ext>
            </a:extLst>
          </p:cNvPr>
          <p:cNvSpPr>
            <a:spLocks noGrp="1"/>
          </p:cNvSpPr>
          <p:nvPr>
            <p:ph type="body" sz="quarter" idx="11" hasCustomPrompt="1"/>
          </p:nvPr>
        </p:nvSpPr>
        <p:spPr>
          <a:xfrm>
            <a:off x="263525" y="3608388"/>
            <a:ext cx="7691438" cy="1462087"/>
          </a:xfrm>
        </p:spPr>
        <p:txBody>
          <a:bodyPr anchor="t" anchorCtr="0">
            <a:normAutofit/>
          </a:bodyPr>
          <a:lstStyle>
            <a:lvl1pPr>
              <a:defRPr sz="2100" b="0" i="0">
                <a:solidFill>
                  <a:schemeClr val="bg1"/>
                </a:solidFill>
                <a:latin typeface="Arial" panose="020B0604020202020204" pitchFamily="34" charset="0"/>
                <a:ea typeface="AECOM Sans" panose="020B0504020202020204" pitchFamily="34" charset="0"/>
                <a:cs typeface="Arial" panose="020B0604020202020204" pitchFamily="34" charset="0"/>
              </a:defRPr>
            </a:lvl1pPr>
          </a:lstStyle>
          <a:p>
            <a:pPr lvl="0"/>
            <a:r>
              <a:rPr lang="en-GB"/>
              <a:t>Presentation description / </a:t>
            </a:r>
            <a:br>
              <a:rPr lang="en-GB"/>
            </a:br>
            <a:r>
              <a:rPr lang="en-GB"/>
              <a:t>event name</a:t>
            </a:r>
          </a:p>
        </p:txBody>
      </p:sp>
      <p:sp>
        <p:nvSpPr>
          <p:cNvPr id="9" name="Text Placeholder 4">
            <a:extLst>
              <a:ext uri="{FF2B5EF4-FFF2-40B4-BE49-F238E27FC236}">
                <a16:creationId xmlns:a16="http://schemas.microsoft.com/office/drawing/2014/main" id="{D1DFB937-D895-0545-8B74-E2AA56A85F9D}"/>
              </a:ext>
            </a:extLst>
          </p:cNvPr>
          <p:cNvSpPr>
            <a:spLocks noGrp="1"/>
          </p:cNvSpPr>
          <p:nvPr>
            <p:ph type="body" sz="quarter" idx="12" hasCustomPrompt="1"/>
          </p:nvPr>
        </p:nvSpPr>
        <p:spPr>
          <a:xfrm>
            <a:off x="263525" y="5187277"/>
            <a:ext cx="7691438" cy="581698"/>
          </a:xfrm>
        </p:spPr>
        <p:txBody>
          <a:bodyPr wrap="square" anchor="t" anchorCtr="0">
            <a:normAutofit/>
          </a:bodyPr>
          <a:lstStyle>
            <a:lvl1pPr>
              <a:lnSpc>
                <a:spcPct val="90000"/>
              </a:lnSpc>
              <a:spcBef>
                <a:spcPts val="0"/>
              </a:spcBef>
              <a:defRPr sz="2100" b="0" i="0">
                <a:solidFill>
                  <a:schemeClr val="bg1"/>
                </a:solidFill>
                <a:latin typeface="Arial" panose="020B0604020202020204" pitchFamily="34" charset="0"/>
                <a:ea typeface="AECOM Sans" panose="020B0504020202020204" pitchFamily="34" charset="0"/>
                <a:cs typeface="Arial" panose="020B0604020202020204" pitchFamily="34" charset="0"/>
              </a:defRPr>
            </a:lvl1pPr>
          </a:lstStyle>
          <a:p>
            <a:pPr lvl="0"/>
            <a:r>
              <a:rPr lang="en-GB"/>
              <a:t>Presenter name</a:t>
            </a:r>
          </a:p>
          <a:p>
            <a:pPr lvl="0"/>
            <a:r>
              <a:rPr lang="en-GB"/>
              <a:t>Title</a:t>
            </a:r>
          </a:p>
        </p:txBody>
      </p:sp>
      <p:sp>
        <p:nvSpPr>
          <p:cNvPr id="18" name="Graphic 15">
            <a:extLst>
              <a:ext uri="{FF2B5EF4-FFF2-40B4-BE49-F238E27FC236}">
                <a16:creationId xmlns:a16="http://schemas.microsoft.com/office/drawing/2014/main" id="{BEFFAC7F-2714-42A6-9E63-DCB81A449E00}"/>
              </a:ext>
            </a:extLst>
          </p:cNvPr>
          <p:cNvSpPr/>
          <p:nvPr userDrawn="1"/>
        </p:nvSpPr>
        <p:spPr>
          <a:xfrm>
            <a:off x="-77579" y="304799"/>
            <a:ext cx="10545554" cy="5310189"/>
          </a:xfrm>
          <a:custGeom>
            <a:avLst/>
            <a:gdLst>
              <a:gd name="connsiteX0" fmla="*/ 0 w 10731855"/>
              <a:gd name="connsiteY0" fmla="*/ 1571788 h 5191127"/>
              <a:gd name="connsiteX1" fmla="*/ 4277659 w 10731855"/>
              <a:gd name="connsiteY1" fmla="*/ 0 h 5191127"/>
              <a:gd name="connsiteX2" fmla="*/ 10731856 w 10731855"/>
              <a:gd name="connsiteY2" fmla="*/ 5191128 h 5191127"/>
            </a:gdLst>
            <a:ahLst/>
            <a:cxnLst>
              <a:cxn ang="0">
                <a:pos x="connsiteX0" y="connsiteY0"/>
              </a:cxn>
              <a:cxn ang="0">
                <a:pos x="connsiteX1" y="connsiteY1"/>
              </a:cxn>
              <a:cxn ang="0">
                <a:pos x="connsiteX2" y="connsiteY2"/>
              </a:cxn>
            </a:cxnLst>
            <a:rect l="l" t="t" r="r" b="b"/>
            <a:pathLst>
              <a:path w="10731855" h="5191127">
                <a:moveTo>
                  <a:pt x="0" y="1571788"/>
                </a:moveTo>
                <a:cubicBezTo>
                  <a:pt x="1152409" y="591359"/>
                  <a:pt x="2645960" y="0"/>
                  <a:pt x="4277659" y="0"/>
                </a:cubicBezTo>
                <a:cubicBezTo>
                  <a:pt x="7440265" y="0"/>
                  <a:pt x="10084110" y="2222353"/>
                  <a:pt x="10731856" y="5191128"/>
                </a:cubicBezTo>
              </a:path>
            </a:pathLst>
          </a:custGeom>
          <a:noFill/>
          <a:ln w="114300" cap="flat">
            <a:solidFill>
              <a:schemeClr val="accent2"/>
            </a:solidFill>
            <a:prstDash val="solid"/>
            <a:miter/>
          </a:ln>
        </p:spPr>
        <p:txBody>
          <a:bodyPr rtlCol="0" anchor="ctr"/>
          <a:lstStyle/>
          <a:p>
            <a:r>
              <a:rPr lang="en-US"/>
              <a:t> </a:t>
            </a:r>
          </a:p>
        </p:txBody>
      </p:sp>
      <p:sp>
        <p:nvSpPr>
          <p:cNvPr id="16" name="Freeform: Shape 15">
            <a:extLst>
              <a:ext uri="{FF2B5EF4-FFF2-40B4-BE49-F238E27FC236}">
                <a16:creationId xmlns:a16="http://schemas.microsoft.com/office/drawing/2014/main" id="{D7DC9E1A-9CB0-4713-A7A7-37669D880768}"/>
              </a:ext>
            </a:extLst>
          </p:cNvPr>
          <p:cNvSpPr/>
          <p:nvPr userDrawn="1"/>
        </p:nvSpPr>
        <p:spPr>
          <a:xfrm>
            <a:off x="292100" y="6416265"/>
            <a:ext cx="2147637" cy="201600"/>
          </a:xfrm>
          <a:custGeom>
            <a:avLst/>
            <a:gdLst>
              <a:gd name="connsiteX0" fmla="*/ 57150 w 1227772"/>
              <a:gd name="connsiteY0" fmla="*/ 42863 h 115252"/>
              <a:gd name="connsiteX1" fmla="*/ 25718 w 1227772"/>
              <a:gd name="connsiteY1" fmla="*/ 80010 h 115252"/>
              <a:gd name="connsiteX2" fmla="*/ 20955 w 1227772"/>
              <a:gd name="connsiteY2" fmla="*/ 80010 h 115252"/>
              <a:gd name="connsiteX3" fmla="*/ 20955 w 1227772"/>
              <a:gd name="connsiteY3" fmla="*/ 4763 h 115252"/>
              <a:gd name="connsiteX4" fmla="*/ 23813 w 1227772"/>
              <a:gd name="connsiteY4" fmla="*/ 4763 h 115252"/>
              <a:gd name="connsiteX5" fmla="*/ 57150 w 1227772"/>
              <a:gd name="connsiteY5" fmla="*/ 42863 h 115252"/>
              <a:gd name="connsiteX6" fmla="*/ 70485 w 1227772"/>
              <a:gd name="connsiteY6" fmla="*/ 43815 h 115252"/>
              <a:gd name="connsiteX7" fmla="*/ 27622 w 1227772"/>
              <a:gd name="connsiteY7" fmla="*/ 0 h 115252"/>
              <a:gd name="connsiteX8" fmla="*/ 0 w 1227772"/>
              <a:gd name="connsiteY8" fmla="*/ 0 h 115252"/>
              <a:gd name="connsiteX9" fmla="*/ 0 w 1227772"/>
              <a:gd name="connsiteY9" fmla="*/ 4763 h 115252"/>
              <a:gd name="connsiteX10" fmla="*/ 9525 w 1227772"/>
              <a:gd name="connsiteY10" fmla="*/ 5715 h 115252"/>
              <a:gd name="connsiteX11" fmla="*/ 9525 w 1227772"/>
              <a:gd name="connsiteY11" fmla="*/ 80963 h 115252"/>
              <a:gd name="connsiteX12" fmla="*/ 0 w 1227772"/>
              <a:gd name="connsiteY12" fmla="*/ 81915 h 115252"/>
              <a:gd name="connsiteX13" fmla="*/ 0 w 1227772"/>
              <a:gd name="connsiteY13" fmla="*/ 86677 h 115252"/>
              <a:gd name="connsiteX14" fmla="*/ 24765 w 1227772"/>
              <a:gd name="connsiteY14" fmla="*/ 86677 h 115252"/>
              <a:gd name="connsiteX15" fmla="*/ 70485 w 1227772"/>
              <a:gd name="connsiteY15" fmla="*/ 43815 h 115252"/>
              <a:gd name="connsiteX16" fmla="*/ 116205 w 1227772"/>
              <a:gd name="connsiteY16" fmla="*/ 50483 h 115252"/>
              <a:gd name="connsiteX17" fmla="*/ 91440 w 1227772"/>
              <a:gd name="connsiteY17" fmla="*/ 50483 h 115252"/>
              <a:gd name="connsiteX18" fmla="*/ 104775 w 1227772"/>
              <a:gd name="connsiteY18" fmla="*/ 32385 h 115252"/>
              <a:gd name="connsiteX19" fmla="*/ 115253 w 1227772"/>
              <a:gd name="connsiteY19" fmla="*/ 48577 h 115252"/>
              <a:gd name="connsiteX20" fmla="*/ 115253 w 1227772"/>
              <a:gd name="connsiteY20" fmla="*/ 50483 h 115252"/>
              <a:gd name="connsiteX21" fmla="*/ 126682 w 1227772"/>
              <a:gd name="connsiteY21" fmla="*/ 57150 h 115252"/>
              <a:gd name="connsiteX22" fmla="*/ 126682 w 1227772"/>
              <a:gd name="connsiteY22" fmla="*/ 52388 h 115252"/>
              <a:gd name="connsiteX23" fmla="*/ 104775 w 1227772"/>
              <a:gd name="connsiteY23" fmla="*/ 27623 h 115252"/>
              <a:gd name="connsiteX24" fmla="*/ 79057 w 1227772"/>
              <a:gd name="connsiteY24" fmla="*/ 58102 h 115252"/>
              <a:gd name="connsiteX25" fmla="*/ 103822 w 1227772"/>
              <a:gd name="connsiteY25" fmla="*/ 86677 h 115252"/>
              <a:gd name="connsiteX26" fmla="*/ 125730 w 1227772"/>
              <a:gd name="connsiteY26" fmla="*/ 71438 h 115252"/>
              <a:gd name="connsiteX27" fmla="*/ 120968 w 1227772"/>
              <a:gd name="connsiteY27" fmla="*/ 69533 h 115252"/>
              <a:gd name="connsiteX28" fmla="*/ 106680 w 1227772"/>
              <a:gd name="connsiteY28" fmla="*/ 79058 h 115252"/>
              <a:gd name="connsiteX29" fmla="*/ 91440 w 1227772"/>
              <a:gd name="connsiteY29" fmla="*/ 56198 h 115252"/>
              <a:gd name="connsiteX30" fmla="*/ 126682 w 1227772"/>
              <a:gd name="connsiteY30" fmla="*/ 56198 h 115252"/>
              <a:gd name="connsiteX31" fmla="*/ 132397 w 1227772"/>
              <a:gd name="connsiteY31" fmla="*/ 85725 h 115252"/>
              <a:gd name="connsiteX32" fmla="*/ 159068 w 1227772"/>
              <a:gd name="connsiteY32" fmla="*/ 85725 h 115252"/>
              <a:gd name="connsiteX33" fmla="*/ 159068 w 1227772"/>
              <a:gd name="connsiteY33" fmla="*/ 80963 h 115252"/>
              <a:gd name="connsiteX34" fmla="*/ 150495 w 1227772"/>
              <a:gd name="connsiteY34" fmla="*/ 80010 h 115252"/>
              <a:gd name="connsiteX35" fmla="*/ 150495 w 1227772"/>
              <a:gd name="connsiteY35" fmla="*/ 0 h 115252"/>
              <a:gd name="connsiteX36" fmla="*/ 131445 w 1227772"/>
              <a:gd name="connsiteY36" fmla="*/ 0 h 115252"/>
              <a:gd name="connsiteX37" fmla="*/ 131445 w 1227772"/>
              <a:gd name="connsiteY37" fmla="*/ 4763 h 115252"/>
              <a:gd name="connsiteX38" fmla="*/ 139065 w 1227772"/>
              <a:gd name="connsiteY38" fmla="*/ 5715 h 115252"/>
              <a:gd name="connsiteX39" fmla="*/ 139065 w 1227772"/>
              <a:gd name="connsiteY39" fmla="*/ 80010 h 115252"/>
              <a:gd name="connsiteX40" fmla="*/ 131445 w 1227772"/>
              <a:gd name="connsiteY40" fmla="*/ 80963 h 115252"/>
              <a:gd name="connsiteX41" fmla="*/ 131445 w 1227772"/>
              <a:gd name="connsiteY41" fmla="*/ 85725 h 115252"/>
              <a:gd name="connsiteX42" fmla="*/ 185738 w 1227772"/>
              <a:gd name="connsiteY42" fmla="*/ 12383 h 115252"/>
              <a:gd name="connsiteX43" fmla="*/ 178118 w 1227772"/>
              <a:gd name="connsiteY43" fmla="*/ 5715 h 115252"/>
              <a:gd name="connsiteX44" fmla="*/ 171450 w 1227772"/>
              <a:gd name="connsiteY44" fmla="*/ 12383 h 115252"/>
              <a:gd name="connsiteX45" fmla="*/ 178118 w 1227772"/>
              <a:gd name="connsiteY45" fmla="*/ 19050 h 115252"/>
              <a:gd name="connsiteX46" fmla="*/ 185738 w 1227772"/>
              <a:gd name="connsiteY46" fmla="*/ 12383 h 115252"/>
              <a:gd name="connsiteX47" fmla="*/ 166688 w 1227772"/>
              <a:gd name="connsiteY47" fmla="*/ 85725 h 115252"/>
              <a:gd name="connsiteX48" fmla="*/ 194310 w 1227772"/>
              <a:gd name="connsiteY48" fmla="*/ 85725 h 115252"/>
              <a:gd name="connsiteX49" fmla="*/ 194310 w 1227772"/>
              <a:gd name="connsiteY49" fmla="*/ 80963 h 115252"/>
              <a:gd name="connsiteX50" fmla="*/ 185738 w 1227772"/>
              <a:gd name="connsiteY50" fmla="*/ 80010 h 115252"/>
              <a:gd name="connsiteX51" fmla="*/ 185738 w 1227772"/>
              <a:gd name="connsiteY51" fmla="*/ 28575 h 115252"/>
              <a:gd name="connsiteX52" fmla="*/ 166688 w 1227772"/>
              <a:gd name="connsiteY52" fmla="*/ 28575 h 115252"/>
              <a:gd name="connsiteX53" fmla="*/ 166688 w 1227772"/>
              <a:gd name="connsiteY53" fmla="*/ 33338 h 115252"/>
              <a:gd name="connsiteX54" fmla="*/ 175260 w 1227772"/>
              <a:gd name="connsiteY54" fmla="*/ 34290 h 115252"/>
              <a:gd name="connsiteX55" fmla="*/ 175260 w 1227772"/>
              <a:gd name="connsiteY55" fmla="*/ 80963 h 115252"/>
              <a:gd name="connsiteX56" fmla="*/ 166688 w 1227772"/>
              <a:gd name="connsiteY56" fmla="*/ 81915 h 115252"/>
              <a:gd name="connsiteX57" fmla="*/ 166688 w 1227772"/>
              <a:gd name="connsiteY57" fmla="*/ 85725 h 115252"/>
              <a:gd name="connsiteX58" fmla="*/ 244793 w 1227772"/>
              <a:gd name="connsiteY58" fmla="*/ 33338 h 115252"/>
              <a:gd name="connsiteX59" fmla="*/ 250507 w 1227772"/>
              <a:gd name="connsiteY59" fmla="*/ 33338 h 115252"/>
              <a:gd name="connsiteX60" fmla="*/ 250507 w 1227772"/>
              <a:gd name="connsiteY60" fmla="*/ 28575 h 115252"/>
              <a:gd name="connsiteX61" fmla="*/ 230505 w 1227772"/>
              <a:gd name="connsiteY61" fmla="*/ 28575 h 115252"/>
              <a:gd name="connsiteX62" fmla="*/ 230505 w 1227772"/>
              <a:gd name="connsiteY62" fmla="*/ 33338 h 115252"/>
              <a:gd name="connsiteX63" fmla="*/ 238125 w 1227772"/>
              <a:gd name="connsiteY63" fmla="*/ 33338 h 115252"/>
              <a:gd name="connsiteX64" fmla="*/ 224790 w 1227772"/>
              <a:gd name="connsiteY64" fmla="*/ 73342 h 115252"/>
              <a:gd name="connsiteX65" fmla="*/ 211455 w 1227772"/>
              <a:gd name="connsiteY65" fmla="*/ 33338 h 115252"/>
              <a:gd name="connsiteX66" fmla="*/ 219075 w 1227772"/>
              <a:gd name="connsiteY66" fmla="*/ 33338 h 115252"/>
              <a:gd name="connsiteX67" fmla="*/ 219075 w 1227772"/>
              <a:gd name="connsiteY67" fmla="*/ 28575 h 115252"/>
              <a:gd name="connsiteX68" fmla="*/ 194310 w 1227772"/>
              <a:gd name="connsiteY68" fmla="*/ 28575 h 115252"/>
              <a:gd name="connsiteX69" fmla="*/ 194310 w 1227772"/>
              <a:gd name="connsiteY69" fmla="*/ 33338 h 115252"/>
              <a:gd name="connsiteX70" fmla="*/ 199072 w 1227772"/>
              <a:gd name="connsiteY70" fmla="*/ 33338 h 115252"/>
              <a:gd name="connsiteX71" fmla="*/ 217170 w 1227772"/>
              <a:gd name="connsiteY71" fmla="*/ 85725 h 115252"/>
              <a:gd name="connsiteX72" fmla="*/ 225743 w 1227772"/>
              <a:gd name="connsiteY72" fmla="*/ 85725 h 115252"/>
              <a:gd name="connsiteX73" fmla="*/ 244793 w 1227772"/>
              <a:gd name="connsiteY73" fmla="*/ 33338 h 115252"/>
              <a:gd name="connsiteX74" fmla="*/ 289560 w 1227772"/>
              <a:gd name="connsiteY74" fmla="*/ 50483 h 115252"/>
              <a:gd name="connsiteX75" fmla="*/ 264795 w 1227772"/>
              <a:gd name="connsiteY75" fmla="*/ 50483 h 115252"/>
              <a:gd name="connsiteX76" fmla="*/ 278130 w 1227772"/>
              <a:gd name="connsiteY76" fmla="*/ 32385 h 115252"/>
              <a:gd name="connsiteX77" fmla="*/ 288607 w 1227772"/>
              <a:gd name="connsiteY77" fmla="*/ 48577 h 115252"/>
              <a:gd name="connsiteX78" fmla="*/ 288607 w 1227772"/>
              <a:gd name="connsiteY78" fmla="*/ 50483 h 115252"/>
              <a:gd name="connsiteX79" fmla="*/ 300038 w 1227772"/>
              <a:gd name="connsiteY79" fmla="*/ 57150 h 115252"/>
              <a:gd name="connsiteX80" fmla="*/ 300038 w 1227772"/>
              <a:gd name="connsiteY80" fmla="*/ 52388 h 115252"/>
              <a:gd name="connsiteX81" fmla="*/ 278130 w 1227772"/>
              <a:gd name="connsiteY81" fmla="*/ 27623 h 115252"/>
              <a:gd name="connsiteX82" fmla="*/ 252413 w 1227772"/>
              <a:gd name="connsiteY82" fmla="*/ 58102 h 115252"/>
              <a:gd name="connsiteX83" fmla="*/ 277178 w 1227772"/>
              <a:gd name="connsiteY83" fmla="*/ 86677 h 115252"/>
              <a:gd name="connsiteX84" fmla="*/ 299085 w 1227772"/>
              <a:gd name="connsiteY84" fmla="*/ 71438 h 115252"/>
              <a:gd name="connsiteX85" fmla="*/ 294322 w 1227772"/>
              <a:gd name="connsiteY85" fmla="*/ 69533 h 115252"/>
              <a:gd name="connsiteX86" fmla="*/ 280035 w 1227772"/>
              <a:gd name="connsiteY86" fmla="*/ 79058 h 115252"/>
              <a:gd name="connsiteX87" fmla="*/ 264795 w 1227772"/>
              <a:gd name="connsiteY87" fmla="*/ 56198 h 115252"/>
              <a:gd name="connsiteX88" fmla="*/ 300038 w 1227772"/>
              <a:gd name="connsiteY88" fmla="*/ 56198 h 115252"/>
              <a:gd name="connsiteX89" fmla="*/ 352425 w 1227772"/>
              <a:gd name="connsiteY89" fmla="*/ 38100 h 115252"/>
              <a:gd name="connsiteX90" fmla="*/ 340995 w 1227772"/>
              <a:gd name="connsiteY90" fmla="*/ 27623 h 115252"/>
              <a:gd name="connsiteX91" fmla="*/ 324803 w 1227772"/>
              <a:gd name="connsiteY91" fmla="*/ 38100 h 115252"/>
              <a:gd name="connsiteX92" fmla="*/ 323850 w 1227772"/>
              <a:gd name="connsiteY92" fmla="*/ 28575 h 115252"/>
              <a:gd name="connsiteX93" fmla="*/ 307657 w 1227772"/>
              <a:gd name="connsiteY93" fmla="*/ 28575 h 115252"/>
              <a:gd name="connsiteX94" fmla="*/ 307657 w 1227772"/>
              <a:gd name="connsiteY94" fmla="*/ 33338 h 115252"/>
              <a:gd name="connsiteX95" fmla="*/ 315278 w 1227772"/>
              <a:gd name="connsiteY95" fmla="*/ 34290 h 115252"/>
              <a:gd name="connsiteX96" fmla="*/ 315278 w 1227772"/>
              <a:gd name="connsiteY96" fmla="*/ 80963 h 115252"/>
              <a:gd name="connsiteX97" fmla="*/ 307657 w 1227772"/>
              <a:gd name="connsiteY97" fmla="*/ 81915 h 115252"/>
              <a:gd name="connsiteX98" fmla="*/ 307657 w 1227772"/>
              <a:gd name="connsiteY98" fmla="*/ 86677 h 115252"/>
              <a:gd name="connsiteX99" fmla="*/ 338138 w 1227772"/>
              <a:gd name="connsiteY99" fmla="*/ 86677 h 115252"/>
              <a:gd name="connsiteX100" fmla="*/ 338138 w 1227772"/>
              <a:gd name="connsiteY100" fmla="*/ 81915 h 115252"/>
              <a:gd name="connsiteX101" fmla="*/ 325755 w 1227772"/>
              <a:gd name="connsiteY101" fmla="*/ 80963 h 115252"/>
              <a:gd name="connsiteX102" fmla="*/ 325755 w 1227772"/>
              <a:gd name="connsiteY102" fmla="*/ 49530 h 115252"/>
              <a:gd name="connsiteX103" fmla="*/ 337185 w 1227772"/>
              <a:gd name="connsiteY103" fmla="*/ 35242 h 115252"/>
              <a:gd name="connsiteX104" fmla="*/ 340995 w 1227772"/>
              <a:gd name="connsiteY104" fmla="*/ 38100 h 115252"/>
              <a:gd name="connsiteX105" fmla="*/ 340995 w 1227772"/>
              <a:gd name="connsiteY105" fmla="*/ 39052 h 115252"/>
              <a:gd name="connsiteX106" fmla="*/ 337185 w 1227772"/>
              <a:gd name="connsiteY106" fmla="*/ 40958 h 115252"/>
              <a:gd name="connsiteX107" fmla="*/ 344805 w 1227772"/>
              <a:gd name="connsiteY107" fmla="*/ 48577 h 115252"/>
              <a:gd name="connsiteX108" fmla="*/ 352425 w 1227772"/>
              <a:gd name="connsiteY108" fmla="*/ 38100 h 115252"/>
              <a:gd name="connsiteX109" fmla="*/ 378143 w 1227772"/>
              <a:gd name="connsiteY109" fmla="*/ 12383 h 115252"/>
              <a:gd name="connsiteX110" fmla="*/ 370522 w 1227772"/>
              <a:gd name="connsiteY110" fmla="*/ 5715 h 115252"/>
              <a:gd name="connsiteX111" fmla="*/ 363855 w 1227772"/>
              <a:gd name="connsiteY111" fmla="*/ 12383 h 115252"/>
              <a:gd name="connsiteX112" fmla="*/ 370522 w 1227772"/>
              <a:gd name="connsiteY112" fmla="*/ 19050 h 115252"/>
              <a:gd name="connsiteX113" fmla="*/ 378143 w 1227772"/>
              <a:gd name="connsiteY113" fmla="*/ 12383 h 115252"/>
              <a:gd name="connsiteX114" fmla="*/ 358140 w 1227772"/>
              <a:gd name="connsiteY114" fmla="*/ 85725 h 115252"/>
              <a:gd name="connsiteX115" fmla="*/ 385763 w 1227772"/>
              <a:gd name="connsiteY115" fmla="*/ 85725 h 115252"/>
              <a:gd name="connsiteX116" fmla="*/ 385763 w 1227772"/>
              <a:gd name="connsiteY116" fmla="*/ 80963 h 115252"/>
              <a:gd name="connsiteX117" fmla="*/ 377190 w 1227772"/>
              <a:gd name="connsiteY117" fmla="*/ 80010 h 115252"/>
              <a:gd name="connsiteX118" fmla="*/ 377190 w 1227772"/>
              <a:gd name="connsiteY118" fmla="*/ 28575 h 115252"/>
              <a:gd name="connsiteX119" fmla="*/ 358140 w 1227772"/>
              <a:gd name="connsiteY119" fmla="*/ 28575 h 115252"/>
              <a:gd name="connsiteX120" fmla="*/ 358140 w 1227772"/>
              <a:gd name="connsiteY120" fmla="*/ 33338 h 115252"/>
              <a:gd name="connsiteX121" fmla="*/ 366713 w 1227772"/>
              <a:gd name="connsiteY121" fmla="*/ 34290 h 115252"/>
              <a:gd name="connsiteX122" fmla="*/ 366713 w 1227772"/>
              <a:gd name="connsiteY122" fmla="*/ 80963 h 115252"/>
              <a:gd name="connsiteX123" fmla="*/ 358140 w 1227772"/>
              <a:gd name="connsiteY123" fmla="*/ 81915 h 115252"/>
              <a:gd name="connsiteX124" fmla="*/ 358140 w 1227772"/>
              <a:gd name="connsiteY124" fmla="*/ 85725 h 115252"/>
              <a:gd name="connsiteX125" fmla="*/ 429578 w 1227772"/>
              <a:gd name="connsiteY125" fmla="*/ 85725 h 115252"/>
              <a:gd name="connsiteX126" fmla="*/ 455295 w 1227772"/>
              <a:gd name="connsiteY126" fmla="*/ 85725 h 115252"/>
              <a:gd name="connsiteX127" fmla="*/ 455295 w 1227772"/>
              <a:gd name="connsiteY127" fmla="*/ 80963 h 115252"/>
              <a:gd name="connsiteX128" fmla="*/ 447675 w 1227772"/>
              <a:gd name="connsiteY128" fmla="*/ 80010 h 115252"/>
              <a:gd name="connsiteX129" fmla="*/ 447675 w 1227772"/>
              <a:gd name="connsiteY129" fmla="*/ 46673 h 115252"/>
              <a:gd name="connsiteX130" fmla="*/ 430530 w 1227772"/>
              <a:gd name="connsiteY130" fmla="*/ 27623 h 115252"/>
              <a:gd name="connsiteX131" fmla="*/ 410528 w 1227772"/>
              <a:gd name="connsiteY131" fmla="*/ 38100 h 115252"/>
              <a:gd name="connsiteX132" fmla="*/ 409575 w 1227772"/>
              <a:gd name="connsiteY132" fmla="*/ 28575 h 115252"/>
              <a:gd name="connsiteX133" fmla="*/ 393382 w 1227772"/>
              <a:gd name="connsiteY133" fmla="*/ 28575 h 115252"/>
              <a:gd name="connsiteX134" fmla="*/ 393382 w 1227772"/>
              <a:gd name="connsiteY134" fmla="*/ 33338 h 115252"/>
              <a:gd name="connsiteX135" fmla="*/ 401003 w 1227772"/>
              <a:gd name="connsiteY135" fmla="*/ 34290 h 115252"/>
              <a:gd name="connsiteX136" fmla="*/ 401003 w 1227772"/>
              <a:gd name="connsiteY136" fmla="*/ 80963 h 115252"/>
              <a:gd name="connsiteX137" fmla="*/ 393382 w 1227772"/>
              <a:gd name="connsiteY137" fmla="*/ 81915 h 115252"/>
              <a:gd name="connsiteX138" fmla="*/ 393382 w 1227772"/>
              <a:gd name="connsiteY138" fmla="*/ 86677 h 115252"/>
              <a:gd name="connsiteX139" fmla="*/ 419100 w 1227772"/>
              <a:gd name="connsiteY139" fmla="*/ 86677 h 115252"/>
              <a:gd name="connsiteX140" fmla="*/ 419100 w 1227772"/>
              <a:gd name="connsiteY140" fmla="*/ 81915 h 115252"/>
              <a:gd name="connsiteX141" fmla="*/ 411480 w 1227772"/>
              <a:gd name="connsiteY141" fmla="*/ 80963 h 115252"/>
              <a:gd name="connsiteX142" fmla="*/ 411480 w 1227772"/>
              <a:gd name="connsiteY142" fmla="*/ 50483 h 115252"/>
              <a:gd name="connsiteX143" fmla="*/ 425768 w 1227772"/>
              <a:gd name="connsiteY143" fmla="*/ 36195 h 115252"/>
              <a:gd name="connsiteX144" fmla="*/ 436245 w 1227772"/>
              <a:gd name="connsiteY144" fmla="*/ 48577 h 115252"/>
              <a:gd name="connsiteX145" fmla="*/ 436245 w 1227772"/>
              <a:gd name="connsiteY145" fmla="*/ 81915 h 115252"/>
              <a:gd name="connsiteX146" fmla="*/ 428625 w 1227772"/>
              <a:gd name="connsiteY146" fmla="*/ 82867 h 115252"/>
              <a:gd name="connsiteX147" fmla="*/ 428625 w 1227772"/>
              <a:gd name="connsiteY147" fmla="*/ 85725 h 115252"/>
              <a:gd name="connsiteX148" fmla="*/ 484822 w 1227772"/>
              <a:gd name="connsiteY148" fmla="*/ 87630 h 115252"/>
              <a:gd name="connsiteX149" fmla="*/ 501015 w 1227772"/>
              <a:gd name="connsiteY149" fmla="*/ 96202 h 115252"/>
              <a:gd name="connsiteX150" fmla="*/ 484822 w 1227772"/>
              <a:gd name="connsiteY150" fmla="*/ 107633 h 115252"/>
              <a:gd name="connsiteX151" fmla="*/ 466725 w 1227772"/>
              <a:gd name="connsiteY151" fmla="*/ 97155 h 115252"/>
              <a:gd name="connsiteX152" fmla="*/ 469582 w 1227772"/>
              <a:gd name="connsiteY152" fmla="*/ 87630 h 115252"/>
              <a:gd name="connsiteX153" fmla="*/ 484822 w 1227772"/>
              <a:gd name="connsiteY153" fmla="*/ 87630 h 115252"/>
              <a:gd name="connsiteX154" fmla="*/ 471488 w 1227772"/>
              <a:gd name="connsiteY154" fmla="*/ 46673 h 115252"/>
              <a:gd name="connsiteX155" fmla="*/ 481965 w 1227772"/>
              <a:gd name="connsiteY155" fmla="*/ 31433 h 115252"/>
              <a:gd name="connsiteX156" fmla="*/ 492443 w 1227772"/>
              <a:gd name="connsiteY156" fmla="*/ 46673 h 115252"/>
              <a:gd name="connsiteX157" fmla="*/ 481965 w 1227772"/>
              <a:gd name="connsiteY157" fmla="*/ 62865 h 115252"/>
              <a:gd name="connsiteX158" fmla="*/ 471488 w 1227772"/>
              <a:gd name="connsiteY158" fmla="*/ 46673 h 115252"/>
              <a:gd name="connsiteX159" fmla="*/ 471488 w 1227772"/>
              <a:gd name="connsiteY159" fmla="*/ 74295 h 115252"/>
              <a:gd name="connsiteX160" fmla="*/ 477203 w 1227772"/>
              <a:gd name="connsiteY160" fmla="*/ 67627 h 115252"/>
              <a:gd name="connsiteX161" fmla="*/ 483870 w 1227772"/>
              <a:gd name="connsiteY161" fmla="*/ 68580 h 115252"/>
              <a:gd name="connsiteX162" fmla="*/ 504825 w 1227772"/>
              <a:gd name="connsiteY162" fmla="*/ 47625 h 115252"/>
              <a:gd name="connsiteX163" fmla="*/ 499110 w 1227772"/>
              <a:gd name="connsiteY163" fmla="*/ 33338 h 115252"/>
              <a:gd name="connsiteX164" fmla="*/ 509588 w 1227772"/>
              <a:gd name="connsiteY164" fmla="*/ 31433 h 115252"/>
              <a:gd name="connsiteX165" fmla="*/ 509588 w 1227772"/>
              <a:gd name="connsiteY165" fmla="*/ 24765 h 115252"/>
              <a:gd name="connsiteX166" fmla="*/ 505778 w 1227772"/>
              <a:gd name="connsiteY166" fmla="*/ 23813 h 115252"/>
              <a:gd name="connsiteX167" fmla="*/ 495300 w 1227772"/>
              <a:gd name="connsiteY167" fmla="*/ 29527 h 115252"/>
              <a:gd name="connsiteX168" fmla="*/ 482918 w 1227772"/>
              <a:gd name="connsiteY168" fmla="*/ 26670 h 115252"/>
              <a:gd name="connsiteX169" fmla="*/ 460057 w 1227772"/>
              <a:gd name="connsiteY169" fmla="*/ 48577 h 115252"/>
              <a:gd name="connsiteX170" fmla="*/ 470535 w 1227772"/>
              <a:gd name="connsiteY170" fmla="*/ 66675 h 115252"/>
              <a:gd name="connsiteX171" fmla="*/ 460057 w 1227772"/>
              <a:gd name="connsiteY171" fmla="*/ 80010 h 115252"/>
              <a:gd name="connsiteX172" fmla="*/ 463868 w 1227772"/>
              <a:gd name="connsiteY172" fmla="*/ 86677 h 115252"/>
              <a:gd name="connsiteX173" fmla="*/ 456247 w 1227772"/>
              <a:gd name="connsiteY173" fmla="*/ 100965 h 115252"/>
              <a:gd name="connsiteX174" fmla="*/ 481013 w 1227772"/>
              <a:gd name="connsiteY174" fmla="*/ 115252 h 115252"/>
              <a:gd name="connsiteX175" fmla="*/ 508635 w 1227772"/>
              <a:gd name="connsiteY175" fmla="*/ 95250 h 115252"/>
              <a:gd name="connsiteX176" fmla="*/ 485775 w 1227772"/>
              <a:gd name="connsiteY176" fmla="*/ 78105 h 115252"/>
              <a:gd name="connsiteX177" fmla="*/ 475297 w 1227772"/>
              <a:gd name="connsiteY177" fmla="*/ 78105 h 115252"/>
              <a:gd name="connsiteX178" fmla="*/ 471488 w 1227772"/>
              <a:gd name="connsiteY178" fmla="*/ 74295 h 115252"/>
              <a:gd name="connsiteX179" fmla="*/ 572453 w 1227772"/>
              <a:gd name="connsiteY179" fmla="*/ 69533 h 115252"/>
              <a:gd name="connsiteX180" fmla="*/ 561022 w 1227772"/>
              <a:gd name="connsiteY180" fmla="*/ 80010 h 115252"/>
              <a:gd name="connsiteX181" fmla="*/ 553403 w 1227772"/>
              <a:gd name="connsiteY181" fmla="*/ 70485 h 115252"/>
              <a:gd name="connsiteX182" fmla="*/ 566738 w 1227772"/>
              <a:gd name="connsiteY182" fmla="*/ 59055 h 115252"/>
              <a:gd name="connsiteX183" fmla="*/ 572453 w 1227772"/>
              <a:gd name="connsiteY183" fmla="*/ 59055 h 115252"/>
              <a:gd name="connsiteX184" fmla="*/ 572453 w 1227772"/>
              <a:gd name="connsiteY184" fmla="*/ 69533 h 115252"/>
              <a:gd name="connsiteX185" fmla="*/ 583882 w 1227772"/>
              <a:gd name="connsiteY185" fmla="*/ 86677 h 115252"/>
              <a:gd name="connsiteX186" fmla="*/ 592455 w 1227772"/>
              <a:gd name="connsiteY186" fmla="*/ 84773 h 115252"/>
              <a:gd name="connsiteX187" fmla="*/ 591503 w 1227772"/>
              <a:gd name="connsiteY187" fmla="*/ 80963 h 115252"/>
              <a:gd name="connsiteX188" fmla="*/ 587693 w 1227772"/>
              <a:gd name="connsiteY188" fmla="*/ 81915 h 115252"/>
              <a:gd name="connsiteX189" fmla="*/ 583882 w 1227772"/>
              <a:gd name="connsiteY189" fmla="*/ 75248 h 115252"/>
              <a:gd name="connsiteX190" fmla="*/ 583882 w 1227772"/>
              <a:gd name="connsiteY190" fmla="*/ 49530 h 115252"/>
              <a:gd name="connsiteX191" fmla="*/ 563880 w 1227772"/>
              <a:gd name="connsiteY191" fmla="*/ 27623 h 115252"/>
              <a:gd name="connsiteX192" fmla="*/ 544830 w 1227772"/>
              <a:gd name="connsiteY192" fmla="*/ 41910 h 115252"/>
              <a:gd name="connsiteX193" fmla="*/ 551497 w 1227772"/>
              <a:gd name="connsiteY193" fmla="*/ 48577 h 115252"/>
              <a:gd name="connsiteX194" fmla="*/ 558165 w 1227772"/>
              <a:gd name="connsiteY194" fmla="*/ 42863 h 115252"/>
              <a:gd name="connsiteX195" fmla="*/ 557213 w 1227772"/>
              <a:gd name="connsiteY195" fmla="*/ 39052 h 115252"/>
              <a:gd name="connsiteX196" fmla="*/ 552450 w 1227772"/>
              <a:gd name="connsiteY196" fmla="*/ 39052 h 115252"/>
              <a:gd name="connsiteX197" fmla="*/ 552450 w 1227772"/>
              <a:gd name="connsiteY197" fmla="*/ 37148 h 115252"/>
              <a:gd name="connsiteX198" fmla="*/ 561975 w 1227772"/>
              <a:gd name="connsiteY198" fmla="*/ 32385 h 115252"/>
              <a:gd name="connsiteX199" fmla="*/ 573405 w 1227772"/>
              <a:gd name="connsiteY199" fmla="*/ 47625 h 115252"/>
              <a:gd name="connsiteX200" fmla="*/ 573405 w 1227772"/>
              <a:gd name="connsiteY200" fmla="*/ 55245 h 115252"/>
              <a:gd name="connsiteX201" fmla="*/ 565785 w 1227772"/>
              <a:gd name="connsiteY201" fmla="*/ 55245 h 115252"/>
              <a:gd name="connsiteX202" fmla="*/ 541972 w 1227772"/>
              <a:gd name="connsiteY202" fmla="*/ 71438 h 115252"/>
              <a:gd name="connsiteX203" fmla="*/ 557213 w 1227772"/>
              <a:gd name="connsiteY203" fmla="*/ 85725 h 115252"/>
              <a:gd name="connsiteX204" fmla="*/ 573405 w 1227772"/>
              <a:gd name="connsiteY204" fmla="*/ 77152 h 115252"/>
              <a:gd name="connsiteX205" fmla="*/ 583882 w 1227772"/>
              <a:gd name="connsiteY205" fmla="*/ 86677 h 115252"/>
              <a:gd name="connsiteX206" fmla="*/ 665797 w 1227772"/>
              <a:gd name="connsiteY206" fmla="*/ 57150 h 115252"/>
              <a:gd name="connsiteX207" fmla="*/ 652463 w 1227772"/>
              <a:gd name="connsiteY207" fmla="*/ 80963 h 115252"/>
              <a:gd name="connsiteX208" fmla="*/ 638175 w 1227772"/>
              <a:gd name="connsiteY208" fmla="*/ 66675 h 115252"/>
              <a:gd name="connsiteX209" fmla="*/ 638175 w 1227772"/>
              <a:gd name="connsiteY209" fmla="*/ 49530 h 115252"/>
              <a:gd name="connsiteX210" fmla="*/ 652463 w 1227772"/>
              <a:gd name="connsiteY210" fmla="*/ 34290 h 115252"/>
              <a:gd name="connsiteX211" fmla="*/ 665797 w 1227772"/>
              <a:gd name="connsiteY211" fmla="*/ 57150 h 115252"/>
              <a:gd name="connsiteX212" fmla="*/ 677228 w 1227772"/>
              <a:gd name="connsiteY212" fmla="*/ 56198 h 115252"/>
              <a:gd name="connsiteX213" fmla="*/ 656272 w 1227772"/>
              <a:gd name="connsiteY213" fmla="*/ 26670 h 115252"/>
              <a:gd name="connsiteX214" fmla="*/ 638175 w 1227772"/>
              <a:gd name="connsiteY214" fmla="*/ 36195 h 115252"/>
              <a:gd name="connsiteX215" fmla="*/ 638175 w 1227772"/>
              <a:gd name="connsiteY215" fmla="*/ 0 h 115252"/>
              <a:gd name="connsiteX216" fmla="*/ 620078 w 1227772"/>
              <a:gd name="connsiteY216" fmla="*/ 0 h 115252"/>
              <a:gd name="connsiteX217" fmla="*/ 620078 w 1227772"/>
              <a:gd name="connsiteY217" fmla="*/ 4763 h 115252"/>
              <a:gd name="connsiteX218" fmla="*/ 627697 w 1227772"/>
              <a:gd name="connsiteY218" fmla="*/ 5715 h 115252"/>
              <a:gd name="connsiteX219" fmla="*/ 627697 w 1227772"/>
              <a:gd name="connsiteY219" fmla="*/ 86677 h 115252"/>
              <a:gd name="connsiteX220" fmla="*/ 631507 w 1227772"/>
              <a:gd name="connsiteY220" fmla="*/ 86677 h 115252"/>
              <a:gd name="connsiteX221" fmla="*/ 636270 w 1227772"/>
              <a:gd name="connsiteY221" fmla="*/ 80010 h 115252"/>
              <a:gd name="connsiteX222" fmla="*/ 653415 w 1227772"/>
              <a:gd name="connsiteY222" fmla="*/ 86677 h 115252"/>
              <a:gd name="connsiteX223" fmla="*/ 677228 w 1227772"/>
              <a:gd name="connsiteY223" fmla="*/ 56198 h 115252"/>
              <a:gd name="connsiteX224" fmla="*/ 722947 w 1227772"/>
              <a:gd name="connsiteY224" fmla="*/ 50483 h 115252"/>
              <a:gd name="connsiteX225" fmla="*/ 698182 w 1227772"/>
              <a:gd name="connsiteY225" fmla="*/ 50483 h 115252"/>
              <a:gd name="connsiteX226" fmla="*/ 711518 w 1227772"/>
              <a:gd name="connsiteY226" fmla="*/ 32385 h 115252"/>
              <a:gd name="connsiteX227" fmla="*/ 721995 w 1227772"/>
              <a:gd name="connsiteY227" fmla="*/ 48577 h 115252"/>
              <a:gd name="connsiteX228" fmla="*/ 721995 w 1227772"/>
              <a:gd name="connsiteY228" fmla="*/ 50483 h 115252"/>
              <a:gd name="connsiteX229" fmla="*/ 733425 w 1227772"/>
              <a:gd name="connsiteY229" fmla="*/ 57150 h 115252"/>
              <a:gd name="connsiteX230" fmla="*/ 733425 w 1227772"/>
              <a:gd name="connsiteY230" fmla="*/ 52388 h 115252"/>
              <a:gd name="connsiteX231" fmla="*/ 711518 w 1227772"/>
              <a:gd name="connsiteY231" fmla="*/ 27623 h 115252"/>
              <a:gd name="connsiteX232" fmla="*/ 685800 w 1227772"/>
              <a:gd name="connsiteY232" fmla="*/ 58102 h 115252"/>
              <a:gd name="connsiteX233" fmla="*/ 710565 w 1227772"/>
              <a:gd name="connsiteY233" fmla="*/ 86677 h 115252"/>
              <a:gd name="connsiteX234" fmla="*/ 732472 w 1227772"/>
              <a:gd name="connsiteY234" fmla="*/ 71438 h 115252"/>
              <a:gd name="connsiteX235" fmla="*/ 727710 w 1227772"/>
              <a:gd name="connsiteY235" fmla="*/ 69533 h 115252"/>
              <a:gd name="connsiteX236" fmla="*/ 713422 w 1227772"/>
              <a:gd name="connsiteY236" fmla="*/ 79058 h 115252"/>
              <a:gd name="connsiteX237" fmla="*/ 698182 w 1227772"/>
              <a:gd name="connsiteY237" fmla="*/ 56198 h 115252"/>
              <a:gd name="connsiteX238" fmla="*/ 733425 w 1227772"/>
              <a:gd name="connsiteY238" fmla="*/ 56198 h 115252"/>
              <a:gd name="connsiteX239" fmla="*/ 815340 w 1227772"/>
              <a:gd name="connsiteY239" fmla="*/ 72390 h 115252"/>
              <a:gd name="connsiteX240" fmla="*/ 810578 w 1227772"/>
              <a:gd name="connsiteY240" fmla="*/ 71438 h 115252"/>
              <a:gd name="connsiteX241" fmla="*/ 802005 w 1227772"/>
              <a:gd name="connsiteY241" fmla="*/ 80963 h 115252"/>
              <a:gd name="connsiteX242" fmla="*/ 796290 w 1227772"/>
              <a:gd name="connsiteY242" fmla="*/ 72390 h 115252"/>
              <a:gd name="connsiteX243" fmla="*/ 796290 w 1227772"/>
              <a:gd name="connsiteY243" fmla="*/ 35242 h 115252"/>
              <a:gd name="connsiteX244" fmla="*/ 808672 w 1227772"/>
              <a:gd name="connsiteY244" fmla="*/ 35242 h 115252"/>
              <a:gd name="connsiteX245" fmla="*/ 808672 w 1227772"/>
              <a:gd name="connsiteY245" fmla="*/ 28575 h 115252"/>
              <a:gd name="connsiteX246" fmla="*/ 796290 w 1227772"/>
              <a:gd name="connsiteY246" fmla="*/ 28575 h 115252"/>
              <a:gd name="connsiteX247" fmla="*/ 796290 w 1227772"/>
              <a:gd name="connsiteY247" fmla="*/ 11430 h 115252"/>
              <a:gd name="connsiteX248" fmla="*/ 793432 w 1227772"/>
              <a:gd name="connsiteY248" fmla="*/ 11430 h 115252"/>
              <a:gd name="connsiteX249" fmla="*/ 785813 w 1227772"/>
              <a:gd name="connsiteY249" fmla="*/ 13335 h 115252"/>
              <a:gd name="connsiteX250" fmla="*/ 785813 w 1227772"/>
              <a:gd name="connsiteY250" fmla="*/ 28575 h 115252"/>
              <a:gd name="connsiteX251" fmla="*/ 759143 w 1227772"/>
              <a:gd name="connsiteY251" fmla="*/ 28575 h 115252"/>
              <a:gd name="connsiteX252" fmla="*/ 759143 w 1227772"/>
              <a:gd name="connsiteY252" fmla="*/ 11430 h 115252"/>
              <a:gd name="connsiteX253" fmla="*/ 756285 w 1227772"/>
              <a:gd name="connsiteY253" fmla="*/ 11430 h 115252"/>
              <a:gd name="connsiteX254" fmla="*/ 748665 w 1227772"/>
              <a:gd name="connsiteY254" fmla="*/ 13335 h 115252"/>
              <a:gd name="connsiteX255" fmla="*/ 748665 w 1227772"/>
              <a:gd name="connsiteY255" fmla="*/ 28575 h 115252"/>
              <a:gd name="connsiteX256" fmla="*/ 740093 w 1227772"/>
              <a:gd name="connsiteY256" fmla="*/ 28575 h 115252"/>
              <a:gd name="connsiteX257" fmla="*/ 740093 w 1227772"/>
              <a:gd name="connsiteY257" fmla="*/ 34290 h 115252"/>
              <a:gd name="connsiteX258" fmla="*/ 748665 w 1227772"/>
              <a:gd name="connsiteY258" fmla="*/ 34290 h 115252"/>
              <a:gd name="connsiteX259" fmla="*/ 748665 w 1227772"/>
              <a:gd name="connsiteY259" fmla="*/ 73342 h 115252"/>
              <a:gd name="connsiteX260" fmla="*/ 762000 w 1227772"/>
              <a:gd name="connsiteY260" fmla="*/ 86677 h 115252"/>
              <a:gd name="connsiteX261" fmla="*/ 778193 w 1227772"/>
              <a:gd name="connsiteY261" fmla="*/ 72390 h 115252"/>
              <a:gd name="connsiteX262" fmla="*/ 773430 w 1227772"/>
              <a:gd name="connsiteY262" fmla="*/ 71438 h 115252"/>
              <a:gd name="connsiteX263" fmla="*/ 764857 w 1227772"/>
              <a:gd name="connsiteY263" fmla="*/ 80963 h 115252"/>
              <a:gd name="connsiteX264" fmla="*/ 759143 w 1227772"/>
              <a:gd name="connsiteY264" fmla="*/ 72390 h 115252"/>
              <a:gd name="connsiteX265" fmla="*/ 759143 w 1227772"/>
              <a:gd name="connsiteY265" fmla="*/ 35242 h 115252"/>
              <a:gd name="connsiteX266" fmla="*/ 785813 w 1227772"/>
              <a:gd name="connsiteY266" fmla="*/ 35242 h 115252"/>
              <a:gd name="connsiteX267" fmla="*/ 785813 w 1227772"/>
              <a:gd name="connsiteY267" fmla="*/ 74295 h 115252"/>
              <a:gd name="connsiteX268" fmla="*/ 799147 w 1227772"/>
              <a:gd name="connsiteY268" fmla="*/ 87630 h 115252"/>
              <a:gd name="connsiteX269" fmla="*/ 815340 w 1227772"/>
              <a:gd name="connsiteY269" fmla="*/ 72390 h 115252"/>
              <a:gd name="connsiteX270" fmla="*/ 858203 w 1227772"/>
              <a:gd name="connsiteY270" fmla="*/ 50483 h 115252"/>
              <a:gd name="connsiteX271" fmla="*/ 833438 w 1227772"/>
              <a:gd name="connsiteY271" fmla="*/ 50483 h 115252"/>
              <a:gd name="connsiteX272" fmla="*/ 846772 w 1227772"/>
              <a:gd name="connsiteY272" fmla="*/ 32385 h 115252"/>
              <a:gd name="connsiteX273" fmla="*/ 857250 w 1227772"/>
              <a:gd name="connsiteY273" fmla="*/ 48577 h 115252"/>
              <a:gd name="connsiteX274" fmla="*/ 857250 w 1227772"/>
              <a:gd name="connsiteY274" fmla="*/ 50483 h 115252"/>
              <a:gd name="connsiteX275" fmla="*/ 868680 w 1227772"/>
              <a:gd name="connsiteY275" fmla="*/ 57150 h 115252"/>
              <a:gd name="connsiteX276" fmla="*/ 868680 w 1227772"/>
              <a:gd name="connsiteY276" fmla="*/ 52388 h 115252"/>
              <a:gd name="connsiteX277" fmla="*/ 846772 w 1227772"/>
              <a:gd name="connsiteY277" fmla="*/ 27623 h 115252"/>
              <a:gd name="connsiteX278" fmla="*/ 821055 w 1227772"/>
              <a:gd name="connsiteY278" fmla="*/ 58102 h 115252"/>
              <a:gd name="connsiteX279" fmla="*/ 845820 w 1227772"/>
              <a:gd name="connsiteY279" fmla="*/ 86677 h 115252"/>
              <a:gd name="connsiteX280" fmla="*/ 867728 w 1227772"/>
              <a:gd name="connsiteY280" fmla="*/ 71438 h 115252"/>
              <a:gd name="connsiteX281" fmla="*/ 862965 w 1227772"/>
              <a:gd name="connsiteY281" fmla="*/ 69533 h 115252"/>
              <a:gd name="connsiteX282" fmla="*/ 848678 w 1227772"/>
              <a:gd name="connsiteY282" fmla="*/ 79058 h 115252"/>
              <a:gd name="connsiteX283" fmla="*/ 833438 w 1227772"/>
              <a:gd name="connsiteY283" fmla="*/ 56198 h 115252"/>
              <a:gd name="connsiteX284" fmla="*/ 868680 w 1227772"/>
              <a:gd name="connsiteY284" fmla="*/ 56198 h 115252"/>
              <a:gd name="connsiteX285" fmla="*/ 920115 w 1227772"/>
              <a:gd name="connsiteY285" fmla="*/ 38100 h 115252"/>
              <a:gd name="connsiteX286" fmla="*/ 908685 w 1227772"/>
              <a:gd name="connsiteY286" fmla="*/ 27623 h 115252"/>
              <a:gd name="connsiteX287" fmla="*/ 892493 w 1227772"/>
              <a:gd name="connsiteY287" fmla="*/ 38100 h 115252"/>
              <a:gd name="connsiteX288" fmla="*/ 891540 w 1227772"/>
              <a:gd name="connsiteY288" fmla="*/ 28575 h 115252"/>
              <a:gd name="connsiteX289" fmla="*/ 875347 w 1227772"/>
              <a:gd name="connsiteY289" fmla="*/ 28575 h 115252"/>
              <a:gd name="connsiteX290" fmla="*/ 875347 w 1227772"/>
              <a:gd name="connsiteY290" fmla="*/ 33338 h 115252"/>
              <a:gd name="connsiteX291" fmla="*/ 882968 w 1227772"/>
              <a:gd name="connsiteY291" fmla="*/ 34290 h 115252"/>
              <a:gd name="connsiteX292" fmla="*/ 882968 w 1227772"/>
              <a:gd name="connsiteY292" fmla="*/ 80963 h 115252"/>
              <a:gd name="connsiteX293" fmla="*/ 875347 w 1227772"/>
              <a:gd name="connsiteY293" fmla="*/ 81915 h 115252"/>
              <a:gd name="connsiteX294" fmla="*/ 875347 w 1227772"/>
              <a:gd name="connsiteY294" fmla="*/ 86677 h 115252"/>
              <a:gd name="connsiteX295" fmla="*/ 905828 w 1227772"/>
              <a:gd name="connsiteY295" fmla="*/ 86677 h 115252"/>
              <a:gd name="connsiteX296" fmla="*/ 905828 w 1227772"/>
              <a:gd name="connsiteY296" fmla="*/ 81915 h 115252"/>
              <a:gd name="connsiteX297" fmla="*/ 893445 w 1227772"/>
              <a:gd name="connsiteY297" fmla="*/ 80963 h 115252"/>
              <a:gd name="connsiteX298" fmla="*/ 893445 w 1227772"/>
              <a:gd name="connsiteY298" fmla="*/ 49530 h 115252"/>
              <a:gd name="connsiteX299" fmla="*/ 904875 w 1227772"/>
              <a:gd name="connsiteY299" fmla="*/ 35242 h 115252"/>
              <a:gd name="connsiteX300" fmla="*/ 908685 w 1227772"/>
              <a:gd name="connsiteY300" fmla="*/ 38100 h 115252"/>
              <a:gd name="connsiteX301" fmla="*/ 908685 w 1227772"/>
              <a:gd name="connsiteY301" fmla="*/ 39052 h 115252"/>
              <a:gd name="connsiteX302" fmla="*/ 904875 w 1227772"/>
              <a:gd name="connsiteY302" fmla="*/ 40958 h 115252"/>
              <a:gd name="connsiteX303" fmla="*/ 912495 w 1227772"/>
              <a:gd name="connsiteY303" fmla="*/ 48577 h 115252"/>
              <a:gd name="connsiteX304" fmla="*/ 920115 w 1227772"/>
              <a:gd name="connsiteY304" fmla="*/ 38100 h 115252"/>
              <a:gd name="connsiteX305" fmla="*/ 1024890 w 1227772"/>
              <a:gd name="connsiteY305" fmla="*/ 33338 h 115252"/>
              <a:gd name="connsiteX306" fmla="*/ 1030605 w 1227772"/>
              <a:gd name="connsiteY306" fmla="*/ 33338 h 115252"/>
              <a:gd name="connsiteX307" fmla="*/ 1030605 w 1227772"/>
              <a:gd name="connsiteY307" fmla="*/ 28575 h 115252"/>
              <a:gd name="connsiteX308" fmla="*/ 1010603 w 1227772"/>
              <a:gd name="connsiteY308" fmla="*/ 28575 h 115252"/>
              <a:gd name="connsiteX309" fmla="*/ 1010603 w 1227772"/>
              <a:gd name="connsiteY309" fmla="*/ 33338 h 115252"/>
              <a:gd name="connsiteX310" fmla="*/ 1018222 w 1227772"/>
              <a:gd name="connsiteY310" fmla="*/ 33338 h 115252"/>
              <a:gd name="connsiteX311" fmla="*/ 1007745 w 1227772"/>
              <a:gd name="connsiteY311" fmla="*/ 74295 h 115252"/>
              <a:gd name="connsiteX312" fmla="*/ 993457 w 1227772"/>
              <a:gd name="connsiteY312" fmla="*/ 33338 h 115252"/>
              <a:gd name="connsiteX313" fmla="*/ 999172 w 1227772"/>
              <a:gd name="connsiteY313" fmla="*/ 33338 h 115252"/>
              <a:gd name="connsiteX314" fmla="*/ 999172 w 1227772"/>
              <a:gd name="connsiteY314" fmla="*/ 28575 h 115252"/>
              <a:gd name="connsiteX315" fmla="*/ 978218 w 1227772"/>
              <a:gd name="connsiteY315" fmla="*/ 28575 h 115252"/>
              <a:gd name="connsiteX316" fmla="*/ 978218 w 1227772"/>
              <a:gd name="connsiteY316" fmla="*/ 33338 h 115252"/>
              <a:gd name="connsiteX317" fmla="*/ 982980 w 1227772"/>
              <a:gd name="connsiteY317" fmla="*/ 33338 h 115252"/>
              <a:gd name="connsiteX318" fmla="*/ 985838 w 1227772"/>
              <a:gd name="connsiteY318" fmla="*/ 42863 h 115252"/>
              <a:gd name="connsiteX319" fmla="*/ 974407 w 1227772"/>
              <a:gd name="connsiteY319" fmla="*/ 74295 h 115252"/>
              <a:gd name="connsiteX320" fmla="*/ 962025 w 1227772"/>
              <a:gd name="connsiteY320" fmla="*/ 33338 h 115252"/>
              <a:gd name="connsiteX321" fmla="*/ 969645 w 1227772"/>
              <a:gd name="connsiteY321" fmla="*/ 33338 h 115252"/>
              <a:gd name="connsiteX322" fmla="*/ 969645 w 1227772"/>
              <a:gd name="connsiteY322" fmla="*/ 28575 h 115252"/>
              <a:gd name="connsiteX323" fmla="*/ 944880 w 1227772"/>
              <a:gd name="connsiteY323" fmla="*/ 28575 h 115252"/>
              <a:gd name="connsiteX324" fmla="*/ 944880 w 1227772"/>
              <a:gd name="connsiteY324" fmla="*/ 33338 h 115252"/>
              <a:gd name="connsiteX325" fmla="*/ 949643 w 1227772"/>
              <a:gd name="connsiteY325" fmla="*/ 33338 h 115252"/>
              <a:gd name="connsiteX326" fmla="*/ 966788 w 1227772"/>
              <a:gd name="connsiteY326" fmla="*/ 85725 h 115252"/>
              <a:gd name="connsiteX327" fmla="*/ 975360 w 1227772"/>
              <a:gd name="connsiteY327" fmla="*/ 85725 h 115252"/>
              <a:gd name="connsiteX328" fmla="*/ 987743 w 1227772"/>
              <a:gd name="connsiteY328" fmla="*/ 52388 h 115252"/>
              <a:gd name="connsiteX329" fmla="*/ 988695 w 1227772"/>
              <a:gd name="connsiteY329" fmla="*/ 52388 h 115252"/>
              <a:gd name="connsiteX330" fmla="*/ 1001078 w 1227772"/>
              <a:gd name="connsiteY330" fmla="*/ 85725 h 115252"/>
              <a:gd name="connsiteX331" fmla="*/ 1009650 w 1227772"/>
              <a:gd name="connsiteY331" fmla="*/ 85725 h 115252"/>
              <a:gd name="connsiteX332" fmla="*/ 1024890 w 1227772"/>
              <a:gd name="connsiteY332" fmla="*/ 33338 h 115252"/>
              <a:gd name="connsiteX333" fmla="*/ 1072515 w 1227772"/>
              <a:gd name="connsiteY333" fmla="*/ 57150 h 115252"/>
              <a:gd name="connsiteX334" fmla="*/ 1059180 w 1227772"/>
              <a:gd name="connsiteY334" fmla="*/ 80963 h 115252"/>
              <a:gd name="connsiteX335" fmla="*/ 1044893 w 1227772"/>
              <a:gd name="connsiteY335" fmla="*/ 56198 h 115252"/>
              <a:gd name="connsiteX336" fmla="*/ 1058228 w 1227772"/>
              <a:gd name="connsiteY336" fmla="*/ 32385 h 115252"/>
              <a:gd name="connsiteX337" fmla="*/ 1072515 w 1227772"/>
              <a:gd name="connsiteY337" fmla="*/ 57150 h 115252"/>
              <a:gd name="connsiteX338" fmla="*/ 1084898 w 1227772"/>
              <a:gd name="connsiteY338" fmla="*/ 57150 h 115252"/>
              <a:gd name="connsiteX339" fmla="*/ 1059180 w 1227772"/>
              <a:gd name="connsiteY339" fmla="*/ 27623 h 115252"/>
              <a:gd name="connsiteX340" fmla="*/ 1033463 w 1227772"/>
              <a:gd name="connsiteY340" fmla="*/ 58102 h 115252"/>
              <a:gd name="connsiteX341" fmla="*/ 1059180 w 1227772"/>
              <a:gd name="connsiteY341" fmla="*/ 87630 h 115252"/>
              <a:gd name="connsiteX342" fmla="*/ 1084898 w 1227772"/>
              <a:gd name="connsiteY342" fmla="*/ 57150 h 115252"/>
              <a:gd name="connsiteX343" fmla="*/ 1136332 w 1227772"/>
              <a:gd name="connsiteY343" fmla="*/ 38100 h 115252"/>
              <a:gd name="connsiteX344" fmla="*/ 1124903 w 1227772"/>
              <a:gd name="connsiteY344" fmla="*/ 27623 h 115252"/>
              <a:gd name="connsiteX345" fmla="*/ 1108710 w 1227772"/>
              <a:gd name="connsiteY345" fmla="*/ 38100 h 115252"/>
              <a:gd name="connsiteX346" fmla="*/ 1107757 w 1227772"/>
              <a:gd name="connsiteY346" fmla="*/ 28575 h 115252"/>
              <a:gd name="connsiteX347" fmla="*/ 1091565 w 1227772"/>
              <a:gd name="connsiteY347" fmla="*/ 28575 h 115252"/>
              <a:gd name="connsiteX348" fmla="*/ 1091565 w 1227772"/>
              <a:gd name="connsiteY348" fmla="*/ 33338 h 115252"/>
              <a:gd name="connsiteX349" fmla="*/ 1099185 w 1227772"/>
              <a:gd name="connsiteY349" fmla="*/ 34290 h 115252"/>
              <a:gd name="connsiteX350" fmla="*/ 1099185 w 1227772"/>
              <a:gd name="connsiteY350" fmla="*/ 80963 h 115252"/>
              <a:gd name="connsiteX351" fmla="*/ 1091565 w 1227772"/>
              <a:gd name="connsiteY351" fmla="*/ 81915 h 115252"/>
              <a:gd name="connsiteX352" fmla="*/ 1091565 w 1227772"/>
              <a:gd name="connsiteY352" fmla="*/ 86677 h 115252"/>
              <a:gd name="connsiteX353" fmla="*/ 1122045 w 1227772"/>
              <a:gd name="connsiteY353" fmla="*/ 86677 h 115252"/>
              <a:gd name="connsiteX354" fmla="*/ 1122045 w 1227772"/>
              <a:gd name="connsiteY354" fmla="*/ 81915 h 115252"/>
              <a:gd name="connsiteX355" fmla="*/ 1109663 w 1227772"/>
              <a:gd name="connsiteY355" fmla="*/ 80963 h 115252"/>
              <a:gd name="connsiteX356" fmla="*/ 1109663 w 1227772"/>
              <a:gd name="connsiteY356" fmla="*/ 49530 h 115252"/>
              <a:gd name="connsiteX357" fmla="*/ 1121093 w 1227772"/>
              <a:gd name="connsiteY357" fmla="*/ 35242 h 115252"/>
              <a:gd name="connsiteX358" fmla="*/ 1124903 w 1227772"/>
              <a:gd name="connsiteY358" fmla="*/ 38100 h 115252"/>
              <a:gd name="connsiteX359" fmla="*/ 1124903 w 1227772"/>
              <a:gd name="connsiteY359" fmla="*/ 39052 h 115252"/>
              <a:gd name="connsiteX360" fmla="*/ 1121093 w 1227772"/>
              <a:gd name="connsiteY360" fmla="*/ 40958 h 115252"/>
              <a:gd name="connsiteX361" fmla="*/ 1128713 w 1227772"/>
              <a:gd name="connsiteY361" fmla="*/ 48577 h 115252"/>
              <a:gd name="connsiteX362" fmla="*/ 1136332 w 1227772"/>
              <a:gd name="connsiteY362" fmla="*/ 38100 h 115252"/>
              <a:gd name="connsiteX363" fmla="*/ 1138238 w 1227772"/>
              <a:gd name="connsiteY363" fmla="*/ 85725 h 115252"/>
              <a:gd name="connsiteX364" fmla="*/ 1164907 w 1227772"/>
              <a:gd name="connsiteY364" fmla="*/ 85725 h 115252"/>
              <a:gd name="connsiteX365" fmla="*/ 1164907 w 1227772"/>
              <a:gd name="connsiteY365" fmla="*/ 80963 h 115252"/>
              <a:gd name="connsiteX366" fmla="*/ 1156335 w 1227772"/>
              <a:gd name="connsiteY366" fmla="*/ 80010 h 115252"/>
              <a:gd name="connsiteX367" fmla="*/ 1156335 w 1227772"/>
              <a:gd name="connsiteY367" fmla="*/ 0 h 115252"/>
              <a:gd name="connsiteX368" fmla="*/ 1137285 w 1227772"/>
              <a:gd name="connsiteY368" fmla="*/ 0 h 115252"/>
              <a:gd name="connsiteX369" fmla="*/ 1137285 w 1227772"/>
              <a:gd name="connsiteY369" fmla="*/ 4763 h 115252"/>
              <a:gd name="connsiteX370" fmla="*/ 1144905 w 1227772"/>
              <a:gd name="connsiteY370" fmla="*/ 5715 h 115252"/>
              <a:gd name="connsiteX371" fmla="*/ 1144905 w 1227772"/>
              <a:gd name="connsiteY371" fmla="*/ 80010 h 115252"/>
              <a:gd name="connsiteX372" fmla="*/ 1137285 w 1227772"/>
              <a:gd name="connsiteY372" fmla="*/ 80963 h 115252"/>
              <a:gd name="connsiteX373" fmla="*/ 1137285 w 1227772"/>
              <a:gd name="connsiteY373" fmla="*/ 85725 h 115252"/>
              <a:gd name="connsiteX374" fmla="*/ 1209675 w 1227772"/>
              <a:gd name="connsiteY374" fmla="*/ 64770 h 115252"/>
              <a:gd name="connsiteX375" fmla="*/ 1195388 w 1227772"/>
              <a:gd name="connsiteY375" fmla="*/ 79058 h 115252"/>
              <a:gd name="connsiteX376" fmla="*/ 1182053 w 1227772"/>
              <a:gd name="connsiteY376" fmla="*/ 56198 h 115252"/>
              <a:gd name="connsiteX377" fmla="*/ 1196340 w 1227772"/>
              <a:gd name="connsiteY377" fmla="*/ 32385 h 115252"/>
              <a:gd name="connsiteX378" fmla="*/ 1209675 w 1227772"/>
              <a:gd name="connsiteY378" fmla="*/ 45720 h 115252"/>
              <a:gd name="connsiteX379" fmla="*/ 1209675 w 1227772"/>
              <a:gd name="connsiteY379" fmla="*/ 64770 h 115252"/>
              <a:gd name="connsiteX380" fmla="*/ 1227773 w 1227772"/>
              <a:gd name="connsiteY380" fmla="*/ 85725 h 115252"/>
              <a:gd name="connsiteX381" fmla="*/ 1227773 w 1227772"/>
              <a:gd name="connsiteY381" fmla="*/ 80963 h 115252"/>
              <a:gd name="connsiteX382" fmla="*/ 1220153 w 1227772"/>
              <a:gd name="connsiteY382" fmla="*/ 80010 h 115252"/>
              <a:gd name="connsiteX383" fmla="*/ 1220153 w 1227772"/>
              <a:gd name="connsiteY383" fmla="*/ 0 h 115252"/>
              <a:gd name="connsiteX384" fmla="*/ 1200150 w 1227772"/>
              <a:gd name="connsiteY384" fmla="*/ 0 h 115252"/>
              <a:gd name="connsiteX385" fmla="*/ 1200150 w 1227772"/>
              <a:gd name="connsiteY385" fmla="*/ 4763 h 115252"/>
              <a:gd name="connsiteX386" fmla="*/ 1208723 w 1227772"/>
              <a:gd name="connsiteY386" fmla="*/ 5715 h 115252"/>
              <a:gd name="connsiteX387" fmla="*/ 1208723 w 1227772"/>
              <a:gd name="connsiteY387" fmla="*/ 33338 h 115252"/>
              <a:gd name="connsiteX388" fmla="*/ 1193482 w 1227772"/>
              <a:gd name="connsiteY388" fmla="*/ 26670 h 115252"/>
              <a:gd name="connsiteX389" fmla="*/ 1169670 w 1227772"/>
              <a:gd name="connsiteY389" fmla="*/ 57150 h 115252"/>
              <a:gd name="connsiteX390" fmla="*/ 1191578 w 1227772"/>
              <a:gd name="connsiteY390" fmla="*/ 85725 h 115252"/>
              <a:gd name="connsiteX391" fmla="*/ 1209675 w 1227772"/>
              <a:gd name="connsiteY391" fmla="*/ 76200 h 115252"/>
              <a:gd name="connsiteX392" fmla="*/ 1210628 w 1227772"/>
              <a:gd name="connsiteY392" fmla="*/ 84773 h 115252"/>
              <a:gd name="connsiteX393" fmla="*/ 1227773 w 1227772"/>
              <a:gd name="connsiteY393" fmla="*/ 84773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1227772" h="115252">
                <a:moveTo>
                  <a:pt x="57150" y="42863"/>
                </a:moveTo>
                <a:cubicBezTo>
                  <a:pt x="57150" y="65723"/>
                  <a:pt x="47625" y="80010"/>
                  <a:pt x="25718" y="80010"/>
                </a:cubicBezTo>
                <a:lnTo>
                  <a:pt x="20955" y="80010"/>
                </a:lnTo>
                <a:lnTo>
                  <a:pt x="20955" y="4763"/>
                </a:lnTo>
                <a:lnTo>
                  <a:pt x="23813" y="4763"/>
                </a:lnTo>
                <a:cubicBezTo>
                  <a:pt x="46672" y="5715"/>
                  <a:pt x="57150" y="16192"/>
                  <a:pt x="57150" y="42863"/>
                </a:cubicBezTo>
                <a:moveTo>
                  <a:pt x="70485" y="43815"/>
                </a:moveTo>
                <a:cubicBezTo>
                  <a:pt x="70485" y="15240"/>
                  <a:pt x="54293" y="0"/>
                  <a:pt x="27622" y="0"/>
                </a:cubicBezTo>
                <a:lnTo>
                  <a:pt x="0" y="0"/>
                </a:lnTo>
                <a:lnTo>
                  <a:pt x="0" y="4763"/>
                </a:lnTo>
                <a:lnTo>
                  <a:pt x="9525" y="5715"/>
                </a:lnTo>
                <a:lnTo>
                  <a:pt x="9525" y="80963"/>
                </a:lnTo>
                <a:lnTo>
                  <a:pt x="0" y="81915"/>
                </a:lnTo>
                <a:lnTo>
                  <a:pt x="0" y="86677"/>
                </a:lnTo>
                <a:lnTo>
                  <a:pt x="24765" y="86677"/>
                </a:lnTo>
                <a:cubicBezTo>
                  <a:pt x="50482" y="85725"/>
                  <a:pt x="70485" y="76200"/>
                  <a:pt x="70485" y="43815"/>
                </a:cubicBezTo>
                <a:moveTo>
                  <a:pt x="116205" y="50483"/>
                </a:moveTo>
                <a:lnTo>
                  <a:pt x="91440" y="50483"/>
                </a:lnTo>
                <a:cubicBezTo>
                  <a:pt x="92393" y="40958"/>
                  <a:pt x="96203" y="32385"/>
                  <a:pt x="104775" y="32385"/>
                </a:cubicBezTo>
                <a:cubicBezTo>
                  <a:pt x="112395" y="32385"/>
                  <a:pt x="115253" y="38100"/>
                  <a:pt x="115253" y="48577"/>
                </a:cubicBezTo>
                <a:lnTo>
                  <a:pt x="115253" y="50483"/>
                </a:lnTo>
                <a:close/>
                <a:moveTo>
                  <a:pt x="126682" y="57150"/>
                </a:moveTo>
                <a:cubicBezTo>
                  <a:pt x="126682" y="55245"/>
                  <a:pt x="126682" y="54292"/>
                  <a:pt x="126682" y="52388"/>
                </a:cubicBezTo>
                <a:cubicBezTo>
                  <a:pt x="126682" y="35242"/>
                  <a:pt x="118110" y="27623"/>
                  <a:pt x="104775" y="27623"/>
                </a:cubicBezTo>
                <a:cubicBezTo>
                  <a:pt x="89535" y="27623"/>
                  <a:pt x="79057" y="39052"/>
                  <a:pt x="79057" y="58102"/>
                </a:cubicBezTo>
                <a:cubicBezTo>
                  <a:pt x="79057" y="75248"/>
                  <a:pt x="86678" y="86677"/>
                  <a:pt x="103822" y="86677"/>
                </a:cubicBezTo>
                <a:cubicBezTo>
                  <a:pt x="115253" y="86677"/>
                  <a:pt x="122872" y="80963"/>
                  <a:pt x="125730" y="71438"/>
                </a:cubicBezTo>
                <a:lnTo>
                  <a:pt x="120968" y="69533"/>
                </a:lnTo>
                <a:cubicBezTo>
                  <a:pt x="118110" y="76200"/>
                  <a:pt x="114300" y="79058"/>
                  <a:pt x="106680" y="79058"/>
                </a:cubicBezTo>
                <a:cubicBezTo>
                  <a:pt x="95250" y="79058"/>
                  <a:pt x="91440" y="70485"/>
                  <a:pt x="91440" y="56198"/>
                </a:cubicBezTo>
                <a:lnTo>
                  <a:pt x="126682" y="56198"/>
                </a:lnTo>
                <a:close/>
                <a:moveTo>
                  <a:pt x="132397" y="85725"/>
                </a:moveTo>
                <a:lnTo>
                  <a:pt x="159068" y="85725"/>
                </a:lnTo>
                <a:lnTo>
                  <a:pt x="159068" y="80963"/>
                </a:lnTo>
                <a:lnTo>
                  <a:pt x="150495" y="80010"/>
                </a:lnTo>
                <a:lnTo>
                  <a:pt x="150495" y="0"/>
                </a:lnTo>
                <a:lnTo>
                  <a:pt x="131445" y="0"/>
                </a:lnTo>
                <a:lnTo>
                  <a:pt x="131445" y="4763"/>
                </a:lnTo>
                <a:lnTo>
                  <a:pt x="139065" y="5715"/>
                </a:lnTo>
                <a:lnTo>
                  <a:pt x="139065" y="80010"/>
                </a:lnTo>
                <a:lnTo>
                  <a:pt x="131445" y="80963"/>
                </a:lnTo>
                <a:lnTo>
                  <a:pt x="131445" y="85725"/>
                </a:lnTo>
                <a:close/>
                <a:moveTo>
                  <a:pt x="185738" y="12383"/>
                </a:moveTo>
                <a:cubicBezTo>
                  <a:pt x="185738" y="7620"/>
                  <a:pt x="182880" y="5715"/>
                  <a:pt x="178118" y="5715"/>
                </a:cubicBezTo>
                <a:cubicBezTo>
                  <a:pt x="173355" y="5715"/>
                  <a:pt x="171450" y="8573"/>
                  <a:pt x="171450" y="12383"/>
                </a:cubicBezTo>
                <a:cubicBezTo>
                  <a:pt x="171450" y="16192"/>
                  <a:pt x="173355" y="19050"/>
                  <a:pt x="178118" y="19050"/>
                </a:cubicBezTo>
                <a:cubicBezTo>
                  <a:pt x="183832" y="19050"/>
                  <a:pt x="185738" y="16192"/>
                  <a:pt x="185738" y="12383"/>
                </a:cubicBezTo>
                <a:moveTo>
                  <a:pt x="166688" y="85725"/>
                </a:moveTo>
                <a:lnTo>
                  <a:pt x="194310" y="85725"/>
                </a:lnTo>
                <a:lnTo>
                  <a:pt x="194310" y="80963"/>
                </a:lnTo>
                <a:lnTo>
                  <a:pt x="185738" y="80010"/>
                </a:lnTo>
                <a:lnTo>
                  <a:pt x="185738" y="28575"/>
                </a:lnTo>
                <a:lnTo>
                  <a:pt x="166688" y="28575"/>
                </a:lnTo>
                <a:lnTo>
                  <a:pt x="166688" y="33338"/>
                </a:lnTo>
                <a:lnTo>
                  <a:pt x="175260" y="34290"/>
                </a:lnTo>
                <a:lnTo>
                  <a:pt x="175260" y="80963"/>
                </a:lnTo>
                <a:lnTo>
                  <a:pt x="166688" y="81915"/>
                </a:lnTo>
                <a:lnTo>
                  <a:pt x="166688" y="85725"/>
                </a:lnTo>
                <a:close/>
                <a:moveTo>
                  <a:pt x="244793" y="33338"/>
                </a:moveTo>
                <a:lnTo>
                  <a:pt x="250507" y="33338"/>
                </a:lnTo>
                <a:lnTo>
                  <a:pt x="250507" y="28575"/>
                </a:lnTo>
                <a:lnTo>
                  <a:pt x="230505" y="28575"/>
                </a:lnTo>
                <a:lnTo>
                  <a:pt x="230505" y="33338"/>
                </a:lnTo>
                <a:lnTo>
                  <a:pt x="238125" y="33338"/>
                </a:lnTo>
                <a:lnTo>
                  <a:pt x="224790" y="73342"/>
                </a:lnTo>
                <a:lnTo>
                  <a:pt x="211455" y="33338"/>
                </a:lnTo>
                <a:lnTo>
                  <a:pt x="219075" y="33338"/>
                </a:lnTo>
                <a:lnTo>
                  <a:pt x="219075" y="28575"/>
                </a:lnTo>
                <a:lnTo>
                  <a:pt x="194310" y="28575"/>
                </a:lnTo>
                <a:lnTo>
                  <a:pt x="194310" y="33338"/>
                </a:lnTo>
                <a:lnTo>
                  <a:pt x="199072" y="33338"/>
                </a:lnTo>
                <a:lnTo>
                  <a:pt x="217170" y="85725"/>
                </a:lnTo>
                <a:lnTo>
                  <a:pt x="225743" y="85725"/>
                </a:lnTo>
                <a:lnTo>
                  <a:pt x="244793" y="33338"/>
                </a:lnTo>
                <a:close/>
                <a:moveTo>
                  <a:pt x="289560" y="50483"/>
                </a:moveTo>
                <a:lnTo>
                  <a:pt x="264795" y="50483"/>
                </a:lnTo>
                <a:cubicBezTo>
                  <a:pt x="265747" y="40958"/>
                  <a:pt x="269557" y="32385"/>
                  <a:pt x="278130" y="32385"/>
                </a:cubicBezTo>
                <a:cubicBezTo>
                  <a:pt x="285750" y="32385"/>
                  <a:pt x="288607" y="38100"/>
                  <a:pt x="288607" y="48577"/>
                </a:cubicBezTo>
                <a:lnTo>
                  <a:pt x="288607" y="50483"/>
                </a:lnTo>
                <a:close/>
                <a:moveTo>
                  <a:pt x="300038" y="57150"/>
                </a:moveTo>
                <a:cubicBezTo>
                  <a:pt x="300038" y="55245"/>
                  <a:pt x="300038" y="54292"/>
                  <a:pt x="300038" y="52388"/>
                </a:cubicBezTo>
                <a:cubicBezTo>
                  <a:pt x="300038" y="35242"/>
                  <a:pt x="291465" y="27623"/>
                  <a:pt x="278130" y="27623"/>
                </a:cubicBezTo>
                <a:cubicBezTo>
                  <a:pt x="262890" y="27623"/>
                  <a:pt x="252413" y="39052"/>
                  <a:pt x="252413" y="58102"/>
                </a:cubicBezTo>
                <a:cubicBezTo>
                  <a:pt x="252413" y="75248"/>
                  <a:pt x="260032" y="86677"/>
                  <a:pt x="277178" y="86677"/>
                </a:cubicBezTo>
                <a:cubicBezTo>
                  <a:pt x="288607" y="86677"/>
                  <a:pt x="296228" y="80963"/>
                  <a:pt x="299085" y="71438"/>
                </a:cubicBezTo>
                <a:lnTo>
                  <a:pt x="294322" y="69533"/>
                </a:lnTo>
                <a:cubicBezTo>
                  <a:pt x="291465" y="76200"/>
                  <a:pt x="287655" y="79058"/>
                  <a:pt x="280035" y="79058"/>
                </a:cubicBezTo>
                <a:cubicBezTo>
                  <a:pt x="268605" y="79058"/>
                  <a:pt x="264795" y="70485"/>
                  <a:pt x="264795" y="56198"/>
                </a:cubicBezTo>
                <a:lnTo>
                  <a:pt x="300038" y="56198"/>
                </a:lnTo>
                <a:close/>
                <a:moveTo>
                  <a:pt x="352425" y="38100"/>
                </a:moveTo>
                <a:cubicBezTo>
                  <a:pt x="352425" y="31433"/>
                  <a:pt x="346710" y="27623"/>
                  <a:pt x="340995" y="27623"/>
                </a:cubicBezTo>
                <a:cubicBezTo>
                  <a:pt x="332422" y="27623"/>
                  <a:pt x="327660" y="32385"/>
                  <a:pt x="324803" y="38100"/>
                </a:cubicBezTo>
                <a:lnTo>
                  <a:pt x="323850" y="28575"/>
                </a:lnTo>
                <a:lnTo>
                  <a:pt x="307657" y="28575"/>
                </a:lnTo>
                <a:lnTo>
                  <a:pt x="307657" y="33338"/>
                </a:lnTo>
                <a:lnTo>
                  <a:pt x="315278" y="34290"/>
                </a:lnTo>
                <a:lnTo>
                  <a:pt x="315278" y="80963"/>
                </a:lnTo>
                <a:lnTo>
                  <a:pt x="307657" y="81915"/>
                </a:lnTo>
                <a:lnTo>
                  <a:pt x="307657" y="86677"/>
                </a:lnTo>
                <a:lnTo>
                  <a:pt x="338138" y="86677"/>
                </a:lnTo>
                <a:lnTo>
                  <a:pt x="338138" y="81915"/>
                </a:lnTo>
                <a:lnTo>
                  <a:pt x="325755" y="80963"/>
                </a:lnTo>
                <a:lnTo>
                  <a:pt x="325755" y="49530"/>
                </a:lnTo>
                <a:cubicBezTo>
                  <a:pt x="325755" y="42863"/>
                  <a:pt x="331470" y="35242"/>
                  <a:pt x="337185" y="35242"/>
                </a:cubicBezTo>
                <a:cubicBezTo>
                  <a:pt x="339090" y="35242"/>
                  <a:pt x="340995" y="36195"/>
                  <a:pt x="340995" y="38100"/>
                </a:cubicBezTo>
                <a:cubicBezTo>
                  <a:pt x="340995" y="38100"/>
                  <a:pt x="340995" y="39052"/>
                  <a:pt x="340995" y="39052"/>
                </a:cubicBezTo>
                <a:lnTo>
                  <a:pt x="337185" y="40958"/>
                </a:lnTo>
                <a:cubicBezTo>
                  <a:pt x="337185" y="45720"/>
                  <a:pt x="340043" y="48577"/>
                  <a:pt x="344805" y="48577"/>
                </a:cubicBezTo>
                <a:cubicBezTo>
                  <a:pt x="348615" y="46673"/>
                  <a:pt x="352425" y="43815"/>
                  <a:pt x="352425" y="38100"/>
                </a:cubicBezTo>
                <a:moveTo>
                  <a:pt x="378143" y="12383"/>
                </a:moveTo>
                <a:cubicBezTo>
                  <a:pt x="378143" y="7620"/>
                  <a:pt x="375285" y="5715"/>
                  <a:pt x="370522" y="5715"/>
                </a:cubicBezTo>
                <a:cubicBezTo>
                  <a:pt x="365760" y="5715"/>
                  <a:pt x="363855" y="8573"/>
                  <a:pt x="363855" y="12383"/>
                </a:cubicBezTo>
                <a:cubicBezTo>
                  <a:pt x="363855" y="16192"/>
                  <a:pt x="365760" y="19050"/>
                  <a:pt x="370522" y="19050"/>
                </a:cubicBezTo>
                <a:cubicBezTo>
                  <a:pt x="375285" y="19050"/>
                  <a:pt x="378143" y="16192"/>
                  <a:pt x="378143" y="12383"/>
                </a:cubicBezTo>
                <a:moveTo>
                  <a:pt x="358140" y="85725"/>
                </a:moveTo>
                <a:lnTo>
                  <a:pt x="385763" y="85725"/>
                </a:lnTo>
                <a:lnTo>
                  <a:pt x="385763" y="80963"/>
                </a:lnTo>
                <a:lnTo>
                  <a:pt x="377190" y="80010"/>
                </a:lnTo>
                <a:lnTo>
                  <a:pt x="377190" y="28575"/>
                </a:lnTo>
                <a:lnTo>
                  <a:pt x="358140" y="28575"/>
                </a:lnTo>
                <a:lnTo>
                  <a:pt x="358140" y="33338"/>
                </a:lnTo>
                <a:lnTo>
                  <a:pt x="366713" y="34290"/>
                </a:lnTo>
                <a:lnTo>
                  <a:pt x="366713" y="80963"/>
                </a:lnTo>
                <a:lnTo>
                  <a:pt x="358140" y="81915"/>
                </a:lnTo>
                <a:lnTo>
                  <a:pt x="358140" y="85725"/>
                </a:lnTo>
                <a:close/>
                <a:moveTo>
                  <a:pt x="429578" y="85725"/>
                </a:moveTo>
                <a:lnTo>
                  <a:pt x="455295" y="85725"/>
                </a:lnTo>
                <a:lnTo>
                  <a:pt x="455295" y="80963"/>
                </a:lnTo>
                <a:lnTo>
                  <a:pt x="447675" y="80010"/>
                </a:lnTo>
                <a:lnTo>
                  <a:pt x="447675" y="46673"/>
                </a:lnTo>
                <a:cubicBezTo>
                  <a:pt x="447675" y="33338"/>
                  <a:pt x="442913" y="27623"/>
                  <a:pt x="430530" y="27623"/>
                </a:cubicBezTo>
                <a:cubicBezTo>
                  <a:pt x="421005" y="27623"/>
                  <a:pt x="414338" y="33338"/>
                  <a:pt x="410528" y="38100"/>
                </a:cubicBezTo>
                <a:lnTo>
                  <a:pt x="409575" y="28575"/>
                </a:lnTo>
                <a:lnTo>
                  <a:pt x="393382" y="28575"/>
                </a:lnTo>
                <a:lnTo>
                  <a:pt x="393382" y="33338"/>
                </a:lnTo>
                <a:lnTo>
                  <a:pt x="401003" y="34290"/>
                </a:lnTo>
                <a:lnTo>
                  <a:pt x="401003" y="80963"/>
                </a:lnTo>
                <a:lnTo>
                  <a:pt x="393382" y="81915"/>
                </a:lnTo>
                <a:lnTo>
                  <a:pt x="393382" y="86677"/>
                </a:lnTo>
                <a:lnTo>
                  <a:pt x="419100" y="86677"/>
                </a:lnTo>
                <a:lnTo>
                  <a:pt x="419100" y="81915"/>
                </a:lnTo>
                <a:lnTo>
                  <a:pt x="411480" y="80963"/>
                </a:lnTo>
                <a:lnTo>
                  <a:pt x="411480" y="50483"/>
                </a:lnTo>
                <a:cubicBezTo>
                  <a:pt x="411480" y="40958"/>
                  <a:pt x="418147" y="36195"/>
                  <a:pt x="425768" y="36195"/>
                </a:cubicBezTo>
                <a:cubicBezTo>
                  <a:pt x="434340" y="36195"/>
                  <a:pt x="436245" y="40958"/>
                  <a:pt x="436245" y="48577"/>
                </a:cubicBezTo>
                <a:lnTo>
                  <a:pt x="436245" y="81915"/>
                </a:lnTo>
                <a:lnTo>
                  <a:pt x="428625" y="82867"/>
                </a:lnTo>
                <a:lnTo>
                  <a:pt x="428625" y="85725"/>
                </a:lnTo>
                <a:close/>
                <a:moveTo>
                  <a:pt x="484822" y="87630"/>
                </a:moveTo>
                <a:cubicBezTo>
                  <a:pt x="495300" y="87630"/>
                  <a:pt x="501015" y="90488"/>
                  <a:pt x="501015" y="96202"/>
                </a:cubicBezTo>
                <a:cubicBezTo>
                  <a:pt x="501015" y="103823"/>
                  <a:pt x="495300" y="107633"/>
                  <a:pt x="484822" y="107633"/>
                </a:cubicBezTo>
                <a:cubicBezTo>
                  <a:pt x="470535" y="107633"/>
                  <a:pt x="466725" y="102870"/>
                  <a:pt x="466725" y="97155"/>
                </a:cubicBezTo>
                <a:cubicBezTo>
                  <a:pt x="466725" y="94298"/>
                  <a:pt x="467678" y="89535"/>
                  <a:pt x="469582" y="87630"/>
                </a:cubicBezTo>
                <a:lnTo>
                  <a:pt x="484822" y="87630"/>
                </a:lnTo>
                <a:close/>
                <a:moveTo>
                  <a:pt x="471488" y="46673"/>
                </a:moveTo>
                <a:cubicBezTo>
                  <a:pt x="471488" y="35242"/>
                  <a:pt x="476250" y="31433"/>
                  <a:pt x="481965" y="31433"/>
                </a:cubicBezTo>
                <a:cubicBezTo>
                  <a:pt x="488632" y="31433"/>
                  <a:pt x="492443" y="35242"/>
                  <a:pt x="492443" y="46673"/>
                </a:cubicBezTo>
                <a:cubicBezTo>
                  <a:pt x="492443" y="59055"/>
                  <a:pt x="487680" y="62865"/>
                  <a:pt x="481965" y="62865"/>
                </a:cubicBezTo>
                <a:cubicBezTo>
                  <a:pt x="476250" y="62865"/>
                  <a:pt x="471488" y="59055"/>
                  <a:pt x="471488" y="46673"/>
                </a:cubicBezTo>
                <a:moveTo>
                  <a:pt x="471488" y="74295"/>
                </a:moveTo>
                <a:cubicBezTo>
                  <a:pt x="471488" y="72390"/>
                  <a:pt x="473393" y="70485"/>
                  <a:pt x="477203" y="67627"/>
                </a:cubicBezTo>
                <a:cubicBezTo>
                  <a:pt x="479107" y="67627"/>
                  <a:pt x="481013" y="68580"/>
                  <a:pt x="483870" y="68580"/>
                </a:cubicBezTo>
                <a:cubicBezTo>
                  <a:pt x="496253" y="68580"/>
                  <a:pt x="504825" y="60960"/>
                  <a:pt x="504825" y="47625"/>
                </a:cubicBezTo>
                <a:cubicBezTo>
                  <a:pt x="504825" y="40958"/>
                  <a:pt x="501968" y="36195"/>
                  <a:pt x="499110" y="33338"/>
                </a:cubicBezTo>
                <a:lnTo>
                  <a:pt x="509588" y="31433"/>
                </a:lnTo>
                <a:lnTo>
                  <a:pt x="509588" y="24765"/>
                </a:lnTo>
                <a:cubicBezTo>
                  <a:pt x="508635" y="23813"/>
                  <a:pt x="507682" y="23813"/>
                  <a:pt x="505778" y="23813"/>
                </a:cubicBezTo>
                <a:cubicBezTo>
                  <a:pt x="501968" y="23813"/>
                  <a:pt x="498157" y="26670"/>
                  <a:pt x="495300" y="29527"/>
                </a:cubicBezTo>
                <a:cubicBezTo>
                  <a:pt x="492443" y="27623"/>
                  <a:pt x="488632" y="26670"/>
                  <a:pt x="482918" y="26670"/>
                </a:cubicBezTo>
                <a:cubicBezTo>
                  <a:pt x="467678" y="26670"/>
                  <a:pt x="460057" y="37148"/>
                  <a:pt x="460057" y="48577"/>
                </a:cubicBezTo>
                <a:cubicBezTo>
                  <a:pt x="460057" y="57150"/>
                  <a:pt x="463868" y="63817"/>
                  <a:pt x="470535" y="66675"/>
                </a:cubicBezTo>
                <a:cubicBezTo>
                  <a:pt x="464820" y="71438"/>
                  <a:pt x="460057" y="75248"/>
                  <a:pt x="460057" y="80010"/>
                </a:cubicBezTo>
                <a:cubicBezTo>
                  <a:pt x="460057" y="82867"/>
                  <a:pt x="461010" y="84773"/>
                  <a:pt x="463868" y="86677"/>
                </a:cubicBezTo>
                <a:cubicBezTo>
                  <a:pt x="460057" y="88583"/>
                  <a:pt x="456247" y="94298"/>
                  <a:pt x="456247" y="100965"/>
                </a:cubicBezTo>
                <a:cubicBezTo>
                  <a:pt x="456247" y="108585"/>
                  <a:pt x="462915" y="115252"/>
                  <a:pt x="481013" y="115252"/>
                </a:cubicBezTo>
                <a:cubicBezTo>
                  <a:pt x="502920" y="115252"/>
                  <a:pt x="508635" y="106680"/>
                  <a:pt x="508635" y="95250"/>
                </a:cubicBezTo>
                <a:cubicBezTo>
                  <a:pt x="508635" y="81915"/>
                  <a:pt x="499110" y="78105"/>
                  <a:pt x="485775" y="78105"/>
                </a:cubicBezTo>
                <a:lnTo>
                  <a:pt x="475297" y="78105"/>
                </a:lnTo>
                <a:cubicBezTo>
                  <a:pt x="472440" y="77152"/>
                  <a:pt x="471488" y="77152"/>
                  <a:pt x="471488" y="74295"/>
                </a:cubicBezTo>
                <a:moveTo>
                  <a:pt x="572453" y="69533"/>
                </a:moveTo>
                <a:cubicBezTo>
                  <a:pt x="572453" y="76200"/>
                  <a:pt x="566738" y="80010"/>
                  <a:pt x="561022" y="80010"/>
                </a:cubicBezTo>
                <a:cubicBezTo>
                  <a:pt x="555307" y="80010"/>
                  <a:pt x="553403" y="76200"/>
                  <a:pt x="553403" y="70485"/>
                </a:cubicBezTo>
                <a:cubicBezTo>
                  <a:pt x="553403" y="63817"/>
                  <a:pt x="556260" y="59055"/>
                  <a:pt x="566738" y="59055"/>
                </a:cubicBezTo>
                <a:lnTo>
                  <a:pt x="572453" y="59055"/>
                </a:lnTo>
                <a:lnTo>
                  <a:pt x="572453" y="69533"/>
                </a:lnTo>
                <a:close/>
                <a:moveTo>
                  <a:pt x="583882" y="86677"/>
                </a:moveTo>
                <a:cubicBezTo>
                  <a:pt x="587693" y="86677"/>
                  <a:pt x="590550" y="85725"/>
                  <a:pt x="592455" y="84773"/>
                </a:cubicBezTo>
                <a:lnTo>
                  <a:pt x="591503" y="80963"/>
                </a:lnTo>
                <a:cubicBezTo>
                  <a:pt x="590550" y="80963"/>
                  <a:pt x="588645" y="81915"/>
                  <a:pt x="587693" y="81915"/>
                </a:cubicBezTo>
                <a:cubicBezTo>
                  <a:pt x="584835" y="81915"/>
                  <a:pt x="583882" y="80010"/>
                  <a:pt x="583882" y="75248"/>
                </a:cubicBezTo>
                <a:lnTo>
                  <a:pt x="583882" y="49530"/>
                </a:lnTo>
                <a:cubicBezTo>
                  <a:pt x="583882" y="33338"/>
                  <a:pt x="577215" y="27623"/>
                  <a:pt x="563880" y="27623"/>
                </a:cubicBezTo>
                <a:cubicBezTo>
                  <a:pt x="552450" y="27623"/>
                  <a:pt x="544830" y="33338"/>
                  <a:pt x="544830" y="41910"/>
                </a:cubicBezTo>
                <a:cubicBezTo>
                  <a:pt x="544830" y="46673"/>
                  <a:pt x="547688" y="48577"/>
                  <a:pt x="551497" y="48577"/>
                </a:cubicBezTo>
                <a:cubicBezTo>
                  <a:pt x="555307" y="48577"/>
                  <a:pt x="558165" y="46673"/>
                  <a:pt x="558165" y="42863"/>
                </a:cubicBezTo>
                <a:cubicBezTo>
                  <a:pt x="558165" y="41910"/>
                  <a:pt x="558165" y="40005"/>
                  <a:pt x="557213" y="39052"/>
                </a:cubicBezTo>
                <a:lnTo>
                  <a:pt x="552450" y="39052"/>
                </a:lnTo>
                <a:cubicBezTo>
                  <a:pt x="552450" y="38100"/>
                  <a:pt x="552450" y="38100"/>
                  <a:pt x="552450" y="37148"/>
                </a:cubicBezTo>
                <a:cubicBezTo>
                  <a:pt x="552450" y="32385"/>
                  <a:pt x="558165" y="32385"/>
                  <a:pt x="561975" y="32385"/>
                </a:cubicBezTo>
                <a:cubicBezTo>
                  <a:pt x="570547" y="32385"/>
                  <a:pt x="573405" y="38100"/>
                  <a:pt x="573405" y="47625"/>
                </a:cubicBezTo>
                <a:lnTo>
                  <a:pt x="573405" y="55245"/>
                </a:lnTo>
                <a:lnTo>
                  <a:pt x="565785" y="55245"/>
                </a:lnTo>
                <a:cubicBezTo>
                  <a:pt x="552450" y="55245"/>
                  <a:pt x="541972" y="59055"/>
                  <a:pt x="541972" y="71438"/>
                </a:cubicBezTo>
                <a:cubicBezTo>
                  <a:pt x="541972" y="81915"/>
                  <a:pt x="548640" y="85725"/>
                  <a:pt x="557213" y="85725"/>
                </a:cubicBezTo>
                <a:cubicBezTo>
                  <a:pt x="563880" y="85725"/>
                  <a:pt x="570547" y="82867"/>
                  <a:pt x="573405" y="77152"/>
                </a:cubicBezTo>
                <a:cubicBezTo>
                  <a:pt x="574357" y="84773"/>
                  <a:pt x="577215" y="86677"/>
                  <a:pt x="583882" y="86677"/>
                </a:cubicBezTo>
                <a:moveTo>
                  <a:pt x="665797" y="57150"/>
                </a:moveTo>
                <a:cubicBezTo>
                  <a:pt x="665797" y="72390"/>
                  <a:pt x="662940" y="80963"/>
                  <a:pt x="652463" y="80963"/>
                </a:cubicBezTo>
                <a:cubicBezTo>
                  <a:pt x="644843" y="80963"/>
                  <a:pt x="638175" y="75248"/>
                  <a:pt x="638175" y="66675"/>
                </a:cubicBezTo>
                <a:lnTo>
                  <a:pt x="638175" y="49530"/>
                </a:lnTo>
                <a:cubicBezTo>
                  <a:pt x="638175" y="40005"/>
                  <a:pt x="644843" y="34290"/>
                  <a:pt x="652463" y="34290"/>
                </a:cubicBezTo>
                <a:cubicBezTo>
                  <a:pt x="662940" y="34290"/>
                  <a:pt x="665797" y="42863"/>
                  <a:pt x="665797" y="57150"/>
                </a:cubicBezTo>
                <a:moveTo>
                  <a:pt x="677228" y="56198"/>
                </a:moveTo>
                <a:cubicBezTo>
                  <a:pt x="677228" y="37148"/>
                  <a:pt x="669607" y="26670"/>
                  <a:pt x="656272" y="26670"/>
                </a:cubicBezTo>
                <a:cubicBezTo>
                  <a:pt x="646747" y="26670"/>
                  <a:pt x="641032" y="31433"/>
                  <a:pt x="638175" y="36195"/>
                </a:cubicBezTo>
                <a:lnTo>
                  <a:pt x="638175" y="0"/>
                </a:lnTo>
                <a:lnTo>
                  <a:pt x="620078" y="0"/>
                </a:lnTo>
                <a:lnTo>
                  <a:pt x="620078" y="4763"/>
                </a:lnTo>
                <a:lnTo>
                  <a:pt x="627697" y="5715"/>
                </a:lnTo>
                <a:lnTo>
                  <a:pt x="627697" y="86677"/>
                </a:lnTo>
                <a:lnTo>
                  <a:pt x="631507" y="86677"/>
                </a:lnTo>
                <a:lnTo>
                  <a:pt x="636270" y="80010"/>
                </a:lnTo>
                <a:cubicBezTo>
                  <a:pt x="640080" y="83820"/>
                  <a:pt x="645795" y="86677"/>
                  <a:pt x="653415" y="86677"/>
                </a:cubicBezTo>
                <a:cubicBezTo>
                  <a:pt x="669607" y="86677"/>
                  <a:pt x="677228" y="73342"/>
                  <a:pt x="677228" y="56198"/>
                </a:cubicBezTo>
                <a:moveTo>
                  <a:pt x="722947" y="50483"/>
                </a:moveTo>
                <a:lnTo>
                  <a:pt x="698182" y="50483"/>
                </a:lnTo>
                <a:cubicBezTo>
                  <a:pt x="699135" y="40958"/>
                  <a:pt x="702945" y="32385"/>
                  <a:pt x="711518" y="32385"/>
                </a:cubicBezTo>
                <a:cubicBezTo>
                  <a:pt x="719138" y="32385"/>
                  <a:pt x="721995" y="38100"/>
                  <a:pt x="721995" y="48577"/>
                </a:cubicBezTo>
                <a:lnTo>
                  <a:pt x="721995" y="50483"/>
                </a:lnTo>
                <a:close/>
                <a:moveTo>
                  <a:pt x="733425" y="57150"/>
                </a:moveTo>
                <a:cubicBezTo>
                  <a:pt x="733425" y="55245"/>
                  <a:pt x="733425" y="54292"/>
                  <a:pt x="733425" y="52388"/>
                </a:cubicBezTo>
                <a:cubicBezTo>
                  <a:pt x="733425" y="35242"/>
                  <a:pt x="724853" y="27623"/>
                  <a:pt x="711518" y="27623"/>
                </a:cubicBezTo>
                <a:cubicBezTo>
                  <a:pt x="696278" y="27623"/>
                  <a:pt x="685800" y="39052"/>
                  <a:pt x="685800" y="58102"/>
                </a:cubicBezTo>
                <a:cubicBezTo>
                  <a:pt x="685800" y="75248"/>
                  <a:pt x="693420" y="86677"/>
                  <a:pt x="710565" y="86677"/>
                </a:cubicBezTo>
                <a:cubicBezTo>
                  <a:pt x="721995" y="86677"/>
                  <a:pt x="729615" y="80963"/>
                  <a:pt x="732472" y="71438"/>
                </a:cubicBezTo>
                <a:lnTo>
                  <a:pt x="727710" y="69533"/>
                </a:lnTo>
                <a:cubicBezTo>
                  <a:pt x="724853" y="76200"/>
                  <a:pt x="721043" y="79058"/>
                  <a:pt x="713422" y="79058"/>
                </a:cubicBezTo>
                <a:cubicBezTo>
                  <a:pt x="701993" y="79058"/>
                  <a:pt x="698182" y="70485"/>
                  <a:pt x="698182" y="56198"/>
                </a:cubicBezTo>
                <a:lnTo>
                  <a:pt x="733425" y="56198"/>
                </a:lnTo>
                <a:close/>
                <a:moveTo>
                  <a:pt x="815340" y="72390"/>
                </a:moveTo>
                <a:lnTo>
                  <a:pt x="810578" y="71438"/>
                </a:lnTo>
                <a:cubicBezTo>
                  <a:pt x="808672" y="78105"/>
                  <a:pt x="805815" y="80963"/>
                  <a:pt x="802005" y="80963"/>
                </a:cubicBezTo>
                <a:cubicBezTo>
                  <a:pt x="797243" y="80963"/>
                  <a:pt x="796290" y="78105"/>
                  <a:pt x="796290" y="72390"/>
                </a:cubicBezTo>
                <a:lnTo>
                  <a:pt x="796290" y="35242"/>
                </a:lnTo>
                <a:lnTo>
                  <a:pt x="808672" y="35242"/>
                </a:lnTo>
                <a:lnTo>
                  <a:pt x="808672" y="28575"/>
                </a:lnTo>
                <a:lnTo>
                  <a:pt x="796290" y="28575"/>
                </a:lnTo>
                <a:lnTo>
                  <a:pt x="796290" y="11430"/>
                </a:lnTo>
                <a:lnTo>
                  <a:pt x="793432" y="11430"/>
                </a:lnTo>
                <a:lnTo>
                  <a:pt x="785813" y="13335"/>
                </a:lnTo>
                <a:lnTo>
                  <a:pt x="785813" y="28575"/>
                </a:lnTo>
                <a:lnTo>
                  <a:pt x="759143" y="28575"/>
                </a:lnTo>
                <a:lnTo>
                  <a:pt x="759143" y="11430"/>
                </a:lnTo>
                <a:lnTo>
                  <a:pt x="756285" y="11430"/>
                </a:lnTo>
                <a:lnTo>
                  <a:pt x="748665" y="13335"/>
                </a:lnTo>
                <a:lnTo>
                  <a:pt x="748665" y="28575"/>
                </a:lnTo>
                <a:lnTo>
                  <a:pt x="740093" y="28575"/>
                </a:lnTo>
                <a:lnTo>
                  <a:pt x="740093" y="34290"/>
                </a:lnTo>
                <a:lnTo>
                  <a:pt x="748665" y="34290"/>
                </a:lnTo>
                <a:lnTo>
                  <a:pt x="748665" y="73342"/>
                </a:lnTo>
                <a:cubicBezTo>
                  <a:pt x="748665" y="82867"/>
                  <a:pt x="753428" y="86677"/>
                  <a:pt x="762000" y="86677"/>
                </a:cubicBezTo>
                <a:cubicBezTo>
                  <a:pt x="771525" y="86677"/>
                  <a:pt x="776288" y="81915"/>
                  <a:pt x="778193" y="72390"/>
                </a:cubicBezTo>
                <a:lnTo>
                  <a:pt x="773430" y="71438"/>
                </a:lnTo>
                <a:cubicBezTo>
                  <a:pt x="771525" y="78105"/>
                  <a:pt x="768668" y="80963"/>
                  <a:pt x="764857" y="80963"/>
                </a:cubicBezTo>
                <a:cubicBezTo>
                  <a:pt x="760095" y="80963"/>
                  <a:pt x="759143" y="78105"/>
                  <a:pt x="759143" y="72390"/>
                </a:cubicBezTo>
                <a:lnTo>
                  <a:pt x="759143" y="35242"/>
                </a:lnTo>
                <a:lnTo>
                  <a:pt x="785813" y="35242"/>
                </a:lnTo>
                <a:lnTo>
                  <a:pt x="785813" y="74295"/>
                </a:lnTo>
                <a:cubicBezTo>
                  <a:pt x="785813" y="83820"/>
                  <a:pt x="790575" y="87630"/>
                  <a:pt x="799147" y="87630"/>
                </a:cubicBezTo>
                <a:cubicBezTo>
                  <a:pt x="808672" y="86677"/>
                  <a:pt x="813435" y="81915"/>
                  <a:pt x="815340" y="72390"/>
                </a:cubicBezTo>
                <a:moveTo>
                  <a:pt x="858203" y="50483"/>
                </a:moveTo>
                <a:lnTo>
                  <a:pt x="833438" y="50483"/>
                </a:lnTo>
                <a:cubicBezTo>
                  <a:pt x="834390" y="40958"/>
                  <a:pt x="838200" y="32385"/>
                  <a:pt x="846772" y="32385"/>
                </a:cubicBezTo>
                <a:cubicBezTo>
                  <a:pt x="854393" y="32385"/>
                  <a:pt x="857250" y="38100"/>
                  <a:pt x="857250" y="48577"/>
                </a:cubicBezTo>
                <a:lnTo>
                  <a:pt x="857250" y="50483"/>
                </a:lnTo>
                <a:close/>
                <a:moveTo>
                  <a:pt x="868680" y="57150"/>
                </a:moveTo>
                <a:cubicBezTo>
                  <a:pt x="868680" y="55245"/>
                  <a:pt x="868680" y="54292"/>
                  <a:pt x="868680" y="52388"/>
                </a:cubicBezTo>
                <a:cubicBezTo>
                  <a:pt x="868680" y="35242"/>
                  <a:pt x="860107" y="27623"/>
                  <a:pt x="846772" y="27623"/>
                </a:cubicBezTo>
                <a:cubicBezTo>
                  <a:pt x="831532" y="27623"/>
                  <a:pt x="821055" y="39052"/>
                  <a:pt x="821055" y="58102"/>
                </a:cubicBezTo>
                <a:cubicBezTo>
                  <a:pt x="821055" y="75248"/>
                  <a:pt x="828675" y="86677"/>
                  <a:pt x="845820" y="86677"/>
                </a:cubicBezTo>
                <a:cubicBezTo>
                  <a:pt x="857250" y="86677"/>
                  <a:pt x="864870" y="80963"/>
                  <a:pt x="867728" y="71438"/>
                </a:cubicBezTo>
                <a:lnTo>
                  <a:pt x="862965" y="69533"/>
                </a:lnTo>
                <a:cubicBezTo>
                  <a:pt x="860107" y="76200"/>
                  <a:pt x="856297" y="79058"/>
                  <a:pt x="848678" y="79058"/>
                </a:cubicBezTo>
                <a:cubicBezTo>
                  <a:pt x="837247" y="79058"/>
                  <a:pt x="833438" y="70485"/>
                  <a:pt x="833438" y="56198"/>
                </a:cubicBezTo>
                <a:lnTo>
                  <a:pt x="868680" y="56198"/>
                </a:lnTo>
                <a:close/>
                <a:moveTo>
                  <a:pt x="920115" y="38100"/>
                </a:moveTo>
                <a:cubicBezTo>
                  <a:pt x="920115" y="31433"/>
                  <a:pt x="914400" y="27623"/>
                  <a:pt x="908685" y="27623"/>
                </a:cubicBezTo>
                <a:cubicBezTo>
                  <a:pt x="900113" y="27623"/>
                  <a:pt x="895350" y="32385"/>
                  <a:pt x="892493" y="38100"/>
                </a:cubicBezTo>
                <a:lnTo>
                  <a:pt x="891540" y="28575"/>
                </a:lnTo>
                <a:lnTo>
                  <a:pt x="875347" y="28575"/>
                </a:lnTo>
                <a:lnTo>
                  <a:pt x="875347" y="33338"/>
                </a:lnTo>
                <a:lnTo>
                  <a:pt x="882968" y="34290"/>
                </a:lnTo>
                <a:lnTo>
                  <a:pt x="882968" y="80963"/>
                </a:lnTo>
                <a:lnTo>
                  <a:pt x="875347" y="81915"/>
                </a:lnTo>
                <a:lnTo>
                  <a:pt x="875347" y="86677"/>
                </a:lnTo>
                <a:lnTo>
                  <a:pt x="905828" y="86677"/>
                </a:lnTo>
                <a:lnTo>
                  <a:pt x="905828" y="81915"/>
                </a:lnTo>
                <a:lnTo>
                  <a:pt x="893445" y="80963"/>
                </a:lnTo>
                <a:lnTo>
                  <a:pt x="893445" y="49530"/>
                </a:lnTo>
                <a:cubicBezTo>
                  <a:pt x="893445" y="42863"/>
                  <a:pt x="899160" y="35242"/>
                  <a:pt x="904875" y="35242"/>
                </a:cubicBezTo>
                <a:cubicBezTo>
                  <a:pt x="906780" y="35242"/>
                  <a:pt x="908685" y="36195"/>
                  <a:pt x="908685" y="38100"/>
                </a:cubicBezTo>
                <a:cubicBezTo>
                  <a:pt x="908685" y="38100"/>
                  <a:pt x="908685" y="39052"/>
                  <a:pt x="908685" y="39052"/>
                </a:cubicBezTo>
                <a:lnTo>
                  <a:pt x="904875" y="40958"/>
                </a:lnTo>
                <a:cubicBezTo>
                  <a:pt x="904875" y="45720"/>
                  <a:pt x="907732" y="48577"/>
                  <a:pt x="912495" y="48577"/>
                </a:cubicBezTo>
                <a:cubicBezTo>
                  <a:pt x="917257" y="46673"/>
                  <a:pt x="920115" y="43815"/>
                  <a:pt x="920115" y="38100"/>
                </a:cubicBezTo>
                <a:moveTo>
                  <a:pt x="1024890" y="33338"/>
                </a:moveTo>
                <a:lnTo>
                  <a:pt x="1030605" y="33338"/>
                </a:lnTo>
                <a:lnTo>
                  <a:pt x="1030605" y="28575"/>
                </a:lnTo>
                <a:lnTo>
                  <a:pt x="1010603" y="28575"/>
                </a:lnTo>
                <a:lnTo>
                  <a:pt x="1010603" y="33338"/>
                </a:lnTo>
                <a:lnTo>
                  <a:pt x="1018222" y="33338"/>
                </a:lnTo>
                <a:lnTo>
                  <a:pt x="1007745" y="74295"/>
                </a:lnTo>
                <a:lnTo>
                  <a:pt x="993457" y="33338"/>
                </a:lnTo>
                <a:lnTo>
                  <a:pt x="999172" y="33338"/>
                </a:lnTo>
                <a:lnTo>
                  <a:pt x="999172" y="28575"/>
                </a:lnTo>
                <a:lnTo>
                  <a:pt x="978218" y="28575"/>
                </a:lnTo>
                <a:lnTo>
                  <a:pt x="978218" y="33338"/>
                </a:lnTo>
                <a:lnTo>
                  <a:pt x="982980" y="33338"/>
                </a:lnTo>
                <a:lnTo>
                  <a:pt x="985838" y="42863"/>
                </a:lnTo>
                <a:lnTo>
                  <a:pt x="974407" y="74295"/>
                </a:lnTo>
                <a:lnTo>
                  <a:pt x="962025" y="33338"/>
                </a:lnTo>
                <a:lnTo>
                  <a:pt x="969645" y="33338"/>
                </a:lnTo>
                <a:lnTo>
                  <a:pt x="969645" y="28575"/>
                </a:lnTo>
                <a:lnTo>
                  <a:pt x="944880" y="28575"/>
                </a:lnTo>
                <a:lnTo>
                  <a:pt x="944880" y="33338"/>
                </a:lnTo>
                <a:lnTo>
                  <a:pt x="949643" y="33338"/>
                </a:lnTo>
                <a:lnTo>
                  <a:pt x="966788" y="85725"/>
                </a:lnTo>
                <a:lnTo>
                  <a:pt x="975360" y="85725"/>
                </a:lnTo>
                <a:lnTo>
                  <a:pt x="987743" y="52388"/>
                </a:lnTo>
                <a:lnTo>
                  <a:pt x="988695" y="52388"/>
                </a:lnTo>
                <a:lnTo>
                  <a:pt x="1001078" y="85725"/>
                </a:lnTo>
                <a:lnTo>
                  <a:pt x="1009650" y="85725"/>
                </a:lnTo>
                <a:lnTo>
                  <a:pt x="1024890" y="33338"/>
                </a:lnTo>
                <a:close/>
                <a:moveTo>
                  <a:pt x="1072515" y="57150"/>
                </a:moveTo>
                <a:cubicBezTo>
                  <a:pt x="1072515" y="69533"/>
                  <a:pt x="1069657" y="80963"/>
                  <a:pt x="1059180" y="80963"/>
                </a:cubicBezTo>
                <a:cubicBezTo>
                  <a:pt x="1047750" y="80963"/>
                  <a:pt x="1044893" y="68580"/>
                  <a:pt x="1044893" y="56198"/>
                </a:cubicBezTo>
                <a:cubicBezTo>
                  <a:pt x="1044893" y="43815"/>
                  <a:pt x="1047750" y="32385"/>
                  <a:pt x="1058228" y="32385"/>
                </a:cubicBezTo>
                <a:cubicBezTo>
                  <a:pt x="1070610" y="32385"/>
                  <a:pt x="1072515" y="44767"/>
                  <a:pt x="1072515" y="57150"/>
                </a:cubicBezTo>
                <a:moveTo>
                  <a:pt x="1084898" y="57150"/>
                </a:moveTo>
                <a:cubicBezTo>
                  <a:pt x="1084898" y="40005"/>
                  <a:pt x="1077278" y="27623"/>
                  <a:pt x="1059180" y="27623"/>
                </a:cubicBezTo>
                <a:cubicBezTo>
                  <a:pt x="1042988" y="27623"/>
                  <a:pt x="1033463" y="40005"/>
                  <a:pt x="1033463" y="58102"/>
                </a:cubicBezTo>
                <a:cubicBezTo>
                  <a:pt x="1033463" y="75248"/>
                  <a:pt x="1042035" y="87630"/>
                  <a:pt x="1059180" y="87630"/>
                </a:cubicBezTo>
                <a:cubicBezTo>
                  <a:pt x="1075373" y="86677"/>
                  <a:pt x="1084898" y="75248"/>
                  <a:pt x="1084898" y="57150"/>
                </a:cubicBezTo>
                <a:moveTo>
                  <a:pt x="1136332" y="38100"/>
                </a:moveTo>
                <a:cubicBezTo>
                  <a:pt x="1136332" y="31433"/>
                  <a:pt x="1130618" y="27623"/>
                  <a:pt x="1124903" y="27623"/>
                </a:cubicBezTo>
                <a:cubicBezTo>
                  <a:pt x="1116330" y="27623"/>
                  <a:pt x="1111568" y="32385"/>
                  <a:pt x="1108710" y="38100"/>
                </a:cubicBezTo>
                <a:lnTo>
                  <a:pt x="1107757" y="28575"/>
                </a:lnTo>
                <a:lnTo>
                  <a:pt x="1091565" y="28575"/>
                </a:lnTo>
                <a:lnTo>
                  <a:pt x="1091565" y="33338"/>
                </a:lnTo>
                <a:lnTo>
                  <a:pt x="1099185" y="34290"/>
                </a:lnTo>
                <a:lnTo>
                  <a:pt x="1099185" y="80963"/>
                </a:lnTo>
                <a:lnTo>
                  <a:pt x="1091565" y="81915"/>
                </a:lnTo>
                <a:lnTo>
                  <a:pt x="1091565" y="86677"/>
                </a:lnTo>
                <a:lnTo>
                  <a:pt x="1122045" y="86677"/>
                </a:lnTo>
                <a:lnTo>
                  <a:pt x="1122045" y="81915"/>
                </a:lnTo>
                <a:lnTo>
                  <a:pt x="1109663" y="80963"/>
                </a:lnTo>
                <a:lnTo>
                  <a:pt x="1109663" y="49530"/>
                </a:lnTo>
                <a:cubicBezTo>
                  <a:pt x="1109663" y="42863"/>
                  <a:pt x="1115378" y="35242"/>
                  <a:pt x="1121093" y="35242"/>
                </a:cubicBezTo>
                <a:cubicBezTo>
                  <a:pt x="1122998" y="35242"/>
                  <a:pt x="1124903" y="36195"/>
                  <a:pt x="1124903" y="38100"/>
                </a:cubicBezTo>
                <a:cubicBezTo>
                  <a:pt x="1124903" y="38100"/>
                  <a:pt x="1124903" y="39052"/>
                  <a:pt x="1124903" y="39052"/>
                </a:cubicBezTo>
                <a:lnTo>
                  <a:pt x="1121093" y="40958"/>
                </a:lnTo>
                <a:cubicBezTo>
                  <a:pt x="1121093" y="45720"/>
                  <a:pt x="1123950" y="48577"/>
                  <a:pt x="1128713" y="48577"/>
                </a:cubicBezTo>
                <a:cubicBezTo>
                  <a:pt x="1132523" y="46673"/>
                  <a:pt x="1136332" y="43815"/>
                  <a:pt x="1136332" y="38100"/>
                </a:cubicBezTo>
                <a:moveTo>
                  <a:pt x="1138238" y="85725"/>
                </a:moveTo>
                <a:lnTo>
                  <a:pt x="1164907" y="85725"/>
                </a:lnTo>
                <a:lnTo>
                  <a:pt x="1164907" y="80963"/>
                </a:lnTo>
                <a:lnTo>
                  <a:pt x="1156335" y="80010"/>
                </a:lnTo>
                <a:lnTo>
                  <a:pt x="1156335" y="0"/>
                </a:lnTo>
                <a:lnTo>
                  <a:pt x="1137285" y="0"/>
                </a:lnTo>
                <a:lnTo>
                  <a:pt x="1137285" y="4763"/>
                </a:lnTo>
                <a:lnTo>
                  <a:pt x="1144905" y="5715"/>
                </a:lnTo>
                <a:lnTo>
                  <a:pt x="1144905" y="80010"/>
                </a:lnTo>
                <a:lnTo>
                  <a:pt x="1137285" y="80963"/>
                </a:lnTo>
                <a:lnTo>
                  <a:pt x="1137285" y="85725"/>
                </a:lnTo>
                <a:close/>
                <a:moveTo>
                  <a:pt x="1209675" y="64770"/>
                </a:moveTo>
                <a:cubicBezTo>
                  <a:pt x="1209675" y="73342"/>
                  <a:pt x="1203007" y="79058"/>
                  <a:pt x="1195388" y="79058"/>
                </a:cubicBezTo>
                <a:cubicBezTo>
                  <a:pt x="1183957" y="79058"/>
                  <a:pt x="1182053" y="67627"/>
                  <a:pt x="1182053" y="56198"/>
                </a:cubicBezTo>
                <a:cubicBezTo>
                  <a:pt x="1182053" y="41910"/>
                  <a:pt x="1184910" y="32385"/>
                  <a:pt x="1196340" y="32385"/>
                </a:cubicBezTo>
                <a:cubicBezTo>
                  <a:pt x="1203007" y="32385"/>
                  <a:pt x="1209675" y="37148"/>
                  <a:pt x="1209675" y="45720"/>
                </a:cubicBezTo>
                <a:lnTo>
                  <a:pt x="1209675" y="64770"/>
                </a:lnTo>
                <a:close/>
                <a:moveTo>
                  <a:pt x="1227773" y="85725"/>
                </a:moveTo>
                <a:lnTo>
                  <a:pt x="1227773" y="80963"/>
                </a:lnTo>
                <a:lnTo>
                  <a:pt x="1220153" y="80010"/>
                </a:lnTo>
                <a:lnTo>
                  <a:pt x="1220153" y="0"/>
                </a:lnTo>
                <a:lnTo>
                  <a:pt x="1200150" y="0"/>
                </a:lnTo>
                <a:lnTo>
                  <a:pt x="1200150" y="4763"/>
                </a:lnTo>
                <a:lnTo>
                  <a:pt x="1208723" y="5715"/>
                </a:lnTo>
                <a:lnTo>
                  <a:pt x="1208723" y="33338"/>
                </a:lnTo>
                <a:cubicBezTo>
                  <a:pt x="1203960" y="28575"/>
                  <a:pt x="1199198" y="26670"/>
                  <a:pt x="1193482" y="26670"/>
                </a:cubicBezTo>
                <a:cubicBezTo>
                  <a:pt x="1179195" y="26670"/>
                  <a:pt x="1169670" y="38100"/>
                  <a:pt x="1169670" y="57150"/>
                </a:cubicBezTo>
                <a:cubicBezTo>
                  <a:pt x="1169670" y="74295"/>
                  <a:pt x="1176338" y="85725"/>
                  <a:pt x="1191578" y="85725"/>
                </a:cubicBezTo>
                <a:cubicBezTo>
                  <a:pt x="1201103" y="85725"/>
                  <a:pt x="1205865" y="80963"/>
                  <a:pt x="1209675" y="76200"/>
                </a:cubicBezTo>
                <a:lnTo>
                  <a:pt x="1210628" y="84773"/>
                </a:lnTo>
                <a:lnTo>
                  <a:pt x="1227773" y="84773"/>
                </a:lnTo>
                <a:close/>
              </a:path>
            </a:pathLst>
          </a:custGeom>
          <a:solidFill>
            <a:schemeClr val="bg1"/>
          </a:solidFill>
          <a:ln w="9525" cap="flat">
            <a:noFill/>
            <a:prstDash val="solid"/>
            <a:miter/>
          </a:ln>
        </p:spPr>
        <p:txBody>
          <a:bodyPr rtlCol="0" anchor="ctr"/>
          <a:lstStyle/>
          <a:p>
            <a:endParaRPr lang="en-US"/>
          </a:p>
        </p:txBody>
      </p:sp>
      <p:grpSp>
        <p:nvGrpSpPr>
          <p:cNvPr id="17" name="Group 16">
            <a:extLst>
              <a:ext uri="{FF2B5EF4-FFF2-40B4-BE49-F238E27FC236}">
                <a16:creationId xmlns:a16="http://schemas.microsoft.com/office/drawing/2014/main" id="{80601C35-226E-4852-A54E-33710096F8CF}"/>
              </a:ext>
            </a:extLst>
          </p:cNvPr>
          <p:cNvGrpSpPr/>
          <p:nvPr userDrawn="1"/>
        </p:nvGrpSpPr>
        <p:grpSpPr>
          <a:xfrm>
            <a:off x="10601983" y="286755"/>
            <a:ext cx="1297917" cy="302151"/>
            <a:chOff x="10601983" y="286755"/>
            <a:chExt cx="1297917" cy="302151"/>
          </a:xfrm>
          <a:solidFill>
            <a:schemeClr val="bg1"/>
          </a:solidFill>
        </p:grpSpPr>
        <p:sp>
          <p:nvSpPr>
            <p:cNvPr id="19" name="Freeform 5">
              <a:extLst>
                <a:ext uri="{FF2B5EF4-FFF2-40B4-BE49-F238E27FC236}">
                  <a16:creationId xmlns:a16="http://schemas.microsoft.com/office/drawing/2014/main" id="{13EB222D-C693-47B0-91C1-407664319F3E}"/>
                </a:ext>
              </a:extLst>
            </p:cNvPr>
            <p:cNvSpPr>
              <a:spLocks noEditPoints="1"/>
            </p:cNvSpPr>
            <p:nvPr userDrawn="1"/>
          </p:nvSpPr>
          <p:spPr bwMode="auto">
            <a:xfrm>
              <a:off x="10601983" y="296256"/>
              <a:ext cx="273646" cy="283148"/>
            </a:xfrm>
            <a:custGeom>
              <a:avLst/>
              <a:gdLst>
                <a:gd name="T0" fmla="*/ 205 w 467"/>
                <a:gd name="T1" fmla="*/ 280 h 480"/>
                <a:gd name="T2" fmla="*/ 205 w 467"/>
                <a:gd name="T3" fmla="*/ 280 h 480"/>
                <a:gd name="T4" fmla="*/ 274 w 467"/>
                <a:gd name="T5" fmla="*/ 114 h 480"/>
                <a:gd name="T6" fmla="*/ 275 w 467"/>
                <a:gd name="T7" fmla="*/ 114 h 480"/>
                <a:gd name="T8" fmla="*/ 311 w 467"/>
                <a:gd name="T9" fmla="*/ 280 h 480"/>
                <a:gd name="T10" fmla="*/ 205 w 467"/>
                <a:gd name="T11" fmla="*/ 280 h 480"/>
                <a:gd name="T12" fmla="*/ 205 w 467"/>
                <a:gd name="T13" fmla="*/ 280 h 480"/>
                <a:gd name="T14" fmla="*/ 353 w 467"/>
                <a:gd name="T15" fmla="*/ 480 h 480"/>
                <a:gd name="T16" fmla="*/ 353 w 467"/>
                <a:gd name="T17" fmla="*/ 480 h 480"/>
                <a:gd name="T18" fmla="*/ 467 w 467"/>
                <a:gd name="T19" fmla="*/ 480 h 480"/>
                <a:gd name="T20" fmla="*/ 356 w 467"/>
                <a:gd name="T21" fmla="*/ 0 h 480"/>
                <a:gd name="T22" fmla="*/ 226 w 467"/>
                <a:gd name="T23" fmla="*/ 0 h 480"/>
                <a:gd name="T24" fmla="*/ 0 w 467"/>
                <a:gd name="T25" fmla="*/ 480 h 480"/>
                <a:gd name="T26" fmla="*/ 121 w 467"/>
                <a:gd name="T27" fmla="*/ 480 h 480"/>
                <a:gd name="T28" fmla="*/ 160 w 467"/>
                <a:gd name="T29" fmla="*/ 386 h 480"/>
                <a:gd name="T30" fmla="*/ 333 w 467"/>
                <a:gd name="T31" fmla="*/ 386 h 480"/>
                <a:gd name="T32" fmla="*/ 353 w 467"/>
                <a:gd name="T33" fmla="*/ 4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7" h="480">
                  <a:moveTo>
                    <a:pt x="205" y="280"/>
                  </a:moveTo>
                  <a:lnTo>
                    <a:pt x="205" y="280"/>
                  </a:lnTo>
                  <a:lnTo>
                    <a:pt x="274" y="114"/>
                  </a:lnTo>
                  <a:lnTo>
                    <a:pt x="275" y="114"/>
                  </a:lnTo>
                  <a:lnTo>
                    <a:pt x="311" y="280"/>
                  </a:lnTo>
                  <a:lnTo>
                    <a:pt x="205" y="280"/>
                  </a:lnTo>
                  <a:lnTo>
                    <a:pt x="205" y="280"/>
                  </a:lnTo>
                  <a:close/>
                  <a:moveTo>
                    <a:pt x="353" y="480"/>
                  </a:moveTo>
                  <a:lnTo>
                    <a:pt x="353" y="480"/>
                  </a:lnTo>
                  <a:lnTo>
                    <a:pt x="467" y="480"/>
                  </a:lnTo>
                  <a:lnTo>
                    <a:pt x="356" y="0"/>
                  </a:lnTo>
                  <a:lnTo>
                    <a:pt x="226" y="0"/>
                  </a:lnTo>
                  <a:lnTo>
                    <a:pt x="0" y="480"/>
                  </a:lnTo>
                  <a:lnTo>
                    <a:pt x="121" y="480"/>
                  </a:lnTo>
                  <a:lnTo>
                    <a:pt x="160" y="386"/>
                  </a:lnTo>
                  <a:lnTo>
                    <a:pt x="333" y="386"/>
                  </a:lnTo>
                  <a:lnTo>
                    <a:pt x="353" y="48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A5D6CA3A-E963-4600-AE9A-37391BC00DED}"/>
                </a:ext>
              </a:extLst>
            </p:cNvPr>
            <p:cNvSpPr>
              <a:spLocks noEditPoints="1"/>
            </p:cNvSpPr>
            <p:nvPr userDrawn="1"/>
          </p:nvSpPr>
          <p:spPr bwMode="auto">
            <a:xfrm>
              <a:off x="10875629" y="296256"/>
              <a:ext cx="241341" cy="283148"/>
            </a:xfrm>
            <a:custGeom>
              <a:avLst/>
              <a:gdLst>
                <a:gd name="T0" fmla="*/ 325 w 410"/>
                <a:gd name="T1" fmla="*/ 295 h 480"/>
                <a:gd name="T2" fmla="*/ 325 w 410"/>
                <a:gd name="T3" fmla="*/ 295 h 480"/>
                <a:gd name="T4" fmla="*/ 28 w 410"/>
                <a:gd name="T5" fmla="*/ 295 h 480"/>
                <a:gd name="T6" fmla="*/ 45 w 410"/>
                <a:gd name="T7" fmla="*/ 184 h 480"/>
                <a:gd name="T8" fmla="*/ 341 w 410"/>
                <a:gd name="T9" fmla="*/ 184 h 480"/>
                <a:gd name="T10" fmla="*/ 325 w 410"/>
                <a:gd name="T11" fmla="*/ 295 h 480"/>
                <a:gd name="T12" fmla="*/ 325 w 410"/>
                <a:gd name="T13" fmla="*/ 295 h 480"/>
                <a:gd name="T14" fmla="*/ 393 w 410"/>
                <a:gd name="T15" fmla="*/ 111 h 480"/>
                <a:gd name="T16" fmla="*/ 393 w 410"/>
                <a:gd name="T17" fmla="*/ 111 h 480"/>
                <a:gd name="T18" fmla="*/ 55 w 410"/>
                <a:gd name="T19" fmla="*/ 111 h 480"/>
                <a:gd name="T20" fmla="*/ 72 w 410"/>
                <a:gd name="T21" fmla="*/ 0 h 480"/>
                <a:gd name="T22" fmla="*/ 410 w 410"/>
                <a:gd name="T23" fmla="*/ 0 h 480"/>
                <a:gd name="T24" fmla="*/ 393 w 410"/>
                <a:gd name="T25" fmla="*/ 111 h 480"/>
                <a:gd name="T26" fmla="*/ 393 w 410"/>
                <a:gd name="T27" fmla="*/ 111 h 480"/>
                <a:gd name="T28" fmla="*/ 354 w 410"/>
                <a:gd name="T29" fmla="*/ 368 h 480"/>
                <a:gd name="T30" fmla="*/ 354 w 410"/>
                <a:gd name="T31" fmla="*/ 368 h 480"/>
                <a:gd name="T32" fmla="*/ 17 w 410"/>
                <a:gd name="T33" fmla="*/ 368 h 480"/>
                <a:gd name="T34" fmla="*/ 0 w 410"/>
                <a:gd name="T35" fmla="*/ 480 h 480"/>
                <a:gd name="T36" fmla="*/ 338 w 410"/>
                <a:gd name="T37" fmla="*/ 480 h 480"/>
                <a:gd name="T38" fmla="*/ 354 w 410"/>
                <a:gd name="T39" fmla="*/ 368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0" h="480">
                  <a:moveTo>
                    <a:pt x="325" y="295"/>
                  </a:moveTo>
                  <a:lnTo>
                    <a:pt x="325" y="295"/>
                  </a:lnTo>
                  <a:lnTo>
                    <a:pt x="28" y="295"/>
                  </a:lnTo>
                  <a:lnTo>
                    <a:pt x="45" y="184"/>
                  </a:lnTo>
                  <a:lnTo>
                    <a:pt x="341" y="184"/>
                  </a:lnTo>
                  <a:lnTo>
                    <a:pt x="325" y="295"/>
                  </a:lnTo>
                  <a:lnTo>
                    <a:pt x="325" y="295"/>
                  </a:lnTo>
                  <a:close/>
                  <a:moveTo>
                    <a:pt x="393" y="111"/>
                  </a:moveTo>
                  <a:lnTo>
                    <a:pt x="393" y="111"/>
                  </a:lnTo>
                  <a:lnTo>
                    <a:pt x="55" y="111"/>
                  </a:lnTo>
                  <a:lnTo>
                    <a:pt x="72" y="0"/>
                  </a:lnTo>
                  <a:lnTo>
                    <a:pt x="410" y="0"/>
                  </a:lnTo>
                  <a:lnTo>
                    <a:pt x="393" y="111"/>
                  </a:lnTo>
                  <a:lnTo>
                    <a:pt x="393" y="111"/>
                  </a:lnTo>
                  <a:close/>
                  <a:moveTo>
                    <a:pt x="354" y="368"/>
                  </a:moveTo>
                  <a:lnTo>
                    <a:pt x="354" y="368"/>
                  </a:lnTo>
                  <a:lnTo>
                    <a:pt x="17" y="368"/>
                  </a:lnTo>
                  <a:lnTo>
                    <a:pt x="0" y="480"/>
                  </a:lnTo>
                  <a:lnTo>
                    <a:pt x="338" y="480"/>
                  </a:lnTo>
                  <a:lnTo>
                    <a:pt x="354" y="36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A62B609F-DB0F-422F-999A-6746321CDD2A}"/>
                </a:ext>
              </a:extLst>
            </p:cNvPr>
            <p:cNvSpPr>
              <a:spLocks/>
            </p:cNvSpPr>
            <p:nvPr userDrawn="1"/>
          </p:nvSpPr>
          <p:spPr bwMode="auto">
            <a:xfrm>
              <a:off x="11096065" y="290556"/>
              <a:ext cx="235639" cy="294550"/>
            </a:xfrm>
            <a:custGeom>
              <a:avLst/>
              <a:gdLst>
                <a:gd name="T0" fmla="*/ 351 w 400"/>
                <a:gd name="T1" fmla="*/ 366 h 499"/>
                <a:gd name="T2" fmla="*/ 351 w 400"/>
                <a:gd name="T3" fmla="*/ 366 h 499"/>
                <a:gd name="T4" fmla="*/ 247 w 400"/>
                <a:gd name="T5" fmla="*/ 384 h 499"/>
                <a:gd name="T6" fmla="*/ 124 w 400"/>
                <a:gd name="T7" fmla="*/ 255 h 499"/>
                <a:gd name="T8" fmla="*/ 271 w 400"/>
                <a:gd name="T9" fmla="*/ 115 h 499"/>
                <a:gd name="T10" fmla="*/ 377 w 400"/>
                <a:gd name="T11" fmla="*/ 155 h 499"/>
                <a:gd name="T12" fmla="*/ 400 w 400"/>
                <a:gd name="T13" fmla="*/ 40 h 499"/>
                <a:gd name="T14" fmla="*/ 262 w 400"/>
                <a:gd name="T15" fmla="*/ 0 h 499"/>
                <a:gd name="T16" fmla="*/ 5 w 400"/>
                <a:gd name="T17" fmla="*/ 260 h 499"/>
                <a:gd name="T18" fmla="*/ 227 w 400"/>
                <a:gd name="T19" fmla="*/ 499 h 499"/>
                <a:gd name="T20" fmla="*/ 334 w 400"/>
                <a:gd name="T21" fmla="*/ 482 h 499"/>
                <a:gd name="T22" fmla="*/ 351 w 400"/>
                <a:gd name="T23" fmla="*/ 36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499">
                  <a:moveTo>
                    <a:pt x="351" y="366"/>
                  </a:moveTo>
                  <a:lnTo>
                    <a:pt x="351" y="366"/>
                  </a:lnTo>
                  <a:cubicBezTo>
                    <a:pt x="319" y="381"/>
                    <a:pt x="271" y="384"/>
                    <a:pt x="247" y="384"/>
                  </a:cubicBezTo>
                  <a:cubicBezTo>
                    <a:pt x="171" y="384"/>
                    <a:pt x="121" y="332"/>
                    <a:pt x="124" y="255"/>
                  </a:cubicBezTo>
                  <a:cubicBezTo>
                    <a:pt x="126" y="174"/>
                    <a:pt x="188" y="115"/>
                    <a:pt x="271" y="115"/>
                  </a:cubicBezTo>
                  <a:cubicBezTo>
                    <a:pt x="311" y="115"/>
                    <a:pt x="346" y="128"/>
                    <a:pt x="377" y="155"/>
                  </a:cubicBezTo>
                  <a:lnTo>
                    <a:pt x="400" y="40"/>
                  </a:lnTo>
                  <a:cubicBezTo>
                    <a:pt x="352" y="12"/>
                    <a:pt x="312" y="0"/>
                    <a:pt x="262" y="0"/>
                  </a:cubicBezTo>
                  <a:cubicBezTo>
                    <a:pt x="124" y="0"/>
                    <a:pt x="10" y="115"/>
                    <a:pt x="5" y="260"/>
                  </a:cubicBezTo>
                  <a:cubicBezTo>
                    <a:pt x="0" y="400"/>
                    <a:pt x="92" y="499"/>
                    <a:pt x="227" y="499"/>
                  </a:cubicBezTo>
                  <a:cubicBezTo>
                    <a:pt x="251" y="499"/>
                    <a:pt x="302" y="496"/>
                    <a:pt x="334" y="482"/>
                  </a:cubicBezTo>
                  <a:lnTo>
                    <a:pt x="351" y="3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8">
              <a:extLst>
                <a:ext uri="{FF2B5EF4-FFF2-40B4-BE49-F238E27FC236}">
                  <a16:creationId xmlns:a16="http://schemas.microsoft.com/office/drawing/2014/main" id="{EE2627BC-FB6C-4DE9-8C66-FF75C2ABC7E6}"/>
                </a:ext>
              </a:extLst>
            </p:cNvPr>
            <p:cNvSpPr>
              <a:spLocks noEditPoints="1"/>
            </p:cNvSpPr>
            <p:nvPr userDrawn="1"/>
          </p:nvSpPr>
          <p:spPr bwMode="auto">
            <a:xfrm>
              <a:off x="11308901" y="286755"/>
              <a:ext cx="285048" cy="302151"/>
            </a:xfrm>
            <a:custGeom>
              <a:avLst/>
              <a:gdLst>
                <a:gd name="T0" fmla="*/ 355 w 484"/>
                <a:gd name="T1" fmla="*/ 274 h 514"/>
                <a:gd name="T2" fmla="*/ 355 w 484"/>
                <a:gd name="T3" fmla="*/ 274 h 514"/>
                <a:gd name="T4" fmla="*/ 281 w 484"/>
                <a:gd name="T5" fmla="*/ 117 h 514"/>
                <a:gd name="T6" fmla="*/ 134 w 484"/>
                <a:gd name="T7" fmla="*/ 241 h 514"/>
                <a:gd name="T8" fmla="*/ 208 w 484"/>
                <a:gd name="T9" fmla="*/ 398 h 514"/>
                <a:gd name="T10" fmla="*/ 355 w 484"/>
                <a:gd name="T11" fmla="*/ 274 h 514"/>
                <a:gd name="T12" fmla="*/ 355 w 484"/>
                <a:gd name="T13" fmla="*/ 274 h 514"/>
                <a:gd name="T14" fmla="*/ 276 w 484"/>
                <a:gd name="T15" fmla="*/ 9 h 514"/>
                <a:gd name="T16" fmla="*/ 276 w 484"/>
                <a:gd name="T17" fmla="*/ 9 h 514"/>
                <a:gd name="T18" fmla="*/ 470 w 484"/>
                <a:gd name="T19" fmla="*/ 263 h 514"/>
                <a:gd name="T20" fmla="*/ 208 w 484"/>
                <a:gd name="T21" fmla="*/ 504 h 514"/>
                <a:gd name="T22" fmla="*/ 14 w 484"/>
                <a:gd name="T23" fmla="*/ 251 h 514"/>
                <a:gd name="T24" fmla="*/ 276 w 484"/>
                <a:gd name="T25" fmla="*/ 9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514">
                  <a:moveTo>
                    <a:pt x="355" y="274"/>
                  </a:moveTo>
                  <a:lnTo>
                    <a:pt x="355" y="274"/>
                  </a:lnTo>
                  <a:cubicBezTo>
                    <a:pt x="373" y="193"/>
                    <a:pt x="343" y="130"/>
                    <a:pt x="281" y="117"/>
                  </a:cubicBezTo>
                  <a:cubicBezTo>
                    <a:pt x="214" y="104"/>
                    <a:pt x="152" y="155"/>
                    <a:pt x="134" y="241"/>
                  </a:cubicBezTo>
                  <a:cubicBezTo>
                    <a:pt x="117" y="322"/>
                    <a:pt x="147" y="385"/>
                    <a:pt x="208" y="398"/>
                  </a:cubicBezTo>
                  <a:cubicBezTo>
                    <a:pt x="276" y="412"/>
                    <a:pt x="337" y="360"/>
                    <a:pt x="355" y="274"/>
                  </a:cubicBezTo>
                  <a:lnTo>
                    <a:pt x="355" y="274"/>
                  </a:lnTo>
                  <a:close/>
                  <a:moveTo>
                    <a:pt x="276" y="9"/>
                  </a:moveTo>
                  <a:lnTo>
                    <a:pt x="276" y="9"/>
                  </a:lnTo>
                  <a:cubicBezTo>
                    <a:pt x="404" y="18"/>
                    <a:pt x="484" y="123"/>
                    <a:pt x="470" y="263"/>
                  </a:cubicBezTo>
                  <a:cubicBezTo>
                    <a:pt x="455" y="407"/>
                    <a:pt x="339" y="514"/>
                    <a:pt x="208" y="504"/>
                  </a:cubicBezTo>
                  <a:cubicBezTo>
                    <a:pt x="79" y="495"/>
                    <a:pt x="0" y="391"/>
                    <a:pt x="14" y="251"/>
                  </a:cubicBezTo>
                  <a:cubicBezTo>
                    <a:pt x="29" y="107"/>
                    <a:pt x="145" y="0"/>
                    <a:pt x="276"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520F319E-08D4-4CDF-8C17-953260FFD4C1}"/>
                </a:ext>
              </a:extLst>
            </p:cNvPr>
            <p:cNvSpPr>
              <a:spLocks/>
            </p:cNvSpPr>
            <p:nvPr userDrawn="1"/>
          </p:nvSpPr>
          <p:spPr bwMode="auto">
            <a:xfrm>
              <a:off x="11565444" y="296256"/>
              <a:ext cx="334456" cy="283148"/>
            </a:xfrm>
            <a:custGeom>
              <a:avLst/>
              <a:gdLst>
                <a:gd name="T0" fmla="*/ 569 w 569"/>
                <a:gd name="T1" fmla="*/ 481 h 481"/>
                <a:gd name="T2" fmla="*/ 569 w 569"/>
                <a:gd name="T3" fmla="*/ 481 h 481"/>
                <a:gd name="T4" fmla="*/ 560 w 569"/>
                <a:gd name="T5" fmla="*/ 0 h 481"/>
                <a:gd name="T6" fmla="*/ 452 w 569"/>
                <a:gd name="T7" fmla="*/ 0 h 481"/>
                <a:gd name="T8" fmla="*/ 313 w 569"/>
                <a:gd name="T9" fmla="*/ 271 h 481"/>
                <a:gd name="T10" fmla="*/ 257 w 569"/>
                <a:gd name="T11" fmla="*/ 0 h 481"/>
                <a:gd name="T12" fmla="*/ 149 w 569"/>
                <a:gd name="T13" fmla="*/ 0 h 481"/>
                <a:gd name="T14" fmla="*/ 0 w 569"/>
                <a:gd name="T15" fmla="*/ 481 h 481"/>
                <a:gd name="T16" fmla="*/ 119 w 569"/>
                <a:gd name="T17" fmla="*/ 481 h 481"/>
                <a:gd name="T18" fmla="*/ 200 w 569"/>
                <a:gd name="T19" fmla="*/ 199 h 481"/>
                <a:gd name="T20" fmla="*/ 251 w 569"/>
                <a:gd name="T21" fmla="*/ 481 h 481"/>
                <a:gd name="T22" fmla="*/ 312 w 569"/>
                <a:gd name="T23" fmla="*/ 481 h 481"/>
                <a:gd name="T24" fmla="*/ 453 w 569"/>
                <a:gd name="T25" fmla="*/ 200 h 481"/>
                <a:gd name="T26" fmla="*/ 451 w 569"/>
                <a:gd name="T27" fmla="*/ 481 h 481"/>
                <a:gd name="T28" fmla="*/ 569 w 569"/>
                <a:gd name="T2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9" h="481">
                  <a:moveTo>
                    <a:pt x="569" y="481"/>
                  </a:moveTo>
                  <a:lnTo>
                    <a:pt x="569" y="481"/>
                  </a:lnTo>
                  <a:lnTo>
                    <a:pt x="560" y="0"/>
                  </a:lnTo>
                  <a:lnTo>
                    <a:pt x="452" y="0"/>
                  </a:lnTo>
                  <a:lnTo>
                    <a:pt x="313" y="271"/>
                  </a:lnTo>
                  <a:lnTo>
                    <a:pt x="257" y="0"/>
                  </a:lnTo>
                  <a:lnTo>
                    <a:pt x="149" y="0"/>
                  </a:lnTo>
                  <a:lnTo>
                    <a:pt x="0" y="481"/>
                  </a:lnTo>
                  <a:lnTo>
                    <a:pt x="119" y="481"/>
                  </a:lnTo>
                  <a:lnTo>
                    <a:pt x="200" y="199"/>
                  </a:lnTo>
                  <a:lnTo>
                    <a:pt x="251" y="481"/>
                  </a:lnTo>
                  <a:lnTo>
                    <a:pt x="312" y="481"/>
                  </a:lnTo>
                  <a:lnTo>
                    <a:pt x="453" y="200"/>
                  </a:lnTo>
                  <a:lnTo>
                    <a:pt x="451" y="481"/>
                  </a:lnTo>
                  <a:lnTo>
                    <a:pt x="569" y="4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1B1C1A4B-EB3C-E14C-A722-997548E33459}"/>
              </a:ext>
            </a:extLst>
          </p:cNvPr>
          <p:cNvGrpSpPr/>
          <p:nvPr userDrawn="1"/>
        </p:nvGrpSpPr>
        <p:grpSpPr>
          <a:xfrm>
            <a:off x="10814051" y="6438651"/>
            <a:ext cx="1111250" cy="225425"/>
            <a:chOff x="292100" y="6413250"/>
            <a:chExt cx="1111250" cy="225425"/>
          </a:xfrm>
        </p:grpSpPr>
        <p:sp>
          <p:nvSpPr>
            <p:cNvPr id="25" name="Freeform: Shape 12">
              <a:extLst>
                <a:ext uri="{FF2B5EF4-FFF2-40B4-BE49-F238E27FC236}">
                  <a16:creationId xmlns:a16="http://schemas.microsoft.com/office/drawing/2014/main" id="{F782603F-A068-4B43-AFA0-53B58D894959}"/>
                </a:ext>
              </a:extLst>
            </p:cNvPr>
            <p:cNvSpPr/>
            <p:nvPr userDrawn="1"/>
          </p:nvSpPr>
          <p:spPr>
            <a:xfrm>
              <a:off x="292100" y="6413250"/>
              <a:ext cx="225425" cy="225425"/>
            </a:xfrm>
            <a:custGeom>
              <a:avLst/>
              <a:gdLst>
                <a:gd name="connsiteX0" fmla="*/ 329565 w 342900"/>
                <a:gd name="connsiteY0" fmla="*/ 104775 h 342900"/>
                <a:gd name="connsiteX1" fmla="*/ 292418 w 342900"/>
                <a:gd name="connsiteY1" fmla="*/ 50483 h 342900"/>
                <a:gd name="connsiteX2" fmla="*/ 238125 w 342900"/>
                <a:gd name="connsiteY2" fmla="*/ 13335 h 342900"/>
                <a:gd name="connsiteX3" fmla="*/ 171450 w 342900"/>
                <a:gd name="connsiteY3" fmla="*/ 0 h 342900"/>
                <a:gd name="connsiteX4" fmla="*/ 104775 w 342900"/>
                <a:gd name="connsiteY4" fmla="*/ 13335 h 342900"/>
                <a:gd name="connsiteX5" fmla="*/ 50483 w 342900"/>
                <a:gd name="connsiteY5" fmla="*/ 50483 h 342900"/>
                <a:gd name="connsiteX6" fmla="*/ 13335 w 342900"/>
                <a:gd name="connsiteY6" fmla="*/ 104775 h 342900"/>
                <a:gd name="connsiteX7" fmla="*/ 0 w 342900"/>
                <a:gd name="connsiteY7" fmla="*/ 171450 h 342900"/>
                <a:gd name="connsiteX8" fmla="*/ 13335 w 342900"/>
                <a:gd name="connsiteY8" fmla="*/ 238125 h 342900"/>
                <a:gd name="connsiteX9" fmla="*/ 50483 w 342900"/>
                <a:gd name="connsiteY9" fmla="*/ 292418 h 342900"/>
                <a:gd name="connsiteX10" fmla="*/ 104775 w 342900"/>
                <a:gd name="connsiteY10" fmla="*/ 329565 h 342900"/>
                <a:gd name="connsiteX11" fmla="*/ 171450 w 342900"/>
                <a:gd name="connsiteY11" fmla="*/ 342900 h 342900"/>
                <a:gd name="connsiteX12" fmla="*/ 171450 w 342900"/>
                <a:gd name="connsiteY12" fmla="*/ 308610 h 342900"/>
                <a:gd name="connsiteX13" fmla="*/ 74295 w 342900"/>
                <a:gd name="connsiteY13" fmla="*/ 268605 h 342900"/>
                <a:gd name="connsiteX14" fmla="*/ 35243 w 342900"/>
                <a:gd name="connsiteY14" fmla="*/ 188595 h 342900"/>
                <a:gd name="connsiteX15" fmla="*/ 180975 w 342900"/>
                <a:gd name="connsiteY15" fmla="*/ 188595 h 342900"/>
                <a:gd name="connsiteX16" fmla="*/ 141923 w 342900"/>
                <a:gd name="connsiteY16" fmla="*/ 227648 h 342900"/>
                <a:gd name="connsiteX17" fmla="*/ 165735 w 342900"/>
                <a:gd name="connsiteY17" fmla="*/ 251460 h 342900"/>
                <a:gd name="connsiteX18" fmla="*/ 246698 w 342900"/>
                <a:gd name="connsiteY18" fmla="*/ 170498 h 342900"/>
                <a:gd name="connsiteX19" fmla="*/ 165735 w 342900"/>
                <a:gd name="connsiteY19" fmla="*/ 89535 h 342900"/>
                <a:gd name="connsiteX20" fmla="*/ 141923 w 342900"/>
                <a:gd name="connsiteY20" fmla="*/ 113348 h 342900"/>
                <a:gd name="connsiteX21" fmla="*/ 180975 w 342900"/>
                <a:gd name="connsiteY21" fmla="*/ 152400 h 342900"/>
                <a:gd name="connsiteX22" fmla="*/ 35243 w 342900"/>
                <a:gd name="connsiteY22" fmla="*/ 152400 h 342900"/>
                <a:gd name="connsiteX23" fmla="*/ 74295 w 342900"/>
                <a:gd name="connsiteY23" fmla="*/ 72390 h 342900"/>
                <a:gd name="connsiteX24" fmla="*/ 171450 w 342900"/>
                <a:gd name="connsiteY24" fmla="*/ 32385 h 342900"/>
                <a:gd name="connsiteX25" fmla="*/ 268605 w 342900"/>
                <a:gd name="connsiteY25" fmla="*/ 72390 h 342900"/>
                <a:gd name="connsiteX26" fmla="*/ 308610 w 342900"/>
                <a:gd name="connsiteY26" fmla="*/ 169545 h 342900"/>
                <a:gd name="connsiteX27" fmla="*/ 342900 w 342900"/>
                <a:gd name="connsiteY27" fmla="*/ 169545 h 342900"/>
                <a:gd name="connsiteX28" fmla="*/ 329565 w 342900"/>
                <a:gd name="connsiteY28" fmla="*/ 1047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342900">
                  <a:moveTo>
                    <a:pt x="329565" y="104775"/>
                  </a:moveTo>
                  <a:cubicBezTo>
                    <a:pt x="320993" y="84773"/>
                    <a:pt x="308610" y="65723"/>
                    <a:pt x="292418" y="50483"/>
                  </a:cubicBezTo>
                  <a:cubicBezTo>
                    <a:pt x="276225" y="34290"/>
                    <a:pt x="258128" y="21908"/>
                    <a:pt x="238125" y="13335"/>
                  </a:cubicBezTo>
                  <a:cubicBezTo>
                    <a:pt x="217170" y="4763"/>
                    <a:pt x="194310" y="0"/>
                    <a:pt x="171450" y="0"/>
                  </a:cubicBezTo>
                  <a:cubicBezTo>
                    <a:pt x="148590" y="0"/>
                    <a:pt x="125730" y="4763"/>
                    <a:pt x="104775" y="13335"/>
                  </a:cubicBezTo>
                  <a:cubicBezTo>
                    <a:pt x="83820" y="21908"/>
                    <a:pt x="65723" y="34290"/>
                    <a:pt x="50483" y="50483"/>
                  </a:cubicBezTo>
                  <a:cubicBezTo>
                    <a:pt x="34290" y="66675"/>
                    <a:pt x="21908" y="84773"/>
                    <a:pt x="13335" y="104775"/>
                  </a:cubicBezTo>
                  <a:cubicBezTo>
                    <a:pt x="4763" y="125730"/>
                    <a:pt x="0" y="148590"/>
                    <a:pt x="0" y="171450"/>
                  </a:cubicBezTo>
                  <a:cubicBezTo>
                    <a:pt x="0" y="194310"/>
                    <a:pt x="4763" y="217170"/>
                    <a:pt x="13335" y="238125"/>
                  </a:cubicBezTo>
                  <a:cubicBezTo>
                    <a:pt x="21908" y="258128"/>
                    <a:pt x="34290" y="277178"/>
                    <a:pt x="50483" y="292418"/>
                  </a:cubicBezTo>
                  <a:cubicBezTo>
                    <a:pt x="66675" y="308610"/>
                    <a:pt x="84773" y="320993"/>
                    <a:pt x="104775" y="329565"/>
                  </a:cubicBezTo>
                  <a:cubicBezTo>
                    <a:pt x="125730" y="338138"/>
                    <a:pt x="148590" y="342900"/>
                    <a:pt x="171450" y="342900"/>
                  </a:cubicBezTo>
                  <a:lnTo>
                    <a:pt x="171450" y="308610"/>
                  </a:lnTo>
                  <a:cubicBezTo>
                    <a:pt x="135255" y="308610"/>
                    <a:pt x="100013" y="294323"/>
                    <a:pt x="74295" y="268605"/>
                  </a:cubicBezTo>
                  <a:cubicBezTo>
                    <a:pt x="52388" y="246698"/>
                    <a:pt x="39053" y="219075"/>
                    <a:pt x="35243" y="188595"/>
                  </a:cubicBezTo>
                  <a:lnTo>
                    <a:pt x="180975" y="188595"/>
                  </a:lnTo>
                  <a:lnTo>
                    <a:pt x="141923" y="227648"/>
                  </a:lnTo>
                  <a:lnTo>
                    <a:pt x="165735" y="251460"/>
                  </a:lnTo>
                  <a:lnTo>
                    <a:pt x="246698" y="170498"/>
                  </a:lnTo>
                  <a:lnTo>
                    <a:pt x="165735" y="89535"/>
                  </a:lnTo>
                  <a:lnTo>
                    <a:pt x="141923" y="113348"/>
                  </a:lnTo>
                  <a:lnTo>
                    <a:pt x="180975" y="152400"/>
                  </a:lnTo>
                  <a:lnTo>
                    <a:pt x="35243" y="152400"/>
                  </a:lnTo>
                  <a:cubicBezTo>
                    <a:pt x="39053" y="121920"/>
                    <a:pt x="52388" y="94298"/>
                    <a:pt x="74295" y="72390"/>
                  </a:cubicBezTo>
                  <a:cubicBezTo>
                    <a:pt x="100013" y="46673"/>
                    <a:pt x="134303" y="32385"/>
                    <a:pt x="171450" y="32385"/>
                  </a:cubicBezTo>
                  <a:cubicBezTo>
                    <a:pt x="207645" y="32385"/>
                    <a:pt x="242888" y="46673"/>
                    <a:pt x="268605" y="72390"/>
                  </a:cubicBezTo>
                  <a:cubicBezTo>
                    <a:pt x="294323" y="98108"/>
                    <a:pt x="308610" y="132398"/>
                    <a:pt x="308610" y="169545"/>
                  </a:cubicBezTo>
                  <a:lnTo>
                    <a:pt x="342900" y="169545"/>
                  </a:lnTo>
                  <a:cubicBezTo>
                    <a:pt x="342900" y="148590"/>
                    <a:pt x="338138" y="125730"/>
                    <a:pt x="329565" y="104775"/>
                  </a:cubicBezTo>
                </a:path>
              </a:pathLst>
            </a:custGeom>
            <a:solidFill>
              <a:schemeClr val="accent2"/>
            </a:solidFill>
            <a:ln w="9525" cap="flat">
              <a:noFill/>
              <a:prstDash val="solid"/>
              <a:miter/>
            </a:ln>
          </p:spPr>
          <p:txBody>
            <a:bodyPr rtlCol="0" anchor="ctr"/>
            <a:lstStyle/>
            <a:p>
              <a:endParaRPr lang="en-US"/>
            </a:p>
          </p:txBody>
        </p:sp>
        <p:sp>
          <p:nvSpPr>
            <p:cNvPr id="26" name="Freeform: Shape 13">
              <a:extLst>
                <a:ext uri="{FF2B5EF4-FFF2-40B4-BE49-F238E27FC236}">
                  <a16:creationId xmlns:a16="http://schemas.microsoft.com/office/drawing/2014/main" id="{DD444DDC-07BC-674A-9F9D-EEB7357A7B2D}"/>
                </a:ext>
              </a:extLst>
            </p:cNvPr>
            <p:cNvSpPr/>
            <p:nvPr userDrawn="1"/>
          </p:nvSpPr>
          <p:spPr>
            <a:xfrm>
              <a:off x="590579" y="6484379"/>
              <a:ext cx="812771" cy="84028"/>
            </a:xfrm>
            <a:custGeom>
              <a:avLst/>
              <a:gdLst>
                <a:gd name="connsiteX0" fmla="*/ 1329690 w 1547812"/>
                <a:gd name="connsiteY0" fmla="*/ 155258 h 160020"/>
                <a:gd name="connsiteX1" fmla="*/ 1369695 w 1547812"/>
                <a:gd name="connsiteY1" fmla="*/ 155258 h 160020"/>
                <a:gd name="connsiteX2" fmla="*/ 1369695 w 1547812"/>
                <a:gd name="connsiteY2" fmla="*/ 65723 h 160020"/>
                <a:gd name="connsiteX3" fmla="*/ 1372553 w 1547812"/>
                <a:gd name="connsiteY3" fmla="*/ 53340 h 160020"/>
                <a:gd name="connsiteX4" fmla="*/ 1379220 w 1547812"/>
                <a:gd name="connsiteY4" fmla="*/ 43815 h 160020"/>
                <a:gd name="connsiteX5" fmla="*/ 1388745 w 1547812"/>
                <a:gd name="connsiteY5" fmla="*/ 37147 h 160020"/>
                <a:gd name="connsiteX6" fmla="*/ 1400175 w 1547812"/>
                <a:gd name="connsiteY6" fmla="*/ 35243 h 160020"/>
                <a:gd name="connsiteX7" fmla="*/ 1407795 w 1547812"/>
                <a:gd name="connsiteY7" fmla="*/ 36195 h 160020"/>
                <a:gd name="connsiteX8" fmla="*/ 1413510 w 1547812"/>
                <a:gd name="connsiteY8" fmla="*/ 40005 h 160020"/>
                <a:gd name="connsiteX9" fmla="*/ 1417320 w 1547812"/>
                <a:gd name="connsiteY9" fmla="*/ 47625 h 160020"/>
                <a:gd name="connsiteX10" fmla="*/ 1419225 w 1547812"/>
                <a:gd name="connsiteY10" fmla="*/ 60960 h 160020"/>
                <a:gd name="connsiteX11" fmla="*/ 1419225 w 1547812"/>
                <a:gd name="connsiteY11" fmla="*/ 155258 h 160020"/>
                <a:gd name="connsiteX12" fmla="*/ 1459230 w 1547812"/>
                <a:gd name="connsiteY12" fmla="*/ 155258 h 160020"/>
                <a:gd name="connsiteX13" fmla="*/ 1459230 w 1547812"/>
                <a:gd name="connsiteY13" fmla="*/ 63818 h 160020"/>
                <a:gd name="connsiteX14" fmla="*/ 1462088 w 1547812"/>
                <a:gd name="connsiteY14" fmla="*/ 53340 h 160020"/>
                <a:gd name="connsiteX15" fmla="*/ 1468755 w 1547812"/>
                <a:gd name="connsiteY15" fmla="*/ 43815 h 160020"/>
                <a:gd name="connsiteX16" fmla="*/ 1478280 w 1547812"/>
                <a:gd name="connsiteY16" fmla="*/ 37147 h 160020"/>
                <a:gd name="connsiteX17" fmla="*/ 1489710 w 1547812"/>
                <a:gd name="connsiteY17" fmla="*/ 35243 h 160020"/>
                <a:gd name="connsiteX18" fmla="*/ 1497330 w 1547812"/>
                <a:gd name="connsiteY18" fmla="*/ 36195 h 160020"/>
                <a:gd name="connsiteX19" fmla="*/ 1503045 w 1547812"/>
                <a:gd name="connsiteY19" fmla="*/ 40005 h 160020"/>
                <a:gd name="connsiteX20" fmla="*/ 1506855 w 1547812"/>
                <a:gd name="connsiteY20" fmla="*/ 47625 h 160020"/>
                <a:gd name="connsiteX21" fmla="*/ 1507808 w 1547812"/>
                <a:gd name="connsiteY21" fmla="*/ 60960 h 160020"/>
                <a:gd name="connsiteX22" fmla="*/ 1507808 w 1547812"/>
                <a:gd name="connsiteY22" fmla="*/ 155258 h 160020"/>
                <a:gd name="connsiteX23" fmla="*/ 1547813 w 1547812"/>
                <a:gd name="connsiteY23" fmla="*/ 155258 h 160020"/>
                <a:gd name="connsiteX24" fmla="*/ 1547813 w 1547812"/>
                <a:gd name="connsiteY24" fmla="*/ 55245 h 160020"/>
                <a:gd name="connsiteX25" fmla="*/ 1536383 w 1547812"/>
                <a:gd name="connsiteY25" fmla="*/ 14288 h 160020"/>
                <a:gd name="connsiteX26" fmla="*/ 1502093 w 1547812"/>
                <a:gd name="connsiteY26" fmla="*/ 1905 h 160020"/>
                <a:gd name="connsiteX27" fmla="*/ 1477328 w 1547812"/>
                <a:gd name="connsiteY27" fmla="*/ 7620 h 160020"/>
                <a:gd name="connsiteX28" fmla="*/ 1455420 w 1547812"/>
                <a:gd name="connsiteY28" fmla="*/ 27623 h 160020"/>
                <a:gd name="connsiteX29" fmla="*/ 1441133 w 1547812"/>
                <a:gd name="connsiteY29" fmla="*/ 8573 h 160020"/>
                <a:gd name="connsiteX30" fmla="*/ 1414463 w 1547812"/>
                <a:gd name="connsiteY30" fmla="*/ 1905 h 160020"/>
                <a:gd name="connsiteX31" fmla="*/ 1390650 w 1547812"/>
                <a:gd name="connsiteY31" fmla="*/ 7620 h 160020"/>
                <a:gd name="connsiteX32" fmla="*/ 1371600 w 1547812"/>
                <a:gd name="connsiteY32" fmla="*/ 25718 h 160020"/>
                <a:gd name="connsiteX33" fmla="*/ 1371600 w 1547812"/>
                <a:gd name="connsiteY33" fmla="*/ 5715 h 160020"/>
                <a:gd name="connsiteX34" fmla="*/ 1332548 w 1547812"/>
                <a:gd name="connsiteY34" fmla="*/ 5715 h 160020"/>
                <a:gd name="connsiteX35" fmla="*/ 1332548 w 1547812"/>
                <a:gd name="connsiteY35" fmla="*/ 155258 h 160020"/>
                <a:gd name="connsiteX36" fmla="*/ 1199198 w 1547812"/>
                <a:gd name="connsiteY36" fmla="*/ 116205 h 160020"/>
                <a:gd name="connsiteX37" fmla="*/ 1190625 w 1547812"/>
                <a:gd name="connsiteY37" fmla="*/ 80963 h 160020"/>
                <a:gd name="connsiteX38" fmla="*/ 1199198 w 1547812"/>
                <a:gd name="connsiteY38" fmla="*/ 45720 h 160020"/>
                <a:gd name="connsiteX39" fmla="*/ 1224915 w 1547812"/>
                <a:gd name="connsiteY39" fmla="*/ 33338 h 160020"/>
                <a:gd name="connsiteX40" fmla="*/ 1250633 w 1547812"/>
                <a:gd name="connsiteY40" fmla="*/ 45720 h 160020"/>
                <a:gd name="connsiteX41" fmla="*/ 1259205 w 1547812"/>
                <a:gd name="connsiteY41" fmla="*/ 80963 h 160020"/>
                <a:gd name="connsiteX42" fmla="*/ 1250633 w 1547812"/>
                <a:gd name="connsiteY42" fmla="*/ 116205 h 160020"/>
                <a:gd name="connsiteX43" fmla="*/ 1224915 w 1547812"/>
                <a:gd name="connsiteY43" fmla="*/ 128588 h 160020"/>
                <a:gd name="connsiteX44" fmla="*/ 1199198 w 1547812"/>
                <a:gd name="connsiteY44" fmla="*/ 116205 h 160020"/>
                <a:gd name="connsiteX45" fmla="*/ 1256348 w 1547812"/>
                <a:gd name="connsiteY45" fmla="*/ 154305 h 160020"/>
                <a:gd name="connsiteX46" fmla="*/ 1280160 w 1547812"/>
                <a:gd name="connsiteY46" fmla="*/ 138113 h 160020"/>
                <a:gd name="connsiteX47" fmla="*/ 1295400 w 1547812"/>
                <a:gd name="connsiteY47" fmla="*/ 113348 h 160020"/>
                <a:gd name="connsiteX48" fmla="*/ 1301115 w 1547812"/>
                <a:gd name="connsiteY48" fmla="*/ 80010 h 160020"/>
                <a:gd name="connsiteX49" fmla="*/ 1296353 w 1547812"/>
                <a:gd name="connsiteY49" fmla="*/ 46672 h 160020"/>
                <a:gd name="connsiteX50" fmla="*/ 1281113 w 1547812"/>
                <a:gd name="connsiteY50" fmla="*/ 21908 h 160020"/>
                <a:gd name="connsiteX51" fmla="*/ 1257300 w 1547812"/>
                <a:gd name="connsiteY51" fmla="*/ 6668 h 160020"/>
                <a:gd name="connsiteX52" fmla="*/ 1225868 w 1547812"/>
                <a:gd name="connsiteY52" fmla="*/ 953 h 160020"/>
                <a:gd name="connsiteX53" fmla="*/ 1194435 w 1547812"/>
                <a:gd name="connsiteY53" fmla="*/ 6668 h 160020"/>
                <a:gd name="connsiteX54" fmla="*/ 1170623 w 1547812"/>
                <a:gd name="connsiteY54" fmla="*/ 21908 h 160020"/>
                <a:gd name="connsiteX55" fmla="*/ 1155383 w 1547812"/>
                <a:gd name="connsiteY55" fmla="*/ 46672 h 160020"/>
                <a:gd name="connsiteX56" fmla="*/ 1149668 w 1547812"/>
                <a:gd name="connsiteY56" fmla="*/ 80010 h 160020"/>
                <a:gd name="connsiteX57" fmla="*/ 1169670 w 1547812"/>
                <a:gd name="connsiteY57" fmla="*/ 139065 h 160020"/>
                <a:gd name="connsiteX58" fmla="*/ 1225868 w 1547812"/>
                <a:gd name="connsiteY58" fmla="*/ 160020 h 160020"/>
                <a:gd name="connsiteX59" fmla="*/ 1256348 w 1547812"/>
                <a:gd name="connsiteY59" fmla="*/ 154305 h 160020"/>
                <a:gd name="connsiteX60" fmla="*/ 1086803 w 1547812"/>
                <a:gd name="connsiteY60" fmla="*/ 100965 h 160020"/>
                <a:gd name="connsiteX61" fmla="*/ 1079183 w 1547812"/>
                <a:gd name="connsiteY61" fmla="*/ 120968 h 160020"/>
                <a:gd name="connsiteX62" fmla="*/ 1061085 w 1547812"/>
                <a:gd name="connsiteY62" fmla="*/ 127635 h 160020"/>
                <a:gd name="connsiteX63" fmla="*/ 1045845 w 1547812"/>
                <a:gd name="connsiteY63" fmla="*/ 123825 h 160020"/>
                <a:gd name="connsiteX64" fmla="*/ 1036320 w 1547812"/>
                <a:gd name="connsiteY64" fmla="*/ 113348 h 160020"/>
                <a:gd name="connsiteX65" fmla="*/ 1031558 w 1547812"/>
                <a:gd name="connsiteY65" fmla="*/ 98108 h 160020"/>
                <a:gd name="connsiteX66" fmla="*/ 1029653 w 1547812"/>
                <a:gd name="connsiteY66" fmla="*/ 80010 h 160020"/>
                <a:gd name="connsiteX67" fmla="*/ 1031558 w 1547812"/>
                <a:gd name="connsiteY67" fmla="*/ 62865 h 160020"/>
                <a:gd name="connsiteX68" fmla="*/ 1036320 w 1547812"/>
                <a:gd name="connsiteY68" fmla="*/ 47625 h 160020"/>
                <a:gd name="connsiteX69" fmla="*/ 1045845 w 1547812"/>
                <a:gd name="connsiteY69" fmla="*/ 37147 h 160020"/>
                <a:gd name="connsiteX70" fmla="*/ 1061085 w 1547812"/>
                <a:gd name="connsiteY70" fmla="*/ 33338 h 160020"/>
                <a:gd name="connsiteX71" fmla="*/ 1079183 w 1547812"/>
                <a:gd name="connsiteY71" fmla="*/ 40005 h 160020"/>
                <a:gd name="connsiteX72" fmla="*/ 1085850 w 1547812"/>
                <a:gd name="connsiteY72" fmla="*/ 58103 h 160020"/>
                <a:gd name="connsiteX73" fmla="*/ 1125855 w 1547812"/>
                <a:gd name="connsiteY73" fmla="*/ 52388 h 160020"/>
                <a:gd name="connsiteX74" fmla="*/ 1120140 w 1547812"/>
                <a:gd name="connsiteY74" fmla="*/ 31433 h 160020"/>
                <a:gd name="connsiteX75" fmla="*/ 1107758 w 1547812"/>
                <a:gd name="connsiteY75" fmla="*/ 15240 h 160020"/>
                <a:gd name="connsiteX76" fmla="*/ 1088708 w 1547812"/>
                <a:gd name="connsiteY76" fmla="*/ 4763 h 160020"/>
                <a:gd name="connsiteX77" fmla="*/ 1062038 w 1547812"/>
                <a:gd name="connsiteY77" fmla="*/ 953 h 160020"/>
                <a:gd name="connsiteX78" fmla="*/ 1030605 w 1547812"/>
                <a:gd name="connsiteY78" fmla="*/ 6668 h 160020"/>
                <a:gd name="connsiteX79" fmla="*/ 1007745 w 1547812"/>
                <a:gd name="connsiteY79" fmla="*/ 22860 h 160020"/>
                <a:gd name="connsiteX80" fmla="*/ 993458 w 1547812"/>
                <a:gd name="connsiteY80" fmla="*/ 47625 h 160020"/>
                <a:gd name="connsiteX81" fmla="*/ 988695 w 1547812"/>
                <a:gd name="connsiteY81" fmla="*/ 80010 h 160020"/>
                <a:gd name="connsiteX82" fmla="*/ 992505 w 1547812"/>
                <a:gd name="connsiteY82" fmla="*/ 112395 h 160020"/>
                <a:gd name="connsiteX83" fmla="*/ 1005840 w 1547812"/>
                <a:gd name="connsiteY83" fmla="*/ 137160 h 160020"/>
                <a:gd name="connsiteX84" fmla="*/ 1028700 w 1547812"/>
                <a:gd name="connsiteY84" fmla="*/ 153353 h 160020"/>
                <a:gd name="connsiteX85" fmla="*/ 1061085 w 1547812"/>
                <a:gd name="connsiteY85" fmla="*/ 159068 h 160020"/>
                <a:gd name="connsiteX86" fmla="*/ 1109663 w 1547812"/>
                <a:gd name="connsiteY86" fmla="*/ 142875 h 160020"/>
                <a:gd name="connsiteX87" fmla="*/ 1127760 w 1547812"/>
                <a:gd name="connsiteY87" fmla="*/ 100013 h 160020"/>
                <a:gd name="connsiteX88" fmla="*/ 1086803 w 1547812"/>
                <a:gd name="connsiteY88" fmla="*/ 100013 h 160020"/>
                <a:gd name="connsiteX89" fmla="*/ 921068 w 1547812"/>
                <a:gd name="connsiteY89" fmla="*/ 155258 h 160020"/>
                <a:gd name="connsiteX90" fmla="*/ 962025 w 1547812"/>
                <a:gd name="connsiteY90" fmla="*/ 155258 h 160020"/>
                <a:gd name="connsiteX91" fmla="*/ 962025 w 1547812"/>
                <a:gd name="connsiteY91" fmla="*/ 109538 h 160020"/>
                <a:gd name="connsiteX92" fmla="*/ 921068 w 1547812"/>
                <a:gd name="connsiteY92" fmla="*/ 109538 h 160020"/>
                <a:gd name="connsiteX93" fmla="*/ 921068 w 1547812"/>
                <a:gd name="connsiteY93" fmla="*/ 155258 h 160020"/>
                <a:gd name="connsiteX94" fmla="*/ 671513 w 1547812"/>
                <a:gd name="connsiteY94" fmla="*/ 155258 h 160020"/>
                <a:gd name="connsiteX95" fmla="*/ 711518 w 1547812"/>
                <a:gd name="connsiteY95" fmla="*/ 155258 h 160020"/>
                <a:gd name="connsiteX96" fmla="*/ 711518 w 1547812"/>
                <a:gd name="connsiteY96" fmla="*/ 65723 h 160020"/>
                <a:gd name="connsiteX97" fmla="*/ 714375 w 1547812"/>
                <a:gd name="connsiteY97" fmla="*/ 53340 h 160020"/>
                <a:gd name="connsiteX98" fmla="*/ 721043 w 1547812"/>
                <a:gd name="connsiteY98" fmla="*/ 43815 h 160020"/>
                <a:gd name="connsiteX99" fmla="*/ 730568 w 1547812"/>
                <a:gd name="connsiteY99" fmla="*/ 37147 h 160020"/>
                <a:gd name="connsiteX100" fmla="*/ 741998 w 1547812"/>
                <a:gd name="connsiteY100" fmla="*/ 35243 h 160020"/>
                <a:gd name="connsiteX101" fmla="*/ 749618 w 1547812"/>
                <a:gd name="connsiteY101" fmla="*/ 36195 h 160020"/>
                <a:gd name="connsiteX102" fmla="*/ 755333 w 1547812"/>
                <a:gd name="connsiteY102" fmla="*/ 40005 h 160020"/>
                <a:gd name="connsiteX103" fmla="*/ 759143 w 1547812"/>
                <a:gd name="connsiteY103" fmla="*/ 47625 h 160020"/>
                <a:gd name="connsiteX104" fmla="*/ 761048 w 1547812"/>
                <a:gd name="connsiteY104" fmla="*/ 60960 h 160020"/>
                <a:gd name="connsiteX105" fmla="*/ 761048 w 1547812"/>
                <a:gd name="connsiteY105" fmla="*/ 155258 h 160020"/>
                <a:gd name="connsiteX106" fmla="*/ 801053 w 1547812"/>
                <a:gd name="connsiteY106" fmla="*/ 155258 h 160020"/>
                <a:gd name="connsiteX107" fmla="*/ 801053 w 1547812"/>
                <a:gd name="connsiteY107" fmla="*/ 63818 h 160020"/>
                <a:gd name="connsiteX108" fmla="*/ 803910 w 1547812"/>
                <a:gd name="connsiteY108" fmla="*/ 53340 h 160020"/>
                <a:gd name="connsiteX109" fmla="*/ 810578 w 1547812"/>
                <a:gd name="connsiteY109" fmla="*/ 43815 h 160020"/>
                <a:gd name="connsiteX110" fmla="*/ 820103 w 1547812"/>
                <a:gd name="connsiteY110" fmla="*/ 37147 h 160020"/>
                <a:gd name="connsiteX111" fmla="*/ 831533 w 1547812"/>
                <a:gd name="connsiteY111" fmla="*/ 35243 h 160020"/>
                <a:gd name="connsiteX112" fmla="*/ 839153 w 1547812"/>
                <a:gd name="connsiteY112" fmla="*/ 36195 h 160020"/>
                <a:gd name="connsiteX113" fmla="*/ 844868 w 1547812"/>
                <a:gd name="connsiteY113" fmla="*/ 40005 h 160020"/>
                <a:gd name="connsiteX114" fmla="*/ 848678 w 1547812"/>
                <a:gd name="connsiteY114" fmla="*/ 47625 h 160020"/>
                <a:gd name="connsiteX115" fmla="*/ 849630 w 1547812"/>
                <a:gd name="connsiteY115" fmla="*/ 60960 h 160020"/>
                <a:gd name="connsiteX116" fmla="*/ 849630 w 1547812"/>
                <a:gd name="connsiteY116" fmla="*/ 155258 h 160020"/>
                <a:gd name="connsiteX117" fmla="*/ 889635 w 1547812"/>
                <a:gd name="connsiteY117" fmla="*/ 155258 h 160020"/>
                <a:gd name="connsiteX118" fmla="*/ 889635 w 1547812"/>
                <a:gd name="connsiteY118" fmla="*/ 55245 h 160020"/>
                <a:gd name="connsiteX119" fmla="*/ 878205 w 1547812"/>
                <a:gd name="connsiteY119" fmla="*/ 14288 h 160020"/>
                <a:gd name="connsiteX120" fmla="*/ 843915 w 1547812"/>
                <a:gd name="connsiteY120" fmla="*/ 1905 h 160020"/>
                <a:gd name="connsiteX121" fmla="*/ 819150 w 1547812"/>
                <a:gd name="connsiteY121" fmla="*/ 7620 h 160020"/>
                <a:gd name="connsiteX122" fmla="*/ 797243 w 1547812"/>
                <a:gd name="connsiteY122" fmla="*/ 27623 h 160020"/>
                <a:gd name="connsiteX123" fmla="*/ 782955 w 1547812"/>
                <a:gd name="connsiteY123" fmla="*/ 8573 h 160020"/>
                <a:gd name="connsiteX124" fmla="*/ 756285 w 1547812"/>
                <a:gd name="connsiteY124" fmla="*/ 1905 h 160020"/>
                <a:gd name="connsiteX125" fmla="*/ 732473 w 1547812"/>
                <a:gd name="connsiteY125" fmla="*/ 7620 h 160020"/>
                <a:gd name="connsiteX126" fmla="*/ 713423 w 1547812"/>
                <a:gd name="connsiteY126" fmla="*/ 25718 h 160020"/>
                <a:gd name="connsiteX127" fmla="*/ 713423 w 1547812"/>
                <a:gd name="connsiteY127" fmla="*/ 5715 h 160020"/>
                <a:gd name="connsiteX128" fmla="*/ 674370 w 1547812"/>
                <a:gd name="connsiteY128" fmla="*/ 5715 h 160020"/>
                <a:gd name="connsiteX129" fmla="*/ 674370 w 1547812"/>
                <a:gd name="connsiteY129" fmla="*/ 155258 h 160020"/>
                <a:gd name="connsiteX130" fmla="*/ 541973 w 1547812"/>
                <a:gd name="connsiteY130" fmla="*/ 116205 h 160020"/>
                <a:gd name="connsiteX131" fmla="*/ 533400 w 1547812"/>
                <a:gd name="connsiteY131" fmla="*/ 80963 h 160020"/>
                <a:gd name="connsiteX132" fmla="*/ 541973 w 1547812"/>
                <a:gd name="connsiteY132" fmla="*/ 45720 h 160020"/>
                <a:gd name="connsiteX133" fmla="*/ 567690 w 1547812"/>
                <a:gd name="connsiteY133" fmla="*/ 33338 h 160020"/>
                <a:gd name="connsiteX134" fmla="*/ 593408 w 1547812"/>
                <a:gd name="connsiteY134" fmla="*/ 45720 h 160020"/>
                <a:gd name="connsiteX135" fmla="*/ 601980 w 1547812"/>
                <a:gd name="connsiteY135" fmla="*/ 80963 h 160020"/>
                <a:gd name="connsiteX136" fmla="*/ 593408 w 1547812"/>
                <a:gd name="connsiteY136" fmla="*/ 116205 h 160020"/>
                <a:gd name="connsiteX137" fmla="*/ 567690 w 1547812"/>
                <a:gd name="connsiteY137" fmla="*/ 128588 h 160020"/>
                <a:gd name="connsiteX138" fmla="*/ 541973 w 1547812"/>
                <a:gd name="connsiteY138" fmla="*/ 116205 h 160020"/>
                <a:gd name="connsiteX139" fmla="*/ 598170 w 1547812"/>
                <a:gd name="connsiteY139" fmla="*/ 154305 h 160020"/>
                <a:gd name="connsiteX140" fmla="*/ 621983 w 1547812"/>
                <a:gd name="connsiteY140" fmla="*/ 138113 h 160020"/>
                <a:gd name="connsiteX141" fmla="*/ 637223 w 1547812"/>
                <a:gd name="connsiteY141" fmla="*/ 113348 h 160020"/>
                <a:gd name="connsiteX142" fmla="*/ 642938 w 1547812"/>
                <a:gd name="connsiteY142" fmla="*/ 80010 h 160020"/>
                <a:gd name="connsiteX143" fmla="*/ 638175 w 1547812"/>
                <a:gd name="connsiteY143" fmla="*/ 46672 h 160020"/>
                <a:gd name="connsiteX144" fmla="*/ 622935 w 1547812"/>
                <a:gd name="connsiteY144" fmla="*/ 21908 h 160020"/>
                <a:gd name="connsiteX145" fmla="*/ 599123 w 1547812"/>
                <a:gd name="connsiteY145" fmla="*/ 6668 h 160020"/>
                <a:gd name="connsiteX146" fmla="*/ 567690 w 1547812"/>
                <a:gd name="connsiteY146" fmla="*/ 953 h 160020"/>
                <a:gd name="connsiteX147" fmla="*/ 536258 w 1547812"/>
                <a:gd name="connsiteY147" fmla="*/ 6668 h 160020"/>
                <a:gd name="connsiteX148" fmla="*/ 512445 w 1547812"/>
                <a:gd name="connsiteY148" fmla="*/ 21908 h 160020"/>
                <a:gd name="connsiteX149" fmla="*/ 497205 w 1547812"/>
                <a:gd name="connsiteY149" fmla="*/ 46672 h 160020"/>
                <a:gd name="connsiteX150" fmla="*/ 491490 w 1547812"/>
                <a:gd name="connsiteY150" fmla="*/ 80010 h 160020"/>
                <a:gd name="connsiteX151" fmla="*/ 511492 w 1547812"/>
                <a:gd name="connsiteY151" fmla="*/ 139065 h 160020"/>
                <a:gd name="connsiteX152" fmla="*/ 566738 w 1547812"/>
                <a:gd name="connsiteY152" fmla="*/ 160020 h 160020"/>
                <a:gd name="connsiteX153" fmla="*/ 598170 w 1547812"/>
                <a:gd name="connsiteY153" fmla="*/ 154305 h 160020"/>
                <a:gd name="connsiteX154" fmla="*/ 429578 w 1547812"/>
                <a:gd name="connsiteY154" fmla="*/ 100965 h 160020"/>
                <a:gd name="connsiteX155" fmla="*/ 421958 w 1547812"/>
                <a:gd name="connsiteY155" fmla="*/ 120968 h 160020"/>
                <a:gd name="connsiteX156" fmla="*/ 403860 w 1547812"/>
                <a:gd name="connsiteY156" fmla="*/ 127635 h 160020"/>
                <a:gd name="connsiteX157" fmla="*/ 388620 w 1547812"/>
                <a:gd name="connsiteY157" fmla="*/ 123825 h 160020"/>
                <a:gd name="connsiteX158" fmla="*/ 379095 w 1547812"/>
                <a:gd name="connsiteY158" fmla="*/ 113348 h 160020"/>
                <a:gd name="connsiteX159" fmla="*/ 374333 w 1547812"/>
                <a:gd name="connsiteY159" fmla="*/ 98108 h 160020"/>
                <a:gd name="connsiteX160" fmla="*/ 372428 w 1547812"/>
                <a:gd name="connsiteY160" fmla="*/ 80010 h 160020"/>
                <a:gd name="connsiteX161" fmla="*/ 374333 w 1547812"/>
                <a:gd name="connsiteY161" fmla="*/ 62865 h 160020"/>
                <a:gd name="connsiteX162" fmla="*/ 379095 w 1547812"/>
                <a:gd name="connsiteY162" fmla="*/ 47625 h 160020"/>
                <a:gd name="connsiteX163" fmla="*/ 388620 w 1547812"/>
                <a:gd name="connsiteY163" fmla="*/ 37147 h 160020"/>
                <a:gd name="connsiteX164" fmla="*/ 403860 w 1547812"/>
                <a:gd name="connsiteY164" fmla="*/ 33338 h 160020"/>
                <a:gd name="connsiteX165" fmla="*/ 421958 w 1547812"/>
                <a:gd name="connsiteY165" fmla="*/ 40005 h 160020"/>
                <a:gd name="connsiteX166" fmla="*/ 428625 w 1547812"/>
                <a:gd name="connsiteY166" fmla="*/ 58103 h 160020"/>
                <a:gd name="connsiteX167" fmla="*/ 468630 w 1547812"/>
                <a:gd name="connsiteY167" fmla="*/ 52388 h 160020"/>
                <a:gd name="connsiteX168" fmla="*/ 462915 w 1547812"/>
                <a:gd name="connsiteY168" fmla="*/ 31433 h 160020"/>
                <a:gd name="connsiteX169" fmla="*/ 450533 w 1547812"/>
                <a:gd name="connsiteY169" fmla="*/ 15240 h 160020"/>
                <a:gd name="connsiteX170" fmla="*/ 431483 w 1547812"/>
                <a:gd name="connsiteY170" fmla="*/ 4763 h 160020"/>
                <a:gd name="connsiteX171" fmla="*/ 404813 w 1547812"/>
                <a:gd name="connsiteY171" fmla="*/ 953 h 160020"/>
                <a:gd name="connsiteX172" fmla="*/ 373380 w 1547812"/>
                <a:gd name="connsiteY172" fmla="*/ 6668 h 160020"/>
                <a:gd name="connsiteX173" fmla="*/ 350520 w 1547812"/>
                <a:gd name="connsiteY173" fmla="*/ 22860 h 160020"/>
                <a:gd name="connsiteX174" fmla="*/ 336233 w 1547812"/>
                <a:gd name="connsiteY174" fmla="*/ 47625 h 160020"/>
                <a:gd name="connsiteX175" fmla="*/ 331470 w 1547812"/>
                <a:gd name="connsiteY175" fmla="*/ 80010 h 160020"/>
                <a:gd name="connsiteX176" fmla="*/ 336233 w 1547812"/>
                <a:gd name="connsiteY176" fmla="*/ 112395 h 160020"/>
                <a:gd name="connsiteX177" fmla="*/ 349567 w 1547812"/>
                <a:gd name="connsiteY177" fmla="*/ 137160 h 160020"/>
                <a:gd name="connsiteX178" fmla="*/ 372428 w 1547812"/>
                <a:gd name="connsiteY178" fmla="*/ 153353 h 160020"/>
                <a:gd name="connsiteX179" fmla="*/ 404813 w 1547812"/>
                <a:gd name="connsiteY179" fmla="*/ 159068 h 160020"/>
                <a:gd name="connsiteX180" fmla="*/ 453390 w 1547812"/>
                <a:gd name="connsiteY180" fmla="*/ 142875 h 160020"/>
                <a:gd name="connsiteX181" fmla="*/ 471488 w 1547812"/>
                <a:gd name="connsiteY181" fmla="*/ 100013 h 160020"/>
                <a:gd name="connsiteX182" fmla="*/ 429578 w 1547812"/>
                <a:gd name="connsiteY182" fmla="*/ 100013 h 160020"/>
                <a:gd name="connsiteX183" fmla="*/ 203835 w 1547812"/>
                <a:gd name="connsiteY183" fmla="*/ 63818 h 160020"/>
                <a:gd name="connsiteX184" fmla="*/ 206692 w 1547812"/>
                <a:gd name="connsiteY184" fmla="*/ 51435 h 160020"/>
                <a:gd name="connsiteX185" fmla="*/ 213360 w 1547812"/>
                <a:gd name="connsiteY185" fmla="*/ 40958 h 160020"/>
                <a:gd name="connsiteX186" fmla="*/ 223838 w 1547812"/>
                <a:gd name="connsiteY186" fmla="*/ 34290 h 160020"/>
                <a:gd name="connsiteX187" fmla="*/ 238125 w 1547812"/>
                <a:gd name="connsiteY187" fmla="*/ 31433 h 160020"/>
                <a:gd name="connsiteX188" fmla="*/ 261938 w 1547812"/>
                <a:gd name="connsiteY188" fmla="*/ 40005 h 160020"/>
                <a:gd name="connsiteX189" fmla="*/ 269558 w 1547812"/>
                <a:gd name="connsiteY189" fmla="*/ 63818 h 160020"/>
                <a:gd name="connsiteX190" fmla="*/ 203835 w 1547812"/>
                <a:gd name="connsiteY190" fmla="*/ 63818 h 160020"/>
                <a:gd name="connsiteX191" fmla="*/ 266700 w 1547812"/>
                <a:gd name="connsiteY191" fmla="*/ 108585 h 160020"/>
                <a:gd name="connsiteX192" fmla="*/ 239077 w 1547812"/>
                <a:gd name="connsiteY192" fmla="*/ 128588 h 160020"/>
                <a:gd name="connsiteX193" fmla="*/ 213360 w 1547812"/>
                <a:gd name="connsiteY193" fmla="*/ 118110 h 160020"/>
                <a:gd name="connsiteX194" fmla="*/ 203835 w 1547812"/>
                <a:gd name="connsiteY194" fmla="*/ 89535 h 160020"/>
                <a:gd name="connsiteX195" fmla="*/ 307658 w 1547812"/>
                <a:gd name="connsiteY195" fmla="*/ 89535 h 160020"/>
                <a:gd name="connsiteX196" fmla="*/ 307658 w 1547812"/>
                <a:gd name="connsiteY196" fmla="*/ 73343 h 160020"/>
                <a:gd name="connsiteX197" fmla="*/ 290513 w 1547812"/>
                <a:gd name="connsiteY197" fmla="*/ 20003 h 160020"/>
                <a:gd name="connsiteX198" fmla="*/ 239077 w 1547812"/>
                <a:gd name="connsiteY198" fmla="*/ 0 h 160020"/>
                <a:gd name="connsiteX199" fmla="*/ 208598 w 1547812"/>
                <a:gd name="connsiteY199" fmla="*/ 5715 h 160020"/>
                <a:gd name="connsiteX200" fmla="*/ 184785 w 1547812"/>
                <a:gd name="connsiteY200" fmla="*/ 20955 h 160020"/>
                <a:gd name="connsiteX201" fmla="*/ 169545 w 1547812"/>
                <a:gd name="connsiteY201" fmla="*/ 45720 h 160020"/>
                <a:gd name="connsiteX202" fmla="*/ 163830 w 1547812"/>
                <a:gd name="connsiteY202" fmla="*/ 79058 h 160020"/>
                <a:gd name="connsiteX203" fmla="*/ 182880 w 1547812"/>
                <a:gd name="connsiteY203" fmla="*/ 137160 h 160020"/>
                <a:gd name="connsiteX204" fmla="*/ 239077 w 1547812"/>
                <a:gd name="connsiteY204" fmla="*/ 158115 h 160020"/>
                <a:gd name="connsiteX205" fmla="*/ 285750 w 1547812"/>
                <a:gd name="connsiteY205" fmla="*/ 144780 h 160020"/>
                <a:gd name="connsiteX206" fmla="*/ 305753 w 1547812"/>
                <a:gd name="connsiteY206" fmla="*/ 106680 h 160020"/>
                <a:gd name="connsiteX207" fmla="*/ 266700 w 1547812"/>
                <a:gd name="connsiteY207" fmla="*/ 106680 h 160020"/>
                <a:gd name="connsiteX208" fmla="*/ 97155 w 1547812"/>
                <a:gd name="connsiteY208" fmla="*/ 96203 h 160020"/>
                <a:gd name="connsiteX209" fmla="*/ 93345 w 1547812"/>
                <a:gd name="connsiteY209" fmla="*/ 111443 h 160020"/>
                <a:gd name="connsiteX210" fmla="*/ 84773 w 1547812"/>
                <a:gd name="connsiteY210" fmla="*/ 121920 h 160020"/>
                <a:gd name="connsiteX211" fmla="*/ 60007 w 1547812"/>
                <a:gd name="connsiteY211" fmla="*/ 129540 h 160020"/>
                <a:gd name="connsiteX212" fmla="*/ 45720 w 1547812"/>
                <a:gd name="connsiteY212" fmla="*/ 124778 h 160020"/>
                <a:gd name="connsiteX213" fmla="*/ 40957 w 1547812"/>
                <a:gd name="connsiteY213" fmla="*/ 113348 h 160020"/>
                <a:gd name="connsiteX214" fmla="*/ 42863 w 1547812"/>
                <a:gd name="connsiteY214" fmla="*/ 104775 h 160020"/>
                <a:gd name="connsiteX215" fmla="*/ 48577 w 1547812"/>
                <a:gd name="connsiteY215" fmla="*/ 98108 h 160020"/>
                <a:gd name="connsiteX216" fmla="*/ 60007 w 1547812"/>
                <a:gd name="connsiteY216" fmla="*/ 93345 h 160020"/>
                <a:gd name="connsiteX217" fmla="*/ 80010 w 1547812"/>
                <a:gd name="connsiteY217" fmla="*/ 90488 h 160020"/>
                <a:gd name="connsiteX218" fmla="*/ 98107 w 1547812"/>
                <a:gd name="connsiteY218" fmla="*/ 89535 h 160020"/>
                <a:gd name="connsiteX219" fmla="*/ 98107 w 1547812"/>
                <a:gd name="connsiteY219" fmla="*/ 96203 h 160020"/>
                <a:gd name="connsiteX220" fmla="*/ 98107 w 1547812"/>
                <a:gd name="connsiteY220" fmla="*/ 155258 h 160020"/>
                <a:gd name="connsiteX221" fmla="*/ 136208 w 1547812"/>
                <a:gd name="connsiteY221" fmla="*/ 155258 h 160020"/>
                <a:gd name="connsiteX222" fmla="*/ 136208 w 1547812"/>
                <a:gd name="connsiteY222" fmla="*/ 60960 h 160020"/>
                <a:gd name="connsiteX223" fmla="*/ 133350 w 1547812"/>
                <a:gd name="connsiteY223" fmla="*/ 36195 h 160020"/>
                <a:gd name="connsiteX224" fmla="*/ 122873 w 1547812"/>
                <a:gd name="connsiteY224" fmla="*/ 17145 h 160020"/>
                <a:gd name="connsiteX225" fmla="*/ 103823 w 1547812"/>
                <a:gd name="connsiteY225" fmla="*/ 5715 h 160020"/>
                <a:gd name="connsiteX226" fmla="*/ 74295 w 1547812"/>
                <a:gd name="connsiteY226" fmla="*/ 1905 h 160020"/>
                <a:gd name="connsiteX227" fmla="*/ 29527 w 1547812"/>
                <a:gd name="connsiteY227" fmla="*/ 12383 h 160020"/>
                <a:gd name="connsiteX228" fmla="*/ 8573 w 1547812"/>
                <a:gd name="connsiteY228" fmla="*/ 46672 h 160020"/>
                <a:gd name="connsiteX229" fmla="*/ 44768 w 1547812"/>
                <a:gd name="connsiteY229" fmla="*/ 50483 h 160020"/>
                <a:gd name="connsiteX230" fmla="*/ 71438 w 1547812"/>
                <a:gd name="connsiteY230" fmla="*/ 32385 h 160020"/>
                <a:gd name="connsiteX231" fmla="*/ 89535 w 1547812"/>
                <a:gd name="connsiteY231" fmla="*/ 37147 h 160020"/>
                <a:gd name="connsiteX232" fmla="*/ 97155 w 1547812"/>
                <a:gd name="connsiteY232" fmla="*/ 56197 h 160020"/>
                <a:gd name="connsiteX233" fmla="*/ 97155 w 1547812"/>
                <a:gd name="connsiteY233" fmla="*/ 62865 h 160020"/>
                <a:gd name="connsiteX234" fmla="*/ 78105 w 1547812"/>
                <a:gd name="connsiteY234" fmla="*/ 63818 h 160020"/>
                <a:gd name="connsiteX235" fmla="*/ 49530 w 1547812"/>
                <a:gd name="connsiteY235" fmla="*/ 66675 h 160020"/>
                <a:gd name="connsiteX236" fmla="*/ 24765 w 1547812"/>
                <a:gd name="connsiteY236" fmla="*/ 74295 h 160020"/>
                <a:gd name="connsiteX237" fmla="*/ 6668 w 1547812"/>
                <a:gd name="connsiteY237" fmla="*/ 89535 h 160020"/>
                <a:gd name="connsiteX238" fmla="*/ 0 w 1547812"/>
                <a:gd name="connsiteY238" fmla="*/ 114300 h 160020"/>
                <a:gd name="connsiteX239" fmla="*/ 3810 w 1547812"/>
                <a:gd name="connsiteY239" fmla="*/ 134303 h 160020"/>
                <a:gd name="connsiteX240" fmla="*/ 14288 w 1547812"/>
                <a:gd name="connsiteY240" fmla="*/ 148590 h 160020"/>
                <a:gd name="connsiteX241" fmla="*/ 29527 w 1547812"/>
                <a:gd name="connsiteY241" fmla="*/ 156210 h 160020"/>
                <a:gd name="connsiteX242" fmla="*/ 48577 w 1547812"/>
                <a:gd name="connsiteY242" fmla="*/ 159068 h 160020"/>
                <a:gd name="connsiteX243" fmla="*/ 77152 w 1547812"/>
                <a:gd name="connsiteY243" fmla="*/ 152400 h 160020"/>
                <a:gd name="connsiteX244" fmla="*/ 97155 w 1547812"/>
                <a:gd name="connsiteY244" fmla="*/ 136208 h 160020"/>
                <a:gd name="connsiteX245" fmla="*/ 97155 w 1547812"/>
                <a:gd name="connsiteY245" fmla="*/ 155258 h 1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47812" h="160020">
                  <a:moveTo>
                    <a:pt x="1329690" y="155258"/>
                  </a:moveTo>
                  <a:lnTo>
                    <a:pt x="1369695" y="155258"/>
                  </a:lnTo>
                  <a:lnTo>
                    <a:pt x="1369695" y="65723"/>
                  </a:lnTo>
                  <a:cubicBezTo>
                    <a:pt x="1369695" y="60960"/>
                    <a:pt x="1370648" y="57150"/>
                    <a:pt x="1372553" y="53340"/>
                  </a:cubicBezTo>
                  <a:cubicBezTo>
                    <a:pt x="1374458" y="49530"/>
                    <a:pt x="1376363" y="46672"/>
                    <a:pt x="1379220" y="43815"/>
                  </a:cubicBezTo>
                  <a:cubicBezTo>
                    <a:pt x="1382078" y="40958"/>
                    <a:pt x="1385888" y="38100"/>
                    <a:pt x="1388745" y="37147"/>
                  </a:cubicBezTo>
                  <a:cubicBezTo>
                    <a:pt x="1392555" y="36195"/>
                    <a:pt x="1395413" y="35243"/>
                    <a:pt x="1400175" y="35243"/>
                  </a:cubicBezTo>
                  <a:cubicBezTo>
                    <a:pt x="1403033" y="35243"/>
                    <a:pt x="1404938" y="35243"/>
                    <a:pt x="1407795" y="36195"/>
                  </a:cubicBezTo>
                  <a:cubicBezTo>
                    <a:pt x="1409700" y="37147"/>
                    <a:pt x="1411605" y="38100"/>
                    <a:pt x="1413510" y="40005"/>
                  </a:cubicBezTo>
                  <a:cubicBezTo>
                    <a:pt x="1415415" y="41910"/>
                    <a:pt x="1416368" y="44768"/>
                    <a:pt x="1417320" y="47625"/>
                  </a:cubicBezTo>
                  <a:cubicBezTo>
                    <a:pt x="1418273" y="51435"/>
                    <a:pt x="1419225" y="55245"/>
                    <a:pt x="1419225" y="60960"/>
                  </a:cubicBezTo>
                  <a:lnTo>
                    <a:pt x="1419225" y="155258"/>
                  </a:lnTo>
                  <a:lnTo>
                    <a:pt x="1459230" y="155258"/>
                  </a:lnTo>
                  <a:lnTo>
                    <a:pt x="1459230" y="63818"/>
                  </a:lnTo>
                  <a:cubicBezTo>
                    <a:pt x="1459230" y="60008"/>
                    <a:pt x="1460183" y="56197"/>
                    <a:pt x="1462088" y="53340"/>
                  </a:cubicBezTo>
                  <a:cubicBezTo>
                    <a:pt x="1463993" y="49530"/>
                    <a:pt x="1465898" y="46672"/>
                    <a:pt x="1468755" y="43815"/>
                  </a:cubicBezTo>
                  <a:cubicBezTo>
                    <a:pt x="1471613" y="40958"/>
                    <a:pt x="1475423" y="38100"/>
                    <a:pt x="1478280" y="37147"/>
                  </a:cubicBezTo>
                  <a:cubicBezTo>
                    <a:pt x="1481138" y="36195"/>
                    <a:pt x="1484948" y="35243"/>
                    <a:pt x="1489710" y="35243"/>
                  </a:cubicBezTo>
                  <a:cubicBezTo>
                    <a:pt x="1492568" y="35243"/>
                    <a:pt x="1494473" y="35243"/>
                    <a:pt x="1497330" y="36195"/>
                  </a:cubicBezTo>
                  <a:cubicBezTo>
                    <a:pt x="1499235" y="37147"/>
                    <a:pt x="1501140" y="38100"/>
                    <a:pt x="1503045" y="40005"/>
                  </a:cubicBezTo>
                  <a:cubicBezTo>
                    <a:pt x="1504950" y="41910"/>
                    <a:pt x="1505903" y="44768"/>
                    <a:pt x="1506855" y="47625"/>
                  </a:cubicBezTo>
                  <a:cubicBezTo>
                    <a:pt x="1507808" y="51435"/>
                    <a:pt x="1507808" y="55245"/>
                    <a:pt x="1507808" y="60960"/>
                  </a:cubicBezTo>
                  <a:lnTo>
                    <a:pt x="1507808" y="155258"/>
                  </a:lnTo>
                  <a:lnTo>
                    <a:pt x="1547813" y="155258"/>
                  </a:lnTo>
                  <a:lnTo>
                    <a:pt x="1547813" y="55245"/>
                  </a:lnTo>
                  <a:cubicBezTo>
                    <a:pt x="1547813" y="36195"/>
                    <a:pt x="1544003" y="22860"/>
                    <a:pt x="1536383" y="14288"/>
                  </a:cubicBezTo>
                  <a:cubicBezTo>
                    <a:pt x="1528763" y="5715"/>
                    <a:pt x="1517333" y="1905"/>
                    <a:pt x="1502093" y="1905"/>
                  </a:cubicBezTo>
                  <a:cubicBezTo>
                    <a:pt x="1492568" y="1905"/>
                    <a:pt x="1484948" y="3810"/>
                    <a:pt x="1477328" y="7620"/>
                  </a:cubicBezTo>
                  <a:cubicBezTo>
                    <a:pt x="1469708" y="11430"/>
                    <a:pt x="1462088" y="18098"/>
                    <a:pt x="1455420" y="27623"/>
                  </a:cubicBezTo>
                  <a:cubicBezTo>
                    <a:pt x="1452563" y="19050"/>
                    <a:pt x="1447800" y="12383"/>
                    <a:pt x="1441133" y="8573"/>
                  </a:cubicBezTo>
                  <a:cubicBezTo>
                    <a:pt x="1434465" y="4763"/>
                    <a:pt x="1425893" y="1905"/>
                    <a:pt x="1414463" y="1905"/>
                  </a:cubicBezTo>
                  <a:cubicBezTo>
                    <a:pt x="1405890" y="1905"/>
                    <a:pt x="1398270" y="3810"/>
                    <a:pt x="1390650" y="7620"/>
                  </a:cubicBezTo>
                  <a:cubicBezTo>
                    <a:pt x="1383030" y="11430"/>
                    <a:pt x="1376363" y="18098"/>
                    <a:pt x="1371600" y="25718"/>
                  </a:cubicBezTo>
                  <a:lnTo>
                    <a:pt x="1371600" y="5715"/>
                  </a:lnTo>
                  <a:lnTo>
                    <a:pt x="1332548" y="5715"/>
                  </a:lnTo>
                  <a:lnTo>
                    <a:pt x="1332548" y="155258"/>
                  </a:lnTo>
                  <a:close/>
                  <a:moveTo>
                    <a:pt x="1199198" y="116205"/>
                  </a:moveTo>
                  <a:cubicBezTo>
                    <a:pt x="1193483" y="108585"/>
                    <a:pt x="1190625" y="96203"/>
                    <a:pt x="1190625" y="80963"/>
                  </a:cubicBezTo>
                  <a:cubicBezTo>
                    <a:pt x="1190625" y="65723"/>
                    <a:pt x="1193483" y="54293"/>
                    <a:pt x="1199198" y="45720"/>
                  </a:cubicBezTo>
                  <a:cubicBezTo>
                    <a:pt x="1204913" y="37147"/>
                    <a:pt x="1213485" y="33338"/>
                    <a:pt x="1224915" y="33338"/>
                  </a:cubicBezTo>
                  <a:cubicBezTo>
                    <a:pt x="1236345" y="33338"/>
                    <a:pt x="1244918" y="37147"/>
                    <a:pt x="1250633" y="45720"/>
                  </a:cubicBezTo>
                  <a:cubicBezTo>
                    <a:pt x="1256348" y="54293"/>
                    <a:pt x="1259205" y="65723"/>
                    <a:pt x="1259205" y="80963"/>
                  </a:cubicBezTo>
                  <a:cubicBezTo>
                    <a:pt x="1259205" y="96203"/>
                    <a:pt x="1256348" y="107633"/>
                    <a:pt x="1250633" y="116205"/>
                  </a:cubicBezTo>
                  <a:cubicBezTo>
                    <a:pt x="1244918" y="124778"/>
                    <a:pt x="1236345" y="128588"/>
                    <a:pt x="1224915" y="128588"/>
                  </a:cubicBezTo>
                  <a:cubicBezTo>
                    <a:pt x="1213485" y="127635"/>
                    <a:pt x="1204913" y="123825"/>
                    <a:pt x="1199198" y="116205"/>
                  </a:cubicBezTo>
                  <a:moveTo>
                    <a:pt x="1256348" y="154305"/>
                  </a:moveTo>
                  <a:cubicBezTo>
                    <a:pt x="1265873" y="150495"/>
                    <a:pt x="1273493" y="145733"/>
                    <a:pt x="1280160" y="138113"/>
                  </a:cubicBezTo>
                  <a:cubicBezTo>
                    <a:pt x="1286828" y="131445"/>
                    <a:pt x="1291590" y="122873"/>
                    <a:pt x="1295400" y="113348"/>
                  </a:cubicBezTo>
                  <a:cubicBezTo>
                    <a:pt x="1299210" y="103823"/>
                    <a:pt x="1301115" y="92393"/>
                    <a:pt x="1301115" y="80010"/>
                  </a:cubicBezTo>
                  <a:cubicBezTo>
                    <a:pt x="1301115" y="67628"/>
                    <a:pt x="1299210" y="57150"/>
                    <a:pt x="1296353" y="46672"/>
                  </a:cubicBezTo>
                  <a:cubicBezTo>
                    <a:pt x="1293495" y="36195"/>
                    <a:pt x="1287780" y="28575"/>
                    <a:pt x="1281113" y="21908"/>
                  </a:cubicBezTo>
                  <a:cubicBezTo>
                    <a:pt x="1274445" y="15240"/>
                    <a:pt x="1266825" y="9525"/>
                    <a:pt x="1257300" y="6668"/>
                  </a:cubicBezTo>
                  <a:cubicBezTo>
                    <a:pt x="1247775" y="2858"/>
                    <a:pt x="1237298" y="953"/>
                    <a:pt x="1225868" y="953"/>
                  </a:cubicBezTo>
                  <a:cubicBezTo>
                    <a:pt x="1214438" y="953"/>
                    <a:pt x="1203960" y="2858"/>
                    <a:pt x="1194435" y="6668"/>
                  </a:cubicBezTo>
                  <a:cubicBezTo>
                    <a:pt x="1184910" y="10478"/>
                    <a:pt x="1177290" y="15240"/>
                    <a:pt x="1170623" y="21908"/>
                  </a:cubicBezTo>
                  <a:cubicBezTo>
                    <a:pt x="1163955" y="28575"/>
                    <a:pt x="1159193" y="37147"/>
                    <a:pt x="1155383" y="46672"/>
                  </a:cubicBezTo>
                  <a:cubicBezTo>
                    <a:pt x="1151573" y="56197"/>
                    <a:pt x="1149668" y="67628"/>
                    <a:pt x="1149668" y="80010"/>
                  </a:cubicBezTo>
                  <a:cubicBezTo>
                    <a:pt x="1149668" y="105728"/>
                    <a:pt x="1156335" y="124778"/>
                    <a:pt x="1169670" y="139065"/>
                  </a:cubicBezTo>
                  <a:cubicBezTo>
                    <a:pt x="1183005" y="152400"/>
                    <a:pt x="1201103" y="160020"/>
                    <a:pt x="1225868" y="160020"/>
                  </a:cubicBezTo>
                  <a:cubicBezTo>
                    <a:pt x="1236345" y="160020"/>
                    <a:pt x="1246823" y="158115"/>
                    <a:pt x="1256348" y="154305"/>
                  </a:cubicBezTo>
                  <a:moveTo>
                    <a:pt x="1086803" y="100965"/>
                  </a:moveTo>
                  <a:cubicBezTo>
                    <a:pt x="1085850" y="109538"/>
                    <a:pt x="1083945" y="116205"/>
                    <a:pt x="1079183" y="120968"/>
                  </a:cubicBezTo>
                  <a:cubicBezTo>
                    <a:pt x="1074420" y="125730"/>
                    <a:pt x="1068705" y="127635"/>
                    <a:pt x="1061085" y="127635"/>
                  </a:cubicBezTo>
                  <a:cubicBezTo>
                    <a:pt x="1055370" y="127635"/>
                    <a:pt x="1049655" y="126683"/>
                    <a:pt x="1045845" y="123825"/>
                  </a:cubicBezTo>
                  <a:cubicBezTo>
                    <a:pt x="1042035" y="120968"/>
                    <a:pt x="1038225" y="118110"/>
                    <a:pt x="1036320" y="113348"/>
                  </a:cubicBezTo>
                  <a:cubicBezTo>
                    <a:pt x="1034415" y="108585"/>
                    <a:pt x="1032510" y="103823"/>
                    <a:pt x="1031558" y="98108"/>
                  </a:cubicBezTo>
                  <a:cubicBezTo>
                    <a:pt x="1030605" y="92393"/>
                    <a:pt x="1029653" y="86678"/>
                    <a:pt x="1029653" y="80010"/>
                  </a:cubicBezTo>
                  <a:cubicBezTo>
                    <a:pt x="1029653" y="74295"/>
                    <a:pt x="1030605" y="67628"/>
                    <a:pt x="1031558" y="62865"/>
                  </a:cubicBezTo>
                  <a:cubicBezTo>
                    <a:pt x="1032510" y="57150"/>
                    <a:pt x="1034415" y="52388"/>
                    <a:pt x="1036320" y="47625"/>
                  </a:cubicBezTo>
                  <a:cubicBezTo>
                    <a:pt x="1038225" y="42863"/>
                    <a:pt x="1042035" y="40005"/>
                    <a:pt x="1045845" y="37147"/>
                  </a:cubicBezTo>
                  <a:cubicBezTo>
                    <a:pt x="1049655" y="34290"/>
                    <a:pt x="1054418" y="33338"/>
                    <a:pt x="1061085" y="33338"/>
                  </a:cubicBezTo>
                  <a:cubicBezTo>
                    <a:pt x="1069658" y="33338"/>
                    <a:pt x="1075373" y="35243"/>
                    <a:pt x="1079183" y="40005"/>
                  </a:cubicBezTo>
                  <a:cubicBezTo>
                    <a:pt x="1082993" y="44768"/>
                    <a:pt x="1084898" y="50483"/>
                    <a:pt x="1085850" y="58103"/>
                  </a:cubicBezTo>
                  <a:lnTo>
                    <a:pt x="1125855" y="52388"/>
                  </a:lnTo>
                  <a:cubicBezTo>
                    <a:pt x="1124903" y="44768"/>
                    <a:pt x="1122998" y="38100"/>
                    <a:pt x="1120140" y="31433"/>
                  </a:cubicBezTo>
                  <a:cubicBezTo>
                    <a:pt x="1117283" y="24765"/>
                    <a:pt x="1113473" y="20003"/>
                    <a:pt x="1107758" y="15240"/>
                  </a:cubicBezTo>
                  <a:cubicBezTo>
                    <a:pt x="1102995" y="10478"/>
                    <a:pt x="1096328" y="6668"/>
                    <a:pt x="1088708" y="4763"/>
                  </a:cubicBezTo>
                  <a:cubicBezTo>
                    <a:pt x="1081088" y="1905"/>
                    <a:pt x="1072515" y="953"/>
                    <a:pt x="1062038" y="953"/>
                  </a:cubicBezTo>
                  <a:cubicBezTo>
                    <a:pt x="1050608" y="953"/>
                    <a:pt x="1040130" y="2858"/>
                    <a:pt x="1030605" y="6668"/>
                  </a:cubicBezTo>
                  <a:cubicBezTo>
                    <a:pt x="1021080" y="10478"/>
                    <a:pt x="1013460" y="16193"/>
                    <a:pt x="1007745" y="22860"/>
                  </a:cubicBezTo>
                  <a:cubicBezTo>
                    <a:pt x="1001078" y="29528"/>
                    <a:pt x="996315" y="38100"/>
                    <a:pt x="993458" y="47625"/>
                  </a:cubicBezTo>
                  <a:cubicBezTo>
                    <a:pt x="990600" y="57150"/>
                    <a:pt x="988695" y="68580"/>
                    <a:pt x="988695" y="80010"/>
                  </a:cubicBezTo>
                  <a:cubicBezTo>
                    <a:pt x="988695" y="91440"/>
                    <a:pt x="989647" y="102870"/>
                    <a:pt x="992505" y="112395"/>
                  </a:cubicBezTo>
                  <a:cubicBezTo>
                    <a:pt x="995363" y="121920"/>
                    <a:pt x="1000125" y="130493"/>
                    <a:pt x="1005840" y="137160"/>
                  </a:cubicBezTo>
                  <a:cubicBezTo>
                    <a:pt x="1011555" y="143828"/>
                    <a:pt x="1019175" y="149543"/>
                    <a:pt x="1028700" y="153353"/>
                  </a:cubicBezTo>
                  <a:cubicBezTo>
                    <a:pt x="1038225" y="157163"/>
                    <a:pt x="1048703" y="159068"/>
                    <a:pt x="1061085" y="159068"/>
                  </a:cubicBezTo>
                  <a:cubicBezTo>
                    <a:pt x="1082993" y="159068"/>
                    <a:pt x="1099185" y="153353"/>
                    <a:pt x="1109663" y="142875"/>
                  </a:cubicBezTo>
                  <a:cubicBezTo>
                    <a:pt x="1120140" y="132398"/>
                    <a:pt x="1126808" y="118110"/>
                    <a:pt x="1127760" y="100013"/>
                  </a:cubicBezTo>
                  <a:lnTo>
                    <a:pt x="1086803" y="100013"/>
                  </a:lnTo>
                  <a:close/>
                  <a:moveTo>
                    <a:pt x="921068" y="155258"/>
                  </a:moveTo>
                  <a:lnTo>
                    <a:pt x="962025" y="155258"/>
                  </a:lnTo>
                  <a:lnTo>
                    <a:pt x="962025" y="109538"/>
                  </a:lnTo>
                  <a:lnTo>
                    <a:pt x="921068" y="109538"/>
                  </a:lnTo>
                  <a:lnTo>
                    <a:pt x="921068" y="155258"/>
                  </a:lnTo>
                  <a:close/>
                  <a:moveTo>
                    <a:pt x="671513" y="155258"/>
                  </a:moveTo>
                  <a:lnTo>
                    <a:pt x="711518" y="155258"/>
                  </a:lnTo>
                  <a:lnTo>
                    <a:pt x="711518" y="65723"/>
                  </a:lnTo>
                  <a:cubicBezTo>
                    <a:pt x="711518" y="60960"/>
                    <a:pt x="712470" y="57150"/>
                    <a:pt x="714375" y="53340"/>
                  </a:cubicBezTo>
                  <a:cubicBezTo>
                    <a:pt x="716280" y="49530"/>
                    <a:pt x="718185" y="46672"/>
                    <a:pt x="721043" y="43815"/>
                  </a:cubicBezTo>
                  <a:cubicBezTo>
                    <a:pt x="723900" y="40958"/>
                    <a:pt x="727710" y="38100"/>
                    <a:pt x="730568" y="37147"/>
                  </a:cubicBezTo>
                  <a:cubicBezTo>
                    <a:pt x="734378" y="36195"/>
                    <a:pt x="737235" y="35243"/>
                    <a:pt x="741998" y="35243"/>
                  </a:cubicBezTo>
                  <a:cubicBezTo>
                    <a:pt x="744855" y="35243"/>
                    <a:pt x="746760" y="35243"/>
                    <a:pt x="749618" y="36195"/>
                  </a:cubicBezTo>
                  <a:cubicBezTo>
                    <a:pt x="751523" y="37147"/>
                    <a:pt x="753428" y="38100"/>
                    <a:pt x="755333" y="40005"/>
                  </a:cubicBezTo>
                  <a:cubicBezTo>
                    <a:pt x="757238" y="41910"/>
                    <a:pt x="758190" y="44768"/>
                    <a:pt x="759143" y="47625"/>
                  </a:cubicBezTo>
                  <a:cubicBezTo>
                    <a:pt x="760095" y="51435"/>
                    <a:pt x="761048" y="55245"/>
                    <a:pt x="761048" y="60960"/>
                  </a:cubicBezTo>
                  <a:lnTo>
                    <a:pt x="761048" y="155258"/>
                  </a:lnTo>
                  <a:lnTo>
                    <a:pt x="801053" y="155258"/>
                  </a:lnTo>
                  <a:lnTo>
                    <a:pt x="801053" y="63818"/>
                  </a:lnTo>
                  <a:cubicBezTo>
                    <a:pt x="801053" y="60008"/>
                    <a:pt x="802005" y="56197"/>
                    <a:pt x="803910" y="53340"/>
                  </a:cubicBezTo>
                  <a:cubicBezTo>
                    <a:pt x="805815" y="49530"/>
                    <a:pt x="807720" y="46672"/>
                    <a:pt x="810578" y="43815"/>
                  </a:cubicBezTo>
                  <a:cubicBezTo>
                    <a:pt x="813435" y="40958"/>
                    <a:pt x="817245" y="38100"/>
                    <a:pt x="820103" y="37147"/>
                  </a:cubicBezTo>
                  <a:cubicBezTo>
                    <a:pt x="822960" y="36195"/>
                    <a:pt x="826770" y="35243"/>
                    <a:pt x="831533" y="35243"/>
                  </a:cubicBezTo>
                  <a:cubicBezTo>
                    <a:pt x="834390" y="35243"/>
                    <a:pt x="836295" y="35243"/>
                    <a:pt x="839153" y="36195"/>
                  </a:cubicBezTo>
                  <a:cubicBezTo>
                    <a:pt x="841058" y="37147"/>
                    <a:pt x="842963" y="38100"/>
                    <a:pt x="844868" y="40005"/>
                  </a:cubicBezTo>
                  <a:cubicBezTo>
                    <a:pt x="846772" y="41910"/>
                    <a:pt x="847725" y="44768"/>
                    <a:pt x="848678" y="47625"/>
                  </a:cubicBezTo>
                  <a:cubicBezTo>
                    <a:pt x="849630" y="51435"/>
                    <a:pt x="849630" y="55245"/>
                    <a:pt x="849630" y="60960"/>
                  </a:cubicBezTo>
                  <a:lnTo>
                    <a:pt x="849630" y="155258"/>
                  </a:lnTo>
                  <a:lnTo>
                    <a:pt x="889635" y="155258"/>
                  </a:lnTo>
                  <a:lnTo>
                    <a:pt x="889635" y="55245"/>
                  </a:lnTo>
                  <a:cubicBezTo>
                    <a:pt x="889635" y="36195"/>
                    <a:pt x="885825" y="22860"/>
                    <a:pt x="878205" y="14288"/>
                  </a:cubicBezTo>
                  <a:cubicBezTo>
                    <a:pt x="870585" y="5715"/>
                    <a:pt x="859155" y="1905"/>
                    <a:pt x="843915" y="1905"/>
                  </a:cubicBezTo>
                  <a:cubicBezTo>
                    <a:pt x="834390" y="1905"/>
                    <a:pt x="826770" y="3810"/>
                    <a:pt x="819150" y="7620"/>
                  </a:cubicBezTo>
                  <a:cubicBezTo>
                    <a:pt x="811530" y="11430"/>
                    <a:pt x="803910" y="18098"/>
                    <a:pt x="797243" y="27623"/>
                  </a:cubicBezTo>
                  <a:cubicBezTo>
                    <a:pt x="794385" y="19050"/>
                    <a:pt x="789623" y="12383"/>
                    <a:pt x="782955" y="8573"/>
                  </a:cubicBezTo>
                  <a:cubicBezTo>
                    <a:pt x="776288" y="4763"/>
                    <a:pt x="766763" y="1905"/>
                    <a:pt x="756285" y="1905"/>
                  </a:cubicBezTo>
                  <a:cubicBezTo>
                    <a:pt x="747713" y="1905"/>
                    <a:pt x="740093" y="3810"/>
                    <a:pt x="732473" y="7620"/>
                  </a:cubicBezTo>
                  <a:cubicBezTo>
                    <a:pt x="724853" y="11430"/>
                    <a:pt x="718185" y="18098"/>
                    <a:pt x="713423" y="25718"/>
                  </a:cubicBezTo>
                  <a:lnTo>
                    <a:pt x="713423" y="5715"/>
                  </a:lnTo>
                  <a:lnTo>
                    <a:pt x="674370" y="5715"/>
                  </a:lnTo>
                  <a:lnTo>
                    <a:pt x="674370" y="155258"/>
                  </a:lnTo>
                  <a:close/>
                  <a:moveTo>
                    <a:pt x="541973" y="116205"/>
                  </a:moveTo>
                  <a:cubicBezTo>
                    <a:pt x="536258" y="108585"/>
                    <a:pt x="533400" y="96203"/>
                    <a:pt x="533400" y="80963"/>
                  </a:cubicBezTo>
                  <a:cubicBezTo>
                    <a:pt x="533400" y="65723"/>
                    <a:pt x="536258" y="54293"/>
                    <a:pt x="541973" y="45720"/>
                  </a:cubicBezTo>
                  <a:cubicBezTo>
                    <a:pt x="547688" y="38100"/>
                    <a:pt x="556260" y="33338"/>
                    <a:pt x="567690" y="33338"/>
                  </a:cubicBezTo>
                  <a:cubicBezTo>
                    <a:pt x="579120" y="33338"/>
                    <a:pt x="587693" y="37147"/>
                    <a:pt x="593408" y="45720"/>
                  </a:cubicBezTo>
                  <a:cubicBezTo>
                    <a:pt x="599123" y="53340"/>
                    <a:pt x="601980" y="65723"/>
                    <a:pt x="601980" y="80963"/>
                  </a:cubicBezTo>
                  <a:cubicBezTo>
                    <a:pt x="601980" y="96203"/>
                    <a:pt x="599123" y="107633"/>
                    <a:pt x="593408" y="116205"/>
                  </a:cubicBezTo>
                  <a:cubicBezTo>
                    <a:pt x="587693" y="124778"/>
                    <a:pt x="579120" y="128588"/>
                    <a:pt x="567690" y="128588"/>
                  </a:cubicBezTo>
                  <a:cubicBezTo>
                    <a:pt x="555308" y="127635"/>
                    <a:pt x="546735" y="123825"/>
                    <a:pt x="541973" y="116205"/>
                  </a:cubicBezTo>
                  <a:moveTo>
                    <a:pt x="598170" y="154305"/>
                  </a:moveTo>
                  <a:cubicBezTo>
                    <a:pt x="607695" y="150495"/>
                    <a:pt x="615315" y="145733"/>
                    <a:pt x="621983" y="138113"/>
                  </a:cubicBezTo>
                  <a:cubicBezTo>
                    <a:pt x="628650" y="131445"/>
                    <a:pt x="633413" y="122873"/>
                    <a:pt x="637223" y="113348"/>
                  </a:cubicBezTo>
                  <a:cubicBezTo>
                    <a:pt x="641033" y="103823"/>
                    <a:pt x="642938" y="92393"/>
                    <a:pt x="642938" y="80010"/>
                  </a:cubicBezTo>
                  <a:cubicBezTo>
                    <a:pt x="642938" y="67628"/>
                    <a:pt x="641033" y="57150"/>
                    <a:pt x="638175" y="46672"/>
                  </a:cubicBezTo>
                  <a:cubicBezTo>
                    <a:pt x="635318" y="36195"/>
                    <a:pt x="629603" y="28575"/>
                    <a:pt x="622935" y="21908"/>
                  </a:cubicBezTo>
                  <a:cubicBezTo>
                    <a:pt x="616268" y="15240"/>
                    <a:pt x="608648" y="9525"/>
                    <a:pt x="599123" y="6668"/>
                  </a:cubicBezTo>
                  <a:cubicBezTo>
                    <a:pt x="589598" y="2858"/>
                    <a:pt x="579120" y="953"/>
                    <a:pt x="567690" y="953"/>
                  </a:cubicBezTo>
                  <a:cubicBezTo>
                    <a:pt x="556260" y="953"/>
                    <a:pt x="545783" y="2858"/>
                    <a:pt x="536258" y="6668"/>
                  </a:cubicBezTo>
                  <a:cubicBezTo>
                    <a:pt x="526733" y="10478"/>
                    <a:pt x="519113" y="15240"/>
                    <a:pt x="512445" y="21908"/>
                  </a:cubicBezTo>
                  <a:cubicBezTo>
                    <a:pt x="505778" y="28575"/>
                    <a:pt x="501015" y="37147"/>
                    <a:pt x="497205" y="46672"/>
                  </a:cubicBezTo>
                  <a:cubicBezTo>
                    <a:pt x="493395" y="56197"/>
                    <a:pt x="491490" y="67628"/>
                    <a:pt x="491490" y="80010"/>
                  </a:cubicBezTo>
                  <a:cubicBezTo>
                    <a:pt x="491490" y="105728"/>
                    <a:pt x="498158" y="124778"/>
                    <a:pt x="511492" y="139065"/>
                  </a:cubicBezTo>
                  <a:cubicBezTo>
                    <a:pt x="524828" y="152400"/>
                    <a:pt x="542925" y="160020"/>
                    <a:pt x="566738" y="160020"/>
                  </a:cubicBezTo>
                  <a:cubicBezTo>
                    <a:pt x="579120" y="160020"/>
                    <a:pt x="589598" y="158115"/>
                    <a:pt x="598170" y="154305"/>
                  </a:cubicBezTo>
                  <a:moveTo>
                    <a:pt x="429578" y="100965"/>
                  </a:moveTo>
                  <a:cubicBezTo>
                    <a:pt x="428625" y="109538"/>
                    <a:pt x="425767" y="116205"/>
                    <a:pt x="421958" y="120968"/>
                  </a:cubicBezTo>
                  <a:cubicBezTo>
                    <a:pt x="417195" y="125730"/>
                    <a:pt x="411480" y="127635"/>
                    <a:pt x="403860" y="127635"/>
                  </a:cubicBezTo>
                  <a:cubicBezTo>
                    <a:pt x="398145" y="127635"/>
                    <a:pt x="392430" y="126683"/>
                    <a:pt x="388620" y="123825"/>
                  </a:cubicBezTo>
                  <a:cubicBezTo>
                    <a:pt x="384810" y="120968"/>
                    <a:pt x="381000" y="118110"/>
                    <a:pt x="379095" y="113348"/>
                  </a:cubicBezTo>
                  <a:cubicBezTo>
                    <a:pt x="377190" y="108585"/>
                    <a:pt x="375285" y="103823"/>
                    <a:pt x="374333" y="98108"/>
                  </a:cubicBezTo>
                  <a:cubicBezTo>
                    <a:pt x="373380" y="92393"/>
                    <a:pt x="372428" y="86678"/>
                    <a:pt x="372428" y="80010"/>
                  </a:cubicBezTo>
                  <a:cubicBezTo>
                    <a:pt x="372428" y="74295"/>
                    <a:pt x="373380" y="67628"/>
                    <a:pt x="374333" y="62865"/>
                  </a:cubicBezTo>
                  <a:cubicBezTo>
                    <a:pt x="375285" y="57150"/>
                    <a:pt x="377190" y="52388"/>
                    <a:pt x="379095" y="47625"/>
                  </a:cubicBezTo>
                  <a:cubicBezTo>
                    <a:pt x="381000" y="42863"/>
                    <a:pt x="384810" y="40005"/>
                    <a:pt x="388620" y="37147"/>
                  </a:cubicBezTo>
                  <a:cubicBezTo>
                    <a:pt x="392430" y="34290"/>
                    <a:pt x="398145" y="33338"/>
                    <a:pt x="403860" y="33338"/>
                  </a:cubicBezTo>
                  <a:cubicBezTo>
                    <a:pt x="412433" y="33338"/>
                    <a:pt x="418148" y="35243"/>
                    <a:pt x="421958" y="40005"/>
                  </a:cubicBezTo>
                  <a:cubicBezTo>
                    <a:pt x="425767" y="44768"/>
                    <a:pt x="427673" y="50483"/>
                    <a:pt x="428625" y="58103"/>
                  </a:cubicBezTo>
                  <a:lnTo>
                    <a:pt x="468630" y="52388"/>
                  </a:lnTo>
                  <a:cubicBezTo>
                    <a:pt x="467678" y="44768"/>
                    <a:pt x="465773" y="38100"/>
                    <a:pt x="462915" y="31433"/>
                  </a:cubicBezTo>
                  <a:cubicBezTo>
                    <a:pt x="460058" y="24765"/>
                    <a:pt x="456248" y="20003"/>
                    <a:pt x="450533" y="15240"/>
                  </a:cubicBezTo>
                  <a:cubicBezTo>
                    <a:pt x="445770" y="10478"/>
                    <a:pt x="439103" y="6668"/>
                    <a:pt x="431483" y="4763"/>
                  </a:cubicBezTo>
                  <a:cubicBezTo>
                    <a:pt x="423863" y="1905"/>
                    <a:pt x="415290" y="953"/>
                    <a:pt x="404813" y="953"/>
                  </a:cubicBezTo>
                  <a:cubicBezTo>
                    <a:pt x="393383" y="953"/>
                    <a:pt x="382905" y="2858"/>
                    <a:pt x="373380" y="6668"/>
                  </a:cubicBezTo>
                  <a:cubicBezTo>
                    <a:pt x="363855" y="10478"/>
                    <a:pt x="356235" y="16193"/>
                    <a:pt x="350520" y="22860"/>
                  </a:cubicBezTo>
                  <a:cubicBezTo>
                    <a:pt x="343853" y="29528"/>
                    <a:pt x="339090" y="38100"/>
                    <a:pt x="336233" y="47625"/>
                  </a:cubicBezTo>
                  <a:cubicBezTo>
                    <a:pt x="333375" y="57150"/>
                    <a:pt x="331470" y="68580"/>
                    <a:pt x="331470" y="80010"/>
                  </a:cubicBezTo>
                  <a:cubicBezTo>
                    <a:pt x="331470" y="91440"/>
                    <a:pt x="333375" y="102870"/>
                    <a:pt x="336233" y="112395"/>
                  </a:cubicBezTo>
                  <a:cubicBezTo>
                    <a:pt x="339090" y="121920"/>
                    <a:pt x="343853" y="130493"/>
                    <a:pt x="349567" y="137160"/>
                  </a:cubicBezTo>
                  <a:cubicBezTo>
                    <a:pt x="355283" y="143828"/>
                    <a:pt x="362903" y="149543"/>
                    <a:pt x="372428" y="153353"/>
                  </a:cubicBezTo>
                  <a:cubicBezTo>
                    <a:pt x="381953" y="157163"/>
                    <a:pt x="392430" y="159068"/>
                    <a:pt x="404813" y="159068"/>
                  </a:cubicBezTo>
                  <a:cubicBezTo>
                    <a:pt x="426720" y="159068"/>
                    <a:pt x="442913" y="153353"/>
                    <a:pt x="453390" y="142875"/>
                  </a:cubicBezTo>
                  <a:cubicBezTo>
                    <a:pt x="463867" y="132398"/>
                    <a:pt x="470535" y="118110"/>
                    <a:pt x="471488" y="100013"/>
                  </a:cubicBezTo>
                  <a:lnTo>
                    <a:pt x="429578" y="100013"/>
                  </a:lnTo>
                  <a:close/>
                  <a:moveTo>
                    <a:pt x="203835" y="63818"/>
                  </a:moveTo>
                  <a:cubicBezTo>
                    <a:pt x="203835" y="59055"/>
                    <a:pt x="204788" y="55245"/>
                    <a:pt x="206692" y="51435"/>
                  </a:cubicBezTo>
                  <a:cubicBezTo>
                    <a:pt x="208598" y="47625"/>
                    <a:pt x="210502" y="43815"/>
                    <a:pt x="213360" y="40958"/>
                  </a:cubicBezTo>
                  <a:cubicBezTo>
                    <a:pt x="216217" y="38100"/>
                    <a:pt x="219075" y="35243"/>
                    <a:pt x="223838" y="34290"/>
                  </a:cubicBezTo>
                  <a:cubicBezTo>
                    <a:pt x="227648" y="32385"/>
                    <a:pt x="232410" y="31433"/>
                    <a:pt x="238125" y="31433"/>
                  </a:cubicBezTo>
                  <a:cubicBezTo>
                    <a:pt x="248602" y="31433"/>
                    <a:pt x="256223" y="34290"/>
                    <a:pt x="261938" y="40005"/>
                  </a:cubicBezTo>
                  <a:cubicBezTo>
                    <a:pt x="266700" y="45720"/>
                    <a:pt x="269558" y="53340"/>
                    <a:pt x="269558" y="63818"/>
                  </a:cubicBezTo>
                  <a:lnTo>
                    <a:pt x="203835" y="63818"/>
                  </a:lnTo>
                  <a:close/>
                  <a:moveTo>
                    <a:pt x="266700" y="108585"/>
                  </a:moveTo>
                  <a:cubicBezTo>
                    <a:pt x="263842" y="121920"/>
                    <a:pt x="254317" y="128588"/>
                    <a:pt x="239077" y="128588"/>
                  </a:cubicBezTo>
                  <a:cubicBezTo>
                    <a:pt x="227648" y="128588"/>
                    <a:pt x="219075" y="124778"/>
                    <a:pt x="213360" y="118110"/>
                  </a:cubicBezTo>
                  <a:cubicBezTo>
                    <a:pt x="207645" y="111443"/>
                    <a:pt x="204788" y="101918"/>
                    <a:pt x="203835" y="89535"/>
                  </a:cubicBezTo>
                  <a:lnTo>
                    <a:pt x="307658" y="89535"/>
                  </a:lnTo>
                  <a:lnTo>
                    <a:pt x="307658" y="73343"/>
                  </a:lnTo>
                  <a:cubicBezTo>
                    <a:pt x="307658" y="51435"/>
                    <a:pt x="301942" y="33338"/>
                    <a:pt x="290513" y="20003"/>
                  </a:cubicBezTo>
                  <a:cubicBezTo>
                    <a:pt x="279083" y="6668"/>
                    <a:pt x="261938" y="0"/>
                    <a:pt x="239077" y="0"/>
                  </a:cubicBezTo>
                  <a:cubicBezTo>
                    <a:pt x="227648" y="0"/>
                    <a:pt x="218123" y="1905"/>
                    <a:pt x="208598" y="5715"/>
                  </a:cubicBezTo>
                  <a:cubicBezTo>
                    <a:pt x="199073" y="9525"/>
                    <a:pt x="191452" y="14288"/>
                    <a:pt x="184785" y="20955"/>
                  </a:cubicBezTo>
                  <a:cubicBezTo>
                    <a:pt x="178118" y="27623"/>
                    <a:pt x="173355" y="36195"/>
                    <a:pt x="169545" y="45720"/>
                  </a:cubicBezTo>
                  <a:cubicBezTo>
                    <a:pt x="165735" y="55245"/>
                    <a:pt x="163830" y="66675"/>
                    <a:pt x="163830" y="79058"/>
                  </a:cubicBezTo>
                  <a:cubicBezTo>
                    <a:pt x="163830" y="103823"/>
                    <a:pt x="170498" y="123825"/>
                    <a:pt x="182880" y="137160"/>
                  </a:cubicBezTo>
                  <a:cubicBezTo>
                    <a:pt x="195263" y="150495"/>
                    <a:pt x="214313" y="158115"/>
                    <a:pt x="239077" y="158115"/>
                  </a:cubicBezTo>
                  <a:cubicBezTo>
                    <a:pt x="260033" y="158115"/>
                    <a:pt x="275273" y="153353"/>
                    <a:pt x="285750" y="144780"/>
                  </a:cubicBezTo>
                  <a:cubicBezTo>
                    <a:pt x="296228" y="136208"/>
                    <a:pt x="302895" y="123825"/>
                    <a:pt x="305753" y="106680"/>
                  </a:cubicBezTo>
                  <a:lnTo>
                    <a:pt x="266700" y="106680"/>
                  </a:lnTo>
                  <a:close/>
                  <a:moveTo>
                    <a:pt x="97155" y="96203"/>
                  </a:moveTo>
                  <a:cubicBezTo>
                    <a:pt x="97155" y="101918"/>
                    <a:pt x="96202" y="107633"/>
                    <a:pt x="93345" y="111443"/>
                  </a:cubicBezTo>
                  <a:cubicBezTo>
                    <a:pt x="91440" y="115253"/>
                    <a:pt x="88582" y="119063"/>
                    <a:pt x="84773" y="121920"/>
                  </a:cubicBezTo>
                  <a:cubicBezTo>
                    <a:pt x="78105" y="126683"/>
                    <a:pt x="69532" y="129540"/>
                    <a:pt x="60007" y="129540"/>
                  </a:cubicBezTo>
                  <a:cubicBezTo>
                    <a:pt x="54293" y="129540"/>
                    <a:pt x="49530" y="127635"/>
                    <a:pt x="45720" y="124778"/>
                  </a:cubicBezTo>
                  <a:cubicBezTo>
                    <a:pt x="41910" y="121920"/>
                    <a:pt x="40957" y="118110"/>
                    <a:pt x="40957" y="113348"/>
                  </a:cubicBezTo>
                  <a:cubicBezTo>
                    <a:pt x="40957" y="110490"/>
                    <a:pt x="40957" y="106680"/>
                    <a:pt x="42863" y="104775"/>
                  </a:cubicBezTo>
                  <a:cubicBezTo>
                    <a:pt x="43815" y="101918"/>
                    <a:pt x="45720" y="100013"/>
                    <a:pt x="48577" y="98108"/>
                  </a:cubicBezTo>
                  <a:cubicBezTo>
                    <a:pt x="51435" y="96203"/>
                    <a:pt x="55245" y="94298"/>
                    <a:pt x="60007" y="93345"/>
                  </a:cubicBezTo>
                  <a:cubicBezTo>
                    <a:pt x="64770" y="92393"/>
                    <a:pt x="72390" y="91440"/>
                    <a:pt x="80010" y="90488"/>
                  </a:cubicBezTo>
                  <a:lnTo>
                    <a:pt x="98107" y="89535"/>
                  </a:lnTo>
                  <a:lnTo>
                    <a:pt x="98107" y="96203"/>
                  </a:lnTo>
                  <a:close/>
                  <a:moveTo>
                    <a:pt x="98107" y="155258"/>
                  </a:moveTo>
                  <a:lnTo>
                    <a:pt x="136208" y="155258"/>
                  </a:lnTo>
                  <a:lnTo>
                    <a:pt x="136208" y="60960"/>
                  </a:lnTo>
                  <a:cubicBezTo>
                    <a:pt x="136208" y="51435"/>
                    <a:pt x="135255" y="43815"/>
                    <a:pt x="133350" y="36195"/>
                  </a:cubicBezTo>
                  <a:cubicBezTo>
                    <a:pt x="131445" y="28575"/>
                    <a:pt x="127635" y="22860"/>
                    <a:pt x="122873" y="17145"/>
                  </a:cubicBezTo>
                  <a:cubicBezTo>
                    <a:pt x="118110" y="12383"/>
                    <a:pt x="111443" y="7620"/>
                    <a:pt x="103823" y="5715"/>
                  </a:cubicBezTo>
                  <a:cubicBezTo>
                    <a:pt x="96202" y="3810"/>
                    <a:pt x="85725" y="1905"/>
                    <a:pt x="74295" y="1905"/>
                  </a:cubicBezTo>
                  <a:cubicBezTo>
                    <a:pt x="55245" y="1905"/>
                    <a:pt x="40957" y="5715"/>
                    <a:pt x="29527" y="12383"/>
                  </a:cubicBezTo>
                  <a:cubicBezTo>
                    <a:pt x="18098" y="19050"/>
                    <a:pt x="11430" y="30480"/>
                    <a:pt x="8573" y="46672"/>
                  </a:cubicBezTo>
                  <a:lnTo>
                    <a:pt x="44768" y="50483"/>
                  </a:lnTo>
                  <a:cubicBezTo>
                    <a:pt x="46673" y="38100"/>
                    <a:pt x="56198" y="32385"/>
                    <a:pt x="71438" y="32385"/>
                  </a:cubicBezTo>
                  <a:cubicBezTo>
                    <a:pt x="78105" y="32385"/>
                    <a:pt x="83820" y="34290"/>
                    <a:pt x="89535" y="37147"/>
                  </a:cubicBezTo>
                  <a:cubicBezTo>
                    <a:pt x="94298" y="40958"/>
                    <a:pt x="97155" y="46672"/>
                    <a:pt x="97155" y="56197"/>
                  </a:cubicBezTo>
                  <a:lnTo>
                    <a:pt x="97155" y="62865"/>
                  </a:lnTo>
                  <a:lnTo>
                    <a:pt x="78105" y="63818"/>
                  </a:lnTo>
                  <a:cubicBezTo>
                    <a:pt x="68580" y="63818"/>
                    <a:pt x="59055" y="64770"/>
                    <a:pt x="49530" y="66675"/>
                  </a:cubicBezTo>
                  <a:cubicBezTo>
                    <a:pt x="40005" y="68580"/>
                    <a:pt x="32385" y="70485"/>
                    <a:pt x="24765" y="74295"/>
                  </a:cubicBezTo>
                  <a:cubicBezTo>
                    <a:pt x="17145" y="78105"/>
                    <a:pt x="11430" y="82868"/>
                    <a:pt x="6668" y="89535"/>
                  </a:cubicBezTo>
                  <a:cubicBezTo>
                    <a:pt x="1905" y="96203"/>
                    <a:pt x="0" y="104775"/>
                    <a:pt x="0" y="114300"/>
                  </a:cubicBezTo>
                  <a:cubicBezTo>
                    <a:pt x="0" y="121920"/>
                    <a:pt x="952" y="128588"/>
                    <a:pt x="3810" y="134303"/>
                  </a:cubicBezTo>
                  <a:cubicBezTo>
                    <a:pt x="6668" y="140018"/>
                    <a:pt x="10477" y="144780"/>
                    <a:pt x="14288" y="148590"/>
                  </a:cubicBezTo>
                  <a:cubicBezTo>
                    <a:pt x="19050" y="152400"/>
                    <a:pt x="23813" y="155258"/>
                    <a:pt x="29527" y="156210"/>
                  </a:cubicBezTo>
                  <a:cubicBezTo>
                    <a:pt x="35243" y="157163"/>
                    <a:pt x="41910" y="159068"/>
                    <a:pt x="48577" y="159068"/>
                  </a:cubicBezTo>
                  <a:cubicBezTo>
                    <a:pt x="60007" y="159068"/>
                    <a:pt x="69532" y="157163"/>
                    <a:pt x="77152" y="152400"/>
                  </a:cubicBezTo>
                  <a:cubicBezTo>
                    <a:pt x="84773" y="147638"/>
                    <a:pt x="91440" y="142875"/>
                    <a:pt x="97155" y="136208"/>
                  </a:cubicBezTo>
                  <a:lnTo>
                    <a:pt x="97155" y="155258"/>
                  </a:lnTo>
                  <a:close/>
                </a:path>
              </a:pathLst>
            </a:custGeom>
            <a:solidFill>
              <a:schemeClr val="bg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5135383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1 Standard (Heading only)">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7AB04A6-7031-4AEE-83BC-110DC80C2A09}"/>
              </a:ext>
            </a:extLst>
          </p:cNvPr>
          <p:cNvSpPr>
            <a:spLocks noGrp="1"/>
          </p:cNvSpPr>
          <p:nvPr>
            <p:ph type="title"/>
          </p:nvPr>
        </p:nvSpPr>
        <p:spPr>
          <a:xfrm>
            <a:off x="263525" y="441332"/>
            <a:ext cx="11661776" cy="647692"/>
          </a:xfrm>
          <a:prstGeom prst="rect">
            <a:avLst/>
          </a:prstGeom>
        </p:spPr>
        <p:txBody>
          <a:bodyPr lIns="0" tIns="0" rIns="0" bIns="0"/>
          <a:lstStyle>
            <a:lvl1pPr>
              <a:defRPr lang="en-US" sz="2500" b="1" i="0" kern="1200" dirty="0">
                <a:solidFill>
                  <a:schemeClr val="tx1"/>
                </a:solidFill>
                <a:latin typeface="Arial" panose="020B0604020202020204" pitchFamily="34" charset="0"/>
                <a:ea typeface="AECOM Sans Light" panose="020B0404020202020204" pitchFamily="34" charset="0"/>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itle style</a:t>
            </a:r>
          </a:p>
        </p:txBody>
      </p:sp>
      <p:cxnSp>
        <p:nvCxnSpPr>
          <p:cNvPr id="7" name="Straight Connector 6">
            <a:extLst>
              <a:ext uri="{FF2B5EF4-FFF2-40B4-BE49-F238E27FC236}">
                <a16:creationId xmlns:a16="http://schemas.microsoft.com/office/drawing/2014/main" id="{18591237-668C-8349-A5F6-D829ACF0B946}"/>
              </a:ext>
            </a:extLst>
          </p:cNvPr>
          <p:cNvCxnSpPr>
            <a:cxnSpLocks/>
          </p:cNvCxnSpPr>
          <p:nvPr userDrawn="1"/>
        </p:nvCxnSpPr>
        <p:spPr>
          <a:xfrm>
            <a:off x="263525" y="260350"/>
            <a:ext cx="432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864FEEA-36EF-B349-BF8A-AAAEEA44FCCD}"/>
              </a:ext>
            </a:extLst>
          </p:cNvPr>
          <p:cNvGrpSpPr/>
          <p:nvPr userDrawn="1"/>
        </p:nvGrpSpPr>
        <p:grpSpPr>
          <a:xfrm>
            <a:off x="10814051" y="6438651"/>
            <a:ext cx="1111250" cy="225425"/>
            <a:chOff x="292100" y="6413250"/>
            <a:chExt cx="1111250" cy="225425"/>
          </a:xfrm>
        </p:grpSpPr>
        <p:sp>
          <p:nvSpPr>
            <p:cNvPr id="9" name="Freeform: Shape 12">
              <a:extLst>
                <a:ext uri="{FF2B5EF4-FFF2-40B4-BE49-F238E27FC236}">
                  <a16:creationId xmlns:a16="http://schemas.microsoft.com/office/drawing/2014/main" id="{D6A3BAED-ADB8-B54F-ACD5-13120D315855}"/>
                </a:ext>
              </a:extLst>
            </p:cNvPr>
            <p:cNvSpPr/>
            <p:nvPr userDrawn="1"/>
          </p:nvSpPr>
          <p:spPr>
            <a:xfrm>
              <a:off x="292100" y="6413250"/>
              <a:ext cx="225425" cy="225425"/>
            </a:xfrm>
            <a:custGeom>
              <a:avLst/>
              <a:gdLst>
                <a:gd name="connsiteX0" fmla="*/ 329565 w 342900"/>
                <a:gd name="connsiteY0" fmla="*/ 104775 h 342900"/>
                <a:gd name="connsiteX1" fmla="*/ 292418 w 342900"/>
                <a:gd name="connsiteY1" fmla="*/ 50483 h 342900"/>
                <a:gd name="connsiteX2" fmla="*/ 238125 w 342900"/>
                <a:gd name="connsiteY2" fmla="*/ 13335 h 342900"/>
                <a:gd name="connsiteX3" fmla="*/ 171450 w 342900"/>
                <a:gd name="connsiteY3" fmla="*/ 0 h 342900"/>
                <a:gd name="connsiteX4" fmla="*/ 104775 w 342900"/>
                <a:gd name="connsiteY4" fmla="*/ 13335 h 342900"/>
                <a:gd name="connsiteX5" fmla="*/ 50483 w 342900"/>
                <a:gd name="connsiteY5" fmla="*/ 50483 h 342900"/>
                <a:gd name="connsiteX6" fmla="*/ 13335 w 342900"/>
                <a:gd name="connsiteY6" fmla="*/ 104775 h 342900"/>
                <a:gd name="connsiteX7" fmla="*/ 0 w 342900"/>
                <a:gd name="connsiteY7" fmla="*/ 171450 h 342900"/>
                <a:gd name="connsiteX8" fmla="*/ 13335 w 342900"/>
                <a:gd name="connsiteY8" fmla="*/ 238125 h 342900"/>
                <a:gd name="connsiteX9" fmla="*/ 50483 w 342900"/>
                <a:gd name="connsiteY9" fmla="*/ 292418 h 342900"/>
                <a:gd name="connsiteX10" fmla="*/ 104775 w 342900"/>
                <a:gd name="connsiteY10" fmla="*/ 329565 h 342900"/>
                <a:gd name="connsiteX11" fmla="*/ 171450 w 342900"/>
                <a:gd name="connsiteY11" fmla="*/ 342900 h 342900"/>
                <a:gd name="connsiteX12" fmla="*/ 171450 w 342900"/>
                <a:gd name="connsiteY12" fmla="*/ 308610 h 342900"/>
                <a:gd name="connsiteX13" fmla="*/ 74295 w 342900"/>
                <a:gd name="connsiteY13" fmla="*/ 268605 h 342900"/>
                <a:gd name="connsiteX14" fmla="*/ 35243 w 342900"/>
                <a:gd name="connsiteY14" fmla="*/ 188595 h 342900"/>
                <a:gd name="connsiteX15" fmla="*/ 180975 w 342900"/>
                <a:gd name="connsiteY15" fmla="*/ 188595 h 342900"/>
                <a:gd name="connsiteX16" fmla="*/ 141923 w 342900"/>
                <a:gd name="connsiteY16" fmla="*/ 227648 h 342900"/>
                <a:gd name="connsiteX17" fmla="*/ 165735 w 342900"/>
                <a:gd name="connsiteY17" fmla="*/ 251460 h 342900"/>
                <a:gd name="connsiteX18" fmla="*/ 246698 w 342900"/>
                <a:gd name="connsiteY18" fmla="*/ 170498 h 342900"/>
                <a:gd name="connsiteX19" fmla="*/ 165735 w 342900"/>
                <a:gd name="connsiteY19" fmla="*/ 89535 h 342900"/>
                <a:gd name="connsiteX20" fmla="*/ 141923 w 342900"/>
                <a:gd name="connsiteY20" fmla="*/ 113348 h 342900"/>
                <a:gd name="connsiteX21" fmla="*/ 180975 w 342900"/>
                <a:gd name="connsiteY21" fmla="*/ 152400 h 342900"/>
                <a:gd name="connsiteX22" fmla="*/ 35243 w 342900"/>
                <a:gd name="connsiteY22" fmla="*/ 152400 h 342900"/>
                <a:gd name="connsiteX23" fmla="*/ 74295 w 342900"/>
                <a:gd name="connsiteY23" fmla="*/ 72390 h 342900"/>
                <a:gd name="connsiteX24" fmla="*/ 171450 w 342900"/>
                <a:gd name="connsiteY24" fmla="*/ 32385 h 342900"/>
                <a:gd name="connsiteX25" fmla="*/ 268605 w 342900"/>
                <a:gd name="connsiteY25" fmla="*/ 72390 h 342900"/>
                <a:gd name="connsiteX26" fmla="*/ 308610 w 342900"/>
                <a:gd name="connsiteY26" fmla="*/ 169545 h 342900"/>
                <a:gd name="connsiteX27" fmla="*/ 342900 w 342900"/>
                <a:gd name="connsiteY27" fmla="*/ 169545 h 342900"/>
                <a:gd name="connsiteX28" fmla="*/ 329565 w 342900"/>
                <a:gd name="connsiteY28" fmla="*/ 1047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342900">
                  <a:moveTo>
                    <a:pt x="329565" y="104775"/>
                  </a:moveTo>
                  <a:cubicBezTo>
                    <a:pt x="320993" y="84773"/>
                    <a:pt x="308610" y="65723"/>
                    <a:pt x="292418" y="50483"/>
                  </a:cubicBezTo>
                  <a:cubicBezTo>
                    <a:pt x="276225" y="34290"/>
                    <a:pt x="258128" y="21908"/>
                    <a:pt x="238125" y="13335"/>
                  </a:cubicBezTo>
                  <a:cubicBezTo>
                    <a:pt x="217170" y="4763"/>
                    <a:pt x="194310" y="0"/>
                    <a:pt x="171450" y="0"/>
                  </a:cubicBezTo>
                  <a:cubicBezTo>
                    <a:pt x="148590" y="0"/>
                    <a:pt x="125730" y="4763"/>
                    <a:pt x="104775" y="13335"/>
                  </a:cubicBezTo>
                  <a:cubicBezTo>
                    <a:pt x="83820" y="21908"/>
                    <a:pt x="65723" y="34290"/>
                    <a:pt x="50483" y="50483"/>
                  </a:cubicBezTo>
                  <a:cubicBezTo>
                    <a:pt x="34290" y="66675"/>
                    <a:pt x="21908" y="84773"/>
                    <a:pt x="13335" y="104775"/>
                  </a:cubicBezTo>
                  <a:cubicBezTo>
                    <a:pt x="4763" y="125730"/>
                    <a:pt x="0" y="148590"/>
                    <a:pt x="0" y="171450"/>
                  </a:cubicBezTo>
                  <a:cubicBezTo>
                    <a:pt x="0" y="194310"/>
                    <a:pt x="4763" y="217170"/>
                    <a:pt x="13335" y="238125"/>
                  </a:cubicBezTo>
                  <a:cubicBezTo>
                    <a:pt x="21908" y="258128"/>
                    <a:pt x="34290" y="277178"/>
                    <a:pt x="50483" y="292418"/>
                  </a:cubicBezTo>
                  <a:cubicBezTo>
                    <a:pt x="66675" y="308610"/>
                    <a:pt x="84773" y="320993"/>
                    <a:pt x="104775" y="329565"/>
                  </a:cubicBezTo>
                  <a:cubicBezTo>
                    <a:pt x="125730" y="338138"/>
                    <a:pt x="148590" y="342900"/>
                    <a:pt x="171450" y="342900"/>
                  </a:cubicBezTo>
                  <a:lnTo>
                    <a:pt x="171450" y="308610"/>
                  </a:lnTo>
                  <a:cubicBezTo>
                    <a:pt x="135255" y="308610"/>
                    <a:pt x="100013" y="294323"/>
                    <a:pt x="74295" y="268605"/>
                  </a:cubicBezTo>
                  <a:cubicBezTo>
                    <a:pt x="52388" y="246698"/>
                    <a:pt x="39053" y="219075"/>
                    <a:pt x="35243" y="188595"/>
                  </a:cubicBezTo>
                  <a:lnTo>
                    <a:pt x="180975" y="188595"/>
                  </a:lnTo>
                  <a:lnTo>
                    <a:pt x="141923" y="227648"/>
                  </a:lnTo>
                  <a:lnTo>
                    <a:pt x="165735" y="251460"/>
                  </a:lnTo>
                  <a:lnTo>
                    <a:pt x="246698" y="170498"/>
                  </a:lnTo>
                  <a:lnTo>
                    <a:pt x="165735" y="89535"/>
                  </a:lnTo>
                  <a:lnTo>
                    <a:pt x="141923" y="113348"/>
                  </a:lnTo>
                  <a:lnTo>
                    <a:pt x="180975" y="152400"/>
                  </a:lnTo>
                  <a:lnTo>
                    <a:pt x="35243" y="152400"/>
                  </a:lnTo>
                  <a:cubicBezTo>
                    <a:pt x="39053" y="121920"/>
                    <a:pt x="52388" y="94298"/>
                    <a:pt x="74295" y="72390"/>
                  </a:cubicBezTo>
                  <a:cubicBezTo>
                    <a:pt x="100013" y="46673"/>
                    <a:pt x="134303" y="32385"/>
                    <a:pt x="171450" y="32385"/>
                  </a:cubicBezTo>
                  <a:cubicBezTo>
                    <a:pt x="207645" y="32385"/>
                    <a:pt x="242888" y="46673"/>
                    <a:pt x="268605" y="72390"/>
                  </a:cubicBezTo>
                  <a:cubicBezTo>
                    <a:pt x="294323" y="98108"/>
                    <a:pt x="308610" y="132398"/>
                    <a:pt x="308610" y="169545"/>
                  </a:cubicBezTo>
                  <a:lnTo>
                    <a:pt x="342900" y="169545"/>
                  </a:lnTo>
                  <a:cubicBezTo>
                    <a:pt x="342900" y="148590"/>
                    <a:pt x="338138" y="125730"/>
                    <a:pt x="329565" y="104775"/>
                  </a:cubicBezTo>
                </a:path>
              </a:pathLst>
            </a:custGeom>
            <a:solidFill>
              <a:schemeClr val="accent1"/>
            </a:solidFill>
            <a:ln w="9525" cap="flat">
              <a:noFill/>
              <a:prstDash val="solid"/>
              <a:miter/>
            </a:ln>
          </p:spPr>
          <p:txBody>
            <a:bodyPr rtlCol="0" anchor="ctr"/>
            <a:lstStyle/>
            <a:p>
              <a:endParaRPr lang="en-US"/>
            </a:p>
          </p:txBody>
        </p:sp>
        <p:sp>
          <p:nvSpPr>
            <p:cNvPr id="10" name="Freeform: Shape 13">
              <a:extLst>
                <a:ext uri="{FF2B5EF4-FFF2-40B4-BE49-F238E27FC236}">
                  <a16:creationId xmlns:a16="http://schemas.microsoft.com/office/drawing/2014/main" id="{D8178532-1D26-3840-8B25-7AC4BEA2F1AA}"/>
                </a:ext>
              </a:extLst>
            </p:cNvPr>
            <p:cNvSpPr/>
            <p:nvPr userDrawn="1"/>
          </p:nvSpPr>
          <p:spPr>
            <a:xfrm>
              <a:off x="590579" y="6484379"/>
              <a:ext cx="812771" cy="84028"/>
            </a:xfrm>
            <a:custGeom>
              <a:avLst/>
              <a:gdLst>
                <a:gd name="connsiteX0" fmla="*/ 1329690 w 1547812"/>
                <a:gd name="connsiteY0" fmla="*/ 155258 h 160020"/>
                <a:gd name="connsiteX1" fmla="*/ 1369695 w 1547812"/>
                <a:gd name="connsiteY1" fmla="*/ 155258 h 160020"/>
                <a:gd name="connsiteX2" fmla="*/ 1369695 w 1547812"/>
                <a:gd name="connsiteY2" fmla="*/ 65723 h 160020"/>
                <a:gd name="connsiteX3" fmla="*/ 1372553 w 1547812"/>
                <a:gd name="connsiteY3" fmla="*/ 53340 h 160020"/>
                <a:gd name="connsiteX4" fmla="*/ 1379220 w 1547812"/>
                <a:gd name="connsiteY4" fmla="*/ 43815 h 160020"/>
                <a:gd name="connsiteX5" fmla="*/ 1388745 w 1547812"/>
                <a:gd name="connsiteY5" fmla="*/ 37147 h 160020"/>
                <a:gd name="connsiteX6" fmla="*/ 1400175 w 1547812"/>
                <a:gd name="connsiteY6" fmla="*/ 35243 h 160020"/>
                <a:gd name="connsiteX7" fmla="*/ 1407795 w 1547812"/>
                <a:gd name="connsiteY7" fmla="*/ 36195 h 160020"/>
                <a:gd name="connsiteX8" fmla="*/ 1413510 w 1547812"/>
                <a:gd name="connsiteY8" fmla="*/ 40005 h 160020"/>
                <a:gd name="connsiteX9" fmla="*/ 1417320 w 1547812"/>
                <a:gd name="connsiteY9" fmla="*/ 47625 h 160020"/>
                <a:gd name="connsiteX10" fmla="*/ 1419225 w 1547812"/>
                <a:gd name="connsiteY10" fmla="*/ 60960 h 160020"/>
                <a:gd name="connsiteX11" fmla="*/ 1419225 w 1547812"/>
                <a:gd name="connsiteY11" fmla="*/ 155258 h 160020"/>
                <a:gd name="connsiteX12" fmla="*/ 1459230 w 1547812"/>
                <a:gd name="connsiteY12" fmla="*/ 155258 h 160020"/>
                <a:gd name="connsiteX13" fmla="*/ 1459230 w 1547812"/>
                <a:gd name="connsiteY13" fmla="*/ 63818 h 160020"/>
                <a:gd name="connsiteX14" fmla="*/ 1462088 w 1547812"/>
                <a:gd name="connsiteY14" fmla="*/ 53340 h 160020"/>
                <a:gd name="connsiteX15" fmla="*/ 1468755 w 1547812"/>
                <a:gd name="connsiteY15" fmla="*/ 43815 h 160020"/>
                <a:gd name="connsiteX16" fmla="*/ 1478280 w 1547812"/>
                <a:gd name="connsiteY16" fmla="*/ 37147 h 160020"/>
                <a:gd name="connsiteX17" fmla="*/ 1489710 w 1547812"/>
                <a:gd name="connsiteY17" fmla="*/ 35243 h 160020"/>
                <a:gd name="connsiteX18" fmla="*/ 1497330 w 1547812"/>
                <a:gd name="connsiteY18" fmla="*/ 36195 h 160020"/>
                <a:gd name="connsiteX19" fmla="*/ 1503045 w 1547812"/>
                <a:gd name="connsiteY19" fmla="*/ 40005 h 160020"/>
                <a:gd name="connsiteX20" fmla="*/ 1506855 w 1547812"/>
                <a:gd name="connsiteY20" fmla="*/ 47625 h 160020"/>
                <a:gd name="connsiteX21" fmla="*/ 1507808 w 1547812"/>
                <a:gd name="connsiteY21" fmla="*/ 60960 h 160020"/>
                <a:gd name="connsiteX22" fmla="*/ 1507808 w 1547812"/>
                <a:gd name="connsiteY22" fmla="*/ 155258 h 160020"/>
                <a:gd name="connsiteX23" fmla="*/ 1547813 w 1547812"/>
                <a:gd name="connsiteY23" fmla="*/ 155258 h 160020"/>
                <a:gd name="connsiteX24" fmla="*/ 1547813 w 1547812"/>
                <a:gd name="connsiteY24" fmla="*/ 55245 h 160020"/>
                <a:gd name="connsiteX25" fmla="*/ 1536383 w 1547812"/>
                <a:gd name="connsiteY25" fmla="*/ 14288 h 160020"/>
                <a:gd name="connsiteX26" fmla="*/ 1502093 w 1547812"/>
                <a:gd name="connsiteY26" fmla="*/ 1905 h 160020"/>
                <a:gd name="connsiteX27" fmla="*/ 1477328 w 1547812"/>
                <a:gd name="connsiteY27" fmla="*/ 7620 h 160020"/>
                <a:gd name="connsiteX28" fmla="*/ 1455420 w 1547812"/>
                <a:gd name="connsiteY28" fmla="*/ 27623 h 160020"/>
                <a:gd name="connsiteX29" fmla="*/ 1441133 w 1547812"/>
                <a:gd name="connsiteY29" fmla="*/ 8573 h 160020"/>
                <a:gd name="connsiteX30" fmla="*/ 1414463 w 1547812"/>
                <a:gd name="connsiteY30" fmla="*/ 1905 h 160020"/>
                <a:gd name="connsiteX31" fmla="*/ 1390650 w 1547812"/>
                <a:gd name="connsiteY31" fmla="*/ 7620 h 160020"/>
                <a:gd name="connsiteX32" fmla="*/ 1371600 w 1547812"/>
                <a:gd name="connsiteY32" fmla="*/ 25718 h 160020"/>
                <a:gd name="connsiteX33" fmla="*/ 1371600 w 1547812"/>
                <a:gd name="connsiteY33" fmla="*/ 5715 h 160020"/>
                <a:gd name="connsiteX34" fmla="*/ 1332548 w 1547812"/>
                <a:gd name="connsiteY34" fmla="*/ 5715 h 160020"/>
                <a:gd name="connsiteX35" fmla="*/ 1332548 w 1547812"/>
                <a:gd name="connsiteY35" fmla="*/ 155258 h 160020"/>
                <a:gd name="connsiteX36" fmla="*/ 1199198 w 1547812"/>
                <a:gd name="connsiteY36" fmla="*/ 116205 h 160020"/>
                <a:gd name="connsiteX37" fmla="*/ 1190625 w 1547812"/>
                <a:gd name="connsiteY37" fmla="*/ 80963 h 160020"/>
                <a:gd name="connsiteX38" fmla="*/ 1199198 w 1547812"/>
                <a:gd name="connsiteY38" fmla="*/ 45720 h 160020"/>
                <a:gd name="connsiteX39" fmla="*/ 1224915 w 1547812"/>
                <a:gd name="connsiteY39" fmla="*/ 33338 h 160020"/>
                <a:gd name="connsiteX40" fmla="*/ 1250633 w 1547812"/>
                <a:gd name="connsiteY40" fmla="*/ 45720 h 160020"/>
                <a:gd name="connsiteX41" fmla="*/ 1259205 w 1547812"/>
                <a:gd name="connsiteY41" fmla="*/ 80963 h 160020"/>
                <a:gd name="connsiteX42" fmla="*/ 1250633 w 1547812"/>
                <a:gd name="connsiteY42" fmla="*/ 116205 h 160020"/>
                <a:gd name="connsiteX43" fmla="*/ 1224915 w 1547812"/>
                <a:gd name="connsiteY43" fmla="*/ 128588 h 160020"/>
                <a:gd name="connsiteX44" fmla="*/ 1199198 w 1547812"/>
                <a:gd name="connsiteY44" fmla="*/ 116205 h 160020"/>
                <a:gd name="connsiteX45" fmla="*/ 1256348 w 1547812"/>
                <a:gd name="connsiteY45" fmla="*/ 154305 h 160020"/>
                <a:gd name="connsiteX46" fmla="*/ 1280160 w 1547812"/>
                <a:gd name="connsiteY46" fmla="*/ 138113 h 160020"/>
                <a:gd name="connsiteX47" fmla="*/ 1295400 w 1547812"/>
                <a:gd name="connsiteY47" fmla="*/ 113348 h 160020"/>
                <a:gd name="connsiteX48" fmla="*/ 1301115 w 1547812"/>
                <a:gd name="connsiteY48" fmla="*/ 80010 h 160020"/>
                <a:gd name="connsiteX49" fmla="*/ 1296353 w 1547812"/>
                <a:gd name="connsiteY49" fmla="*/ 46672 h 160020"/>
                <a:gd name="connsiteX50" fmla="*/ 1281113 w 1547812"/>
                <a:gd name="connsiteY50" fmla="*/ 21908 h 160020"/>
                <a:gd name="connsiteX51" fmla="*/ 1257300 w 1547812"/>
                <a:gd name="connsiteY51" fmla="*/ 6668 h 160020"/>
                <a:gd name="connsiteX52" fmla="*/ 1225868 w 1547812"/>
                <a:gd name="connsiteY52" fmla="*/ 953 h 160020"/>
                <a:gd name="connsiteX53" fmla="*/ 1194435 w 1547812"/>
                <a:gd name="connsiteY53" fmla="*/ 6668 h 160020"/>
                <a:gd name="connsiteX54" fmla="*/ 1170623 w 1547812"/>
                <a:gd name="connsiteY54" fmla="*/ 21908 h 160020"/>
                <a:gd name="connsiteX55" fmla="*/ 1155383 w 1547812"/>
                <a:gd name="connsiteY55" fmla="*/ 46672 h 160020"/>
                <a:gd name="connsiteX56" fmla="*/ 1149668 w 1547812"/>
                <a:gd name="connsiteY56" fmla="*/ 80010 h 160020"/>
                <a:gd name="connsiteX57" fmla="*/ 1169670 w 1547812"/>
                <a:gd name="connsiteY57" fmla="*/ 139065 h 160020"/>
                <a:gd name="connsiteX58" fmla="*/ 1225868 w 1547812"/>
                <a:gd name="connsiteY58" fmla="*/ 160020 h 160020"/>
                <a:gd name="connsiteX59" fmla="*/ 1256348 w 1547812"/>
                <a:gd name="connsiteY59" fmla="*/ 154305 h 160020"/>
                <a:gd name="connsiteX60" fmla="*/ 1086803 w 1547812"/>
                <a:gd name="connsiteY60" fmla="*/ 100965 h 160020"/>
                <a:gd name="connsiteX61" fmla="*/ 1079183 w 1547812"/>
                <a:gd name="connsiteY61" fmla="*/ 120968 h 160020"/>
                <a:gd name="connsiteX62" fmla="*/ 1061085 w 1547812"/>
                <a:gd name="connsiteY62" fmla="*/ 127635 h 160020"/>
                <a:gd name="connsiteX63" fmla="*/ 1045845 w 1547812"/>
                <a:gd name="connsiteY63" fmla="*/ 123825 h 160020"/>
                <a:gd name="connsiteX64" fmla="*/ 1036320 w 1547812"/>
                <a:gd name="connsiteY64" fmla="*/ 113348 h 160020"/>
                <a:gd name="connsiteX65" fmla="*/ 1031558 w 1547812"/>
                <a:gd name="connsiteY65" fmla="*/ 98108 h 160020"/>
                <a:gd name="connsiteX66" fmla="*/ 1029653 w 1547812"/>
                <a:gd name="connsiteY66" fmla="*/ 80010 h 160020"/>
                <a:gd name="connsiteX67" fmla="*/ 1031558 w 1547812"/>
                <a:gd name="connsiteY67" fmla="*/ 62865 h 160020"/>
                <a:gd name="connsiteX68" fmla="*/ 1036320 w 1547812"/>
                <a:gd name="connsiteY68" fmla="*/ 47625 h 160020"/>
                <a:gd name="connsiteX69" fmla="*/ 1045845 w 1547812"/>
                <a:gd name="connsiteY69" fmla="*/ 37147 h 160020"/>
                <a:gd name="connsiteX70" fmla="*/ 1061085 w 1547812"/>
                <a:gd name="connsiteY70" fmla="*/ 33338 h 160020"/>
                <a:gd name="connsiteX71" fmla="*/ 1079183 w 1547812"/>
                <a:gd name="connsiteY71" fmla="*/ 40005 h 160020"/>
                <a:gd name="connsiteX72" fmla="*/ 1085850 w 1547812"/>
                <a:gd name="connsiteY72" fmla="*/ 58103 h 160020"/>
                <a:gd name="connsiteX73" fmla="*/ 1125855 w 1547812"/>
                <a:gd name="connsiteY73" fmla="*/ 52388 h 160020"/>
                <a:gd name="connsiteX74" fmla="*/ 1120140 w 1547812"/>
                <a:gd name="connsiteY74" fmla="*/ 31433 h 160020"/>
                <a:gd name="connsiteX75" fmla="*/ 1107758 w 1547812"/>
                <a:gd name="connsiteY75" fmla="*/ 15240 h 160020"/>
                <a:gd name="connsiteX76" fmla="*/ 1088708 w 1547812"/>
                <a:gd name="connsiteY76" fmla="*/ 4763 h 160020"/>
                <a:gd name="connsiteX77" fmla="*/ 1062038 w 1547812"/>
                <a:gd name="connsiteY77" fmla="*/ 953 h 160020"/>
                <a:gd name="connsiteX78" fmla="*/ 1030605 w 1547812"/>
                <a:gd name="connsiteY78" fmla="*/ 6668 h 160020"/>
                <a:gd name="connsiteX79" fmla="*/ 1007745 w 1547812"/>
                <a:gd name="connsiteY79" fmla="*/ 22860 h 160020"/>
                <a:gd name="connsiteX80" fmla="*/ 993458 w 1547812"/>
                <a:gd name="connsiteY80" fmla="*/ 47625 h 160020"/>
                <a:gd name="connsiteX81" fmla="*/ 988695 w 1547812"/>
                <a:gd name="connsiteY81" fmla="*/ 80010 h 160020"/>
                <a:gd name="connsiteX82" fmla="*/ 992505 w 1547812"/>
                <a:gd name="connsiteY82" fmla="*/ 112395 h 160020"/>
                <a:gd name="connsiteX83" fmla="*/ 1005840 w 1547812"/>
                <a:gd name="connsiteY83" fmla="*/ 137160 h 160020"/>
                <a:gd name="connsiteX84" fmla="*/ 1028700 w 1547812"/>
                <a:gd name="connsiteY84" fmla="*/ 153353 h 160020"/>
                <a:gd name="connsiteX85" fmla="*/ 1061085 w 1547812"/>
                <a:gd name="connsiteY85" fmla="*/ 159068 h 160020"/>
                <a:gd name="connsiteX86" fmla="*/ 1109663 w 1547812"/>
                <a:gd name="connsiteY86" fmla="*/ 142875 h 160020"/>
                <a:gd name="connsiteX87" fmla="*/ 1127760 w 1547812"/>
                <a:gd name="connsiteY87" fmla="*/ 100013 h 160020"/>
                <a:gd name="connsiteX88" fmla="*/ 1086803 w 1547812"/>
                <a:gd name="connsiteY88" fmla="*/ 100013 h 160020"/>
                <a:gd name="connsiteX89" fmla="*/ 921068 w 1547812"/>
                <a:gd name="connsiteY89" fmla="*/ 155258 h 160020"/>
                <a:gd name="connsiteX90" fmla="*/ 962025 w 1547812"/>
                <a:gd name="connsiteY90" fmla="*/ 155258 h 160020"/>
                <a:gd name="connsiteX91" fmla="*/ 962025 w 1547812"/>
                <a:gd name="connsiteY91" fmla="*/ 109538 h 160020"/>
                <a:gd name="connsiteX92" fmla="*/ 921068 w 1547812"/>
                <a:gd name="connsiteY92" fmla="*/ 109538 h 160020"/>
                <a:gd name="connsiteX93" fmla="*/ 921068 w 1547812"/>
                <a:gd name="connsiteY93" fmla="*/ 155258 h 160020"/>
                <a:gd name="connsiteX94" fmla="*/ 671513 w 1547812"/>
                <a:gd name="connsiteY94" fmla="*/ 155258 h 160020"/>
                <a:gd name="connsiteX95" fmla="*/ 711518 w 1547812"/>
                <a:gd name="connsiteY95" fmla="*/ 155258 h 160020"/>
                <a:gd name="connsiteX96" fmla="*/ 711518 w 1547812"/>
                <a:gd name="connsiteY96" fmla="*/ 65723 h 160020"/>
                <a:gd name="connsiteX97" fmla="*/ 714375 w 1547812"/>
                <a:gd name="connsiteY97" fmla="*/ 53340 h 160020"/>
                <a:gd name="connsiteX98" fmla="*/ 721043 w 1547812"/>
                <a:gd name="connsiteY98" fmla="*/ 43815 h 160020"/>
                <a:gd name="connsiteX99" fmla="*/ 730568 w 1547812"/>
                <a:gd name="connsiteY99" fmla="*/ 37147 h 160020"/>
                <a:gd name="connsiteX100" fmla="*/ 741998 w 1547812"/>
                <a:gd name="connsiteY100" fmla="*/ 35243 h 160020"/>
                <a:gd name="connsiteX101" fmla="*/ 749618 w 1547812"/>
                <a:gd name="connsiteY101" fmla="*/ 36195 h 160020"/>
                <a:gd name="connsiteX102" fmla="*/ 755333 w 1547812"/>
                <a:gd name="connsiteY102" fmla="*/ 40005 h 160020"/>
                <a:gd name="connsiteX103" fmla="*/ 759143 w 1547812"/>
                <a:gd name="connsiteY103" fmla="*/ 47625 h 160020"/>
                <a:gd name="connsiteX104" fmla="*/ 761048 w 1547812"/>
                <a:gd name="connsiteY104" fmla="*/ 60960 h 160020"/>
                <a:gd name="connsiteX105" fmla="*/ 761048 w 1547812"/>
                <a:gd name="connsiteY105" fmla="*/ 155258 h 160020"/>
                <a:gd name="connsiteX106" fmla="*/ 801053 w 1547812"/>
                <a:gd name="connsiteY106" fmla="*/ 155258 h 160020"/>
                <a:gd name="connsiteX107" fmla="*/ 801053 w 1547812"/>
                <a:gd name="connsiteY107" fmla="*/ 63818 h 160020"/>
                <a:gd name="connsiteX108" fmla="*/ 803910 w 1547812"/>
                <a:gd name="connsiteY108" fmla="*/ 53340 h 160020"/>
                <a:gd name="connsiteX109" fmla="*/ 810578 w 1547812"/>
                <a:gd name="connsiteY109" fmla="*/ 43815 h 160020"/>
                <a:gd name="connsiteX110" fmla="*/ 820103 w 1547812"/>
                <a:gd name="connsiteY110" fmla="*/ 37147 h 160020"/>
                <a:gd name="connsiteX111" fmla="*/ 831533 w 1547812"/>
                <a:gd name="connsiteY111" fmla="*/ 35243 h 160020"/>
                <a:gd name="connsiteX112" fmla="*/ 839153 w 1547812"/>
                <a:gd name="connsiteY112" fmla="*/ 36195 h 160020"/>
                <a:gd name="connsiteX113" fmla="*/ 844868 w 1547812"/>
                <a:gd name="connsiteY113" fmla="*/ 40005 h 160020"/>
                <a:gd name="connsiteX114" fmla="*/ 848678 w 1547812"/>
                <a:gd name="connsiteY114" fmla="*/ 47625 h 160020"/>
                <a:gd name="connsiteX115" fmla="*/ 849630 w 1547812"/>
                <a:gd name="connsiteY115" fmla="*/ 60960 h 160020"/>
                <a:gd name="connsiteX116" fmla="*/ 849630 w 1547812"/>
                <a:gd name="connsiteY116" fmla="*/ 155258 h 160020"/>
                <a:gd name="connsiteX117" fmla="*/ 889635 w 1547812"/>
                <a:gd name="connsiteY117" fmla="*/ 155258 h 160020"/>
                <a:gd name="connsiteX118" fmla="*/ 889635 w 1547812"/>
                <a:gd name="connsiteY118" fmla="*/ 55245 h 160020"/>
                <a:gd name="connsiteX119" fmla="*/ 878205 w 1547812"/>
                <a:gd name="connsiteY119" fmla="*/ 14288 h 160020"/>
                <a:gd name="connsiteX120" fmla="*/ 843915 w 1547812"/>
                <a:gd name="connsiteY120" fmla="*/ 1905 h 160020"/>
                <a:gd name="connsiteX121" fmla="*/ 819150 w 1547812"/>
                <a:gd name="connsiteY121" fmla="*/ 7620 h 160020"/>
                <a:gd name="connsiteX122" fmla="*/ 797243 w 1547812"/>
                <a:gd name="connsiteY122" fmla="*/ 27623 h 160020"/>
                <a:gd name="connsiteX123" fmla="*/ 782955 w 1547812"/>
                <a:gd name="connsiteY123" fmla="*/ 8573 h 160020"/>
                <a:gd name="connsiteX124" fmla="*/ 756285 w 1547812"/>
                <a:gd name="connsiteY124" fmla="*/ 1905 h 160020"/>
                <a:gd name="connsiteX125" fmla="*/ 732473 w 1547812"/>
                <a:gd name="connsiteY125" fmla="*/ 7620 h 160020"/>
                <a:gd name="connsiteX126" fmla="*/ 713423 w 1547812"/>
                <a:gd name="connsiteY126" fmla="*/ 25718 h 160020"/>
                <a:gd name="connsiteX127" fmla="*/ 713423 w 1547812"/>
                <a:gd name="connsiteY127" fmla="*/ 5715 h 160020"/>
                <a:gd name="connsiteX128" fmla="*/ 674370 w 1547812"/>
                <a:gd name="connsiteY128" fmla="*/ 5715 h 160020"/>
                <a:gd name="connsiteX129" fmla="*/ 674370 w 1547812"/>
                <a:gd name="connsiteY129" fmla="*/ 155258 h 160020"/>
                <a:gd name="connsiteX130" fmla="*/ 541973 w 1547812"/>
                <a:gd name="connsiteY130" fmla="*/ 116205 h 160020"/>
                <a:gd name="connsiteX131" fmla="*/ 533400 w 1547812"/>
                <a:gd name="connsiteY131" fmla="*/ 80963 h 160020"/>
                <a:gd name="connsiteX132" fmla="*/ 541973 w 1547812"/>
                <a:gd name="connsiteY132" fmla="*/ 45720 h 160020"/>
                <a:gd name="connsiteX133" fmla="*/ 567690 w 1547812"/>
                <a:gd name="connsiteY133" fmla="*/ 33338 h 160020"/>
                <a:gd name="connsiteX134" fmla="*/ 593408 w 1547812"/>
                <a:gd name="connsiteY134" fmla="*/ 45720 h 160020"/>
                <a:gd name="connsiteX135" fmla="*/ 601980 w 1547812"/>
                <a:gd name="connsiteY135" fmla="*/ 80963 h 160020"/>
                <a:gd name="connsiteX136" fmla="*/ 593408 w 1547812"/>
                <a:gd name="connsiteY136" fmla="*/ 116205 h 160020"/>
                <a:gd name="connsiteX137" fmla="*/ 567690 w 1547812"/>
                <a:gd name="connsiteY137" fmla="*/ 128588 h 160020"/>
                <a:gd name="connsiteX138" fmla="*/ 541973 w 1547812"/>
                <a:gd name="connsiteY138" fmla="*/ 116205 h 160020"/>
                <a:gd name="connsiteX139" fmla="*/ 598170 w 1547812"/>
                <a:gd name="connsiteY139" fmla="*/ 154305 h 160020"/>
                <a:gd name="connsiteX140" fmla="*/ 621983 w 1547812"/>
                <a:gd name="connsiteY140" fmla="*/ 138113 h 160020"/>
                <a:gd name="connsiteX141" fmla="*/ 637223 w 1547812"/>
                <a:gd name="connsiteY141" fmla="*/ 113348 h 160020"/>
                <a:gd name="connsiteX142" fmla="*/ 642938 w 1547812"/>
                <a:gd name="connsiteY142" fmla="*/ 80010 h 160020"/>
                <a:gd name="connsiteX143" fmla="*/ 638175 w 1547812"/>
                <a:gd name="connsiteY143" fmla="*/ 46672 h 160020"/>
                <a:gd name="connsiteX144" fmla="*/ 622935 w 1547812"/>
                <a:gd name="connsiteY144" fmla="*/ 21908 h 160020"/>
                <a:gd name="connsiteX145" fmla="*/ 599123 w 1547812"/>
                <a:gd name="connsiteY145" fmla="*/ 6668 h 160020"/>
                <a:gd name="connsiteX146" fmla="*/ 567690 w 1547812"/>
                <a:gd name="connsiteY146" fmla="*/ 953 h 160020"/>
                <a:gd name="connsiteX147" fmla="*/ 536258 w 1547812"/>
                <a:gd name="connsiteY147" fmla="*/ 6668 h 160020"/>
                <a:gd name="connsiteX148" fmla="*/ 512445 w 1547812"/>
                <a:gd name="connsiteY148" fmla="*/ 21908 h 160020"/>
                <a:gd name="connsiteX149" fmla="*/ 497205 w 1547812"/>
                <a:gd name="connsiteY149" fmla="*/ 46672 h 160020"/>
                <a:gd name="connsiteX150" fmla="*/ 491490 w 1547812"/>
                <a:gd name="connsiteY150" fmla="*/ 80010 h 160020"/>
                <a:gd name="connsiteX151" fmla="*/ 511492 w 1547812"/>
                <a:gd name="connsiteY151" fmla="*/ 139065 h 160020"/>
                <a:gd name="connsiteX152" fmla="*/ 566738 w 1547812"/>
                <a:gd name="connsiteY152" fmla="*/ 160020 h 160020"/>
                <a:gd name="connsiteX153" fmla="*/ 598170 w 1547812"/>
                <a:gd name="connsiteY153" fmla="*/ 154305 h 160020"/>
                <a:gd name="connsiteX154" fmla="*/ 429578 w 1547812"/>
                <a:gd name="connsiteY154" fmla="*/ 100965 h 160020"/>
                <a:gd name="connsiteX155" fmla="*/ 421958 w 1547812"/>
                <a:gd name="connsiteY155" fmla="*/ 120968 h 160020"/>
                <a:gd name="connsiteX156" fmla="*/ 403860 w 1547812"/>
                <a:gd name="connsiteY156" fmla="*/ 127635 h 160020"/>
                <a:gd name="connsiteX157" fmla="*/ 388620 w 1547812"/>
                <a:gd name="connsiteY157" fmla="*/ 123825 h 160020"/>
                <a:gd name="connsiteX158" fmla="*/ 379095 w 1547812"/>
                <a:gd name="connsiteY158" fmla="*/ 113348 h 160020"/>
                <a:gd name="connsiteX159" fmla="*/ 374333 w 1547812"/>
                <a:gd name="connsiteY159" fmla="*/ 98108 h 160020"/>
                <a:gd name="connsiteX160" fmla="*/ 372428 w 1547812"/>
                <a:gd name="connsiteY160" fmla="*/ 80010 h 160020"/>
                <a:gd name="connsiteX161" fmla="*/ 374333 w 1547812"/>
                <a:gd name="connsiteY161" fmla="*/ 62865 h 160020"/>
                <a:gd name="connsiteX162" fmla="*/ 379095 w 1547812"/>
                <a:gd name="connsiteY162" fmla="*/ 47625 h 160020"/>
                <a:gd name="connsiteX163" fmla="*/ 388620 w 1547812"/>
                <a:gd name="connsiteY163" fmla="*/ 37147 h 160020"/>
                <a:gd name="connsiteX164" fmla="*/ 403860 w 1547812"/>
                <a:gd name="connsiteY164" fmla="*/ 33338 h 160020"/>
                <a:gd name="connsiteX165" fmla="*/ 421958 w 1547812"/>
                <a:gd name="connsiteY165" fmla="*/ 40005 h 160020"/>
                <a:gd name="connsiteX166" fmla="*/ 428625 w 1547812"/>
                <a:gd name="connsiteY166" fmla="*/ 58103 h 160020"/>
                <a:gd name="connsiteX167" fmla="*/ 468630 w 1547812"/>
                <a:gd name="connsiteY167" fmla="*/ 52388 h 160020"/>
                <a:gd name="connsiteX168" fmla="*/ 462915 w 1547812"/>
                <a:gd name="connsiteY168" fmla="*/ 31433 h 160020"/>
                <a:gd name="connsiteX169" fmla="*/ 450533 w 1547812"/>
                <a:gd name="connsiteY169" fmla="*/ 15240 h 160020"/>
                <a:gd name="connsiteX170" fmla="*/ 431483 w 1547812"/>
                <a:gd name="connsiteY170" fmla="*/ 4763 h 160020"/>
                <a:gd name="connsiteX171" fmla="*/ 404813 w 1547812"/>
                <a:gd name="connsiteY171" fmla="*/ 953 h 160020"/>
                <a:gd name="connsiteX172" fmla="*/ 373380 w 1547812"/>
                <a:gd name="connsiteY172" fmla="*/ 6668 h 160020"/>
                <a:gd name="connsiteX173" fmla="*/ 350520 w 1547812"/>
                <a:gd name="connsiteY173" fmla="*/ 22860 h 160020"/>
                <a:gd name="connsiteX174" fmla="*/ 336233 w 1547812"/>
                <a:gd name="connsiteY174" fmla="*/ 47625 h 160020"/>
                <a:gd name="connsiteX175" fmla="*/ 331470 w 1547812"/>
                <a:gd name="connsiteY175" fmla="*/ 80010 h 160020"/>
                <a:gd name="connsiteX176" fmla="*/ 336233 w 1547812"/>
                <a:gd name="connsiteY176" fmla="*/ 112395 h 160020"/>
                <a:gd name="connsiteX177" fmla="*/ 349567 w 1547812"/>
                <a:gd name="connsiteY177" fmla="*/ 137160 h 160020"/>
                <a:gd name="connsiteX178" fmla="*/ 372428 w 1547812"/>
                <a:gd name="connsiteY178" fmla="*/ 153353 h 160020"/>
                <a:gd name="connsiteX179" fmla="*/ 404813 w 1547812"/>
                <a:gd name="connsiteY179" fmla="*/ 159068 h 160020"/>
                <a:gd name="connsiteX180" fmla="*/ 453390 w 1547812"/>
                <a:gd name="connsiteY180" fmla="*/ 142875 h 160020"/>
                <a:gd name="connsiteX181" fmla="*/ 471488 w 1547812"/>
                <a:gd name="connsiteY181" fmla="*/ 100013 h 160020"/>
                <a:gd name="connsiteX182" fmla="*/ 429578 w 1547812"/>
                <a:gd name="connsiteY182" fmla="*/ 100013 h 160020"/>
                <a:gd name="connsiteX183" fmla="*/ 203835 w 1547812"/>
                <a:gd name="connsiteY183" fmla="*/ 63818 h 160020"/>
                <a:gd name="connsiteX184" fmla="*/ 206692 w 1547812"/>
                <a:gd name="connsiteY184" fmla="*/ 51435 h 160020"/>
                <a:gd name="connsiteX185" fmla="*/ 213360 w 1547812"/>
                <a:gd name="connsiteY185" fmla="*/ 40958 h 160020"/>
                <a:gd name="connsiteX186" fmla="*/ 223838 w 1547812"/>
                <a:gd name="connsiteY186" fmla="*/ 34290 h 160020"/>
                <a:gd name="connsiteX187" fmla="*/ 238125 w 1547812"/>
                <a:gd name="connsiteY187" fmla="*/ 31433 h 160020"/>
                <a:gd name="connsiteX188" fmla="*/ 261938 w 1547812"/>
                <a:gd name="connsiteY188" fmla="*/ 40005 h 160020"/>
                <a:gd name="connsiteX189" fmla="*/ 269558 w 1547812"/>
                <a:gd name="connsiteY189" fmla="*/ 63818 h 160020"/>
                <a:gd name="connsiteX190" fmla="*/ 203835 w 1547812"/>
                <a:gd name="connsiteY190" fmla="*/ 63818 h 160020"/>
                <a:gd name="connsiteX191" fmla="*/ 266700 w 1547812"/>
                <a:gd name="connsiteY191" fmla="*/ 108585 h 160020"/>
                <a:gd name="connsiteX192" fmla="*/ 239077 w 1547812"/>
                <a:gd name="connsiteY192" fmla="*/ 128588 h 160020"/>
                <a:gd name="connsiteX193" fmla="*/ 213360 w 1547812"/>
                <a:gd name="connsiteY193" fmla="*/ 118110 h 160020"/>
                <a:gd name="connsiteX194" fmla="*/ 203835 w 1547812"/>
                <a:gd name="connsiteY194" fmla="*/ 89535 h 160020"/>
                <a:gd name="connsiteX195" fmla="*/ 307658 w 1547812"/>
                <a:gd name="connsiteY195" fmla="*/ 89535 h 160020"/>
                <a:gd name="connsiteX196" fmla="*/ 307658 w 1547812"/>
                <a:gd name="connsiteY196" fmla="*/ 73343 h 160020"/>
                <a:gd name="connsiteX197" fmla="*/ 290513 w 1547812"/>
                <a:gd name="connsiteY197" fmla="*/ 20003 h 160020"/>
                <a:gd name="connsiteX198" fmla="*/ 239077 w 1547812"/>
                <a:gd name="connsiteY198" fmla="*/ 0 h 160020"/>
                <a:gd name="connsiteX199" fmla="*/ 208598 w 1547812"/>
                <a:gd name="connsiteY199" fmla="*/ 5715 h 160020"/>
                <a:gd name="connsiteX200" fmla="*/ 184785 w 1547812"/>
                <a:gd name="connsiteY200" fmla="*/ 20955 h 160020"/>
                <a:gd name="connsiteX201" fmla="*/ 169545 w 1547812"/>
                <a:gd name="connsiteY201" fmla="*/ 45720 h 160020"/>
                <a:gd name="connsiteX202" fmla="*/ 163830 w 1547812"/>
                <a:gd name="connsiteY202" fmla="*/ 79058 h 160020"/>
                <a:gd name="connsiteX203" fmla="*/ 182880 w 1547812"/>
                <a:gd name="connsiteY203" fmla="*/ 137160 h 160020"/>
                <a:gd name="connsiteX204" fmla="*/ 239077 w 1547812"/>
                <a:gd name="connsiteY204" fmla="*/ 158115 h 160020"/>
                <a:gd name="connsiteX205" fmla="*/ 285750 w 1547812"/>
                <a:gd name="connsiteY205" fmla="*/ 144780 h 160020"/>
                <a:gd name="connsiteX206" fmla="*/ 305753 w 1547812"/>
                <a:gd name="connsiteY206" fmla="*/ 106680 h 160020"/>
                <a:gd name="connsiteX207" fmla="*/ 266700 w 1547812"/>
                <a:gd name="connsiteY207" fmla="*/ 106680 h 160020"/>
                <a:gd name="connsiteX208" fmla="*/ 97155 w 1547812"/>
                <a:gd name="connsiteY208" fmla="*/ 96203 h 160020"/>
                <a:gd name="connsiteX209" fmla="*/ 93345 w 1547812"/>
                <a:gd name="connsiteY209" fmla="*/ 111443 h 160020"/>
                <a:gd name="connsiteX210" fmla="*/ 84773 w 1547812"/>
                <a:gd name="connsiteY210" fmla="*/ 121920 h 160020"/>
                <a:gd name="connsiteX211" fmla="*/ 60007 w 1547812"/>
                <a:gd name="connsiteY211" fmla="*/ 129540 h 160020"/>
                <a:gd name="connsiteX212" fmla="*/ 45720 w 1547812"/>
                <a:gd name="connsiteY212" fmla="*/ 124778 h 160020"/>
                <a:gd name="connsiteX213" fmla="*/ 40957 w 1547812"/>
                <a:gd name="connsiteY213" fmla="*/ 113348 h 160020"/>
                <a:gd name="connsiteX214" fmla="*/ 42863 w 1547812"/>
                <a:gd name="connsiteY214" fmla="*/ 104775 h 160020"/>
                <a:gd name="connsiteX215" fmla="*/ 48577 w 1547812"/>
                <a:gd name="connsiteY215" fmla="*/ 98108 h 160020"/>
                <a:gd name="connsiteX216" fmla="*/ 60007 w 1547812"/>
                <a:gd name="connsiteY216" fmla="*/ 93345 h 160020"/>
                <a:gd name="connsiteX217" fmla="*/ 80010 w 1547812"/>
                <a:gd name="connsiteY217" fmla="*/ 90488 h 160020"/>
                <a:gd name="connsiteX218" fmla="*/ 98107 w 1547812"/>
                <a:gd name="connsiteY218" fmla="*/ 89535 h 160020"/>
                <a:gd name="connsiteX219" fmla="*/ 98107 w 1547812"/>
                <a:gd name="connsiteY219" fmla="*/ 96203 h 160020"/>
                <a:gd name="connsiteX220" fmla="*/ 98107 w 1547812"/>
                <a:gd name="connsiteY220" fmla="*/ 155258 h 160020"/>
                <a:gd name="connsiteX221" fmla="*/ 136208 w 1547812"/>
                <a:gd name="connsiteY221" fmla="*/ 155258 h 160020"/>
                <a:gd name="connsiteX222" fmla="*/ 136208 w 1547812"/>
                <a:gd name="connsiteY222" fmla="*/ 60960 h 160020"/>
                <a:gd name="connsiteX223" fmla="*/ 133350 w 1547812"/>
                <a:gd name="connsiteY223" fmla="*/ 36195 h 160020"/>
                <a:gd name="connsiteX224" fmla="*/ 122873 w 1547812"/>
                <a:gd name="connsiteY224" fmla="*/ 17145 h 160020"/>
                <a:gd name="connsiteX225" fmla="*/ 103823 w 1547812"/>
                <a:gd name="connsiteY225" fmla="*/ 5715 h 160020"/>
                <a:gd name="connsiteX226" fmla="*/ 74295 w 1547812"/>
                <a:gd name="connsiteY226" fmla="*/ 1905 h 160020"/>
                <a:gd name="connsiteX227" fmla="*/ 29527 w 1547812"/>
                <a:gd name="connsiteY227" fmla="*/ 12383 h 160020"/>
                <a:gd name="connsiteX228" fmla="*/ 8573 w 1547812"/>
                <a:gd name="connsiteY228" fmla="*/ 46672 h 160020"/>
                <a:gd name="connsiteX229" fmla="*/ 44768 w 1547812"/>
                <a:gd name="connsiteY229" fmla="*/ 50483 h 160020"/>
                <a:gd name="connsiteX230" fmla="*/ 71438 w 1547812"/>
                <a:gd name="connsiteY230" fmla="*/ 32385 h 160020"/>
                <a:gd name="connsiteX231" fmla="*/ 89535 w 1547812"/>
                <a:gd name="connsiteY231" fmla="*/ 37147 h 160020"/>
                <a:gd name="connsiteX232" fmla="*/ 97155 w 1547812"/>
                <a:gd name="connsiteY232" fmla="*/ 56197 h 160020"/>
                <a:gd name="connsiteX233" fmla="*/ 97155 w 1547812"/>
                <a:gd name="connsiteY233" fmla="*/ 62865 h 160020"/>
                <a:gd name="connsiteX234" fmla="*/ 78105 w 1547812"/>
                <a:gd name="connsiteY234" fmla="*/ 63818 h 160020"/>
                <a:gd name="connsiteX235" fmla="*/ 49530 w 1547812"/>
                <a:gd name="connsiteY235" fmla="*/ 66675 h 160020"/>
                <a:gd name="connsiteX236" fmla="*/ 24765 w 1547812"/>
                <a:gd name="connsiteY236" fmla="*/ 74295 h 160020"/>
                <a:gd name="connsiteX237" fmla="*/ 6668 w 1547812"/>
                <a:gd name="connsiteY237" fmla="*/ 89535 h 160020"/>
                <a:gd name="connsiteX238" fmla="*/ 0 w 1547812"/>
                <a:gd name="connsiteY238" fmla="*/ 114300 h 160020"/>
                <a:gd name="connsiteX239" fmla="*/ 3810 w 1547812"/>
                <a:gd name="connsiteY239" fmla="*/ 134303 h 160020"/>
                <a:gd name="connsiteX240" fmla="*/ 14288 w 1547812"/>
                <a:gd name="connsiteY240" fmla="*/ 148590 h 160020"/>
                <a:gd name="connsiteX241" fmla="*/ 29527 w 1547812"/>
                <a:gd name="connsiteY241" fmla="*/ 156210 h 160020"/>
                <a:gd name="connsiteX242" fmla="*/ 48577 w 1547812"/>
                <a:gd name="connsiteY242" fmla="*/ 159068 h 160020"/>
                <a:gd name="connsiteX243" fmla="*/ 77152 w 1547812"/>
                <a:gd name="connsiteY243" fmla="*/ 152400 h 160020"/>
                <a:gd name="connsiteX244" fmla="*/ 97155 w 1547812"/>
                <a:gd name="connsiteY244" fmla="*/ 136208 h 160020"/>
                <a:gd name="connsiteX245" fmla="*/ 97155 w 1547812"/>
                <a:gd name="connsiteY245" fmla="*/ 155258 h 1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47812" h="160020">
                  <a:moveTo>
                    <a:pt x="1329690" y="155258"/>
                  </a:moveTo>
                  <a:lnTo>
                    <a:pt x="1369695" y="155258"/>
                  </a:lnTo>
                  <a:lnTo>
                    <a:pt x="1369695" y="65723"/>
                  </a:lnTo>
                  <a:cubicBezTo>
                    <a:pt x="1369695" y="60960"/>
                    <a:pt x="1370648" y="57150"/>
                    <a:pt x="1372553" y="53340"/>
                  </a:cubicBezTo>
                  <a:cubicBezTo>
                    <a:pt x="1374458" y="49530"/>
                    <a:pt x="1376363" y="46672"/>
                    <a:pt x="1379220" y="43815"/>
                  </a:cubicBezTo>
                  <a:cubicBezTo>
                    <a:pt x="1382078" y="40958"/>
                    <a:pt x="1385888" y="38100"/>
                    <a:pt x="1388745" y="37147"/>
                  </a:cubicBezTo>
                  <a:cubicBezTo>
                    <a:pt x="1392555" y="36195"/>
                    <a:pt x="1395413" y="35243"/>
                    <a:pt x="1400175" y="35243"/>
                  </a:cubicBezTo>
                  <a:cubicBezTo>
                    <a:pt x="1403033" y="35243"/>
                    <a:pt x="1404938" y="35243"/>
                    <a:pt x="1407795" y="36195"/>
                  </a:cubicBezTo>
                  <a:cubicBezTo>
                    <a:pt x="1409700" y="37147"/>
                    <a:pt x="1411605" y="38100"/>
                    <a:pt x="1413510" y="40005"/>
                  </a:cubicBezTo>
                  <a:cubicBezTo>
                    <a:pt x="1415415" y="41910"/>
                    <a:pt x="1416368" y="44768"/>
                    <a:pt x="1417320" y="47625"/>
                  </a:cubicBezTo>
                  <a:cubicBezTo>
                    <a:pt x="1418273" y="51435"/>
                    <a:pt x="1419225" y="55245"/>
                    <a:pt x="1419225" y="60960"/>
                  </a:cubicBezTo>
                  <a:lnTo>
                    <a:pt x="1419225" y="155258"/>
                  </a:lnTo>
                  <a:lnTo>
                    <a:pt x="1459230" y="155258"/>
                  </a:lnTo>
                  <a:lnTo>
                    <a:pt x="1459230" y="63818"/>
                  </a:lnTo>
                  <a:cubicBezTo>
                    <a:pt x="1459230" y="60008"/>
                    <a:pt x="1460183" y="56197"/>
                    <a:pt x="1462088" y="53340"/>
                  </a:cubicBezTo>
                  <a:cubicBezTo>
                    <a:pt x="1463993" y="49530"/>
                    <a:pt x="1465898" y="46672"/>
                    <a:pt x="1468755" y="43815"/>
                  </a:cubicBezTo>
                  <a:cubicBezTo>
                    <a:pt x="1471613" y="40958"/>
                    <a:pt x="1475423" y="38100"/>
                    <a:pt x="1478280" y="37147"/>
                  </a:cubicBezTo>
                  <a:cubicBezTo>
                    <a:pt x="1481138" y="36195"/>
                    <a:pt x="1484948" y="35243"/>
                    <a:pt x="1489710" y="35243"/>
                  </a:cubicBezTo>
                  <a:cubicBezTo>
                    <a:pt x="1492568" y="35243"/>
                    <a:pt x="1494473" y="35243"/>
                    <a:pt x="1497330" y="36195"/>
                  </a:cubicBezTo>
                  <a:cubicBezTo>
                    <a:pt x="1499235" y="37147"/>
                    <a:pt x="1501140" y="38100"/>
                    <a:pt x="1503045" y="40005"/>
                  </a:cubicBezTo>
                  <a:cubicBezTo>
                    <a:pt x="1504950" y="41910"/>
                    <a:pt x="1505903" y="44768"/>
                    <a:pt x="1506855" y="47625"/>
                  </a:cubicBezTo>
                  <a:cubicBezTo>
                    <a:pt x="1507808" y="51435"/>
                    <a:pt x="1507808" y="55245"/>
                    <a:pt x="1507808" y="60960"/>
                  </a:cubicBezTo>
                  <a:lnTo>
                    <a:pt x="1507808" y="155258"/>
                  </a:lnTo>
                  <a:lnTo>
                    <a:pt x="1547813" y="155258"/>
                  </a:lnTo>
                  <a:lnTo>
                    <a:pt x="1547813" y="55245"/>
                  </a:lnTo>
                  <a:cubicBezTo>
                    <a:pt x="1547813" y="36195"/>
                    <a:pt x="1544003" y="22860"/>
                    <a:pt x="1536383" y="14288"/>
                  </a:cubicBezTo>
                  <a:cubicBezTo>
                    <a:pt x="1528763" y="5715"/>
                    <a:pt x="1517333" y="1905"/>
                    <a:pt x="1502093" y="1905"/>
                  </a:cubicBezTo>
                  <a:cubicBezTo>
                    <a:pt x="1492568" y="1905"/>
                    <a:pt x="1484948" y="3810"/>
                    <a:pt x="1477328" y="7620"/>
                  </a:cubicBezTo>
                  <a:cubicBezTo>
                    <a:pt x="1469708" y="11430"/>
                    <a:pt x="1462088" y="18098"/>
                    <a:pt x="1455420" y="27623"/>
                  </a:cubicBezTo>
                  <a:cubicBezTo>
                    <a:pt x="1452563" y="19050"/>
                    <a:pt x="1447800" y="12383"/>
                    <a:pt x="1441133" y="8573"/>
                  </a:cubicBezTo>
                  <a:cubicBezTo>
                    <a:pt x="1434465" y="4763"/>
                    <a:pt x="1425893" y="1905"/>
                    <a:pt x="1414463" y="1905"/>
                  </a:cubicBezTo>
                  <a:cubicBezTo>
                    <a:pt x="1405890" y="1905"/>
                    <a:pt x="1398270" y="3810"/>
                    <a:pt x="1390650" y="7620"/>
                  </a:cubicBezTo>
                  <a:cubicBezTo>
                    <a:pt x="1383030" y="11430"/>
                    <a:pt x="1376363" y="18098"/>
                    <a:pt x="1371600" y="25718"/>
                  </a:cubicBezTo>
                  <a:lnTo>
                    <a:pt x="1371600" y="5715"/>
                  </a:lnTo>
                  <a:lnTo>
                    <a:pt x="1332548" y="5715"/>
                  </a:lnTo>
                  <a:lnTo>
                    <a:pt x="1332548" y="155258"/>
                  </a:lnTo>
                  <a:close/>
                  <a:moveTo>
                    <a:pt x="1199198" y="116205"/>
                  </a:moveTo>
                  <a:cubicBezTo>
                    <a:pt x="1193483" y="108585"/>
                    <a:pt x="1190625" y="96203"/>
                    <a:pt x="1190625" y="80963"/>
                  </a:cubicBezTo>
                  <a:cubicBezTo>
                    <a:pt x="1190625" y="65723"/>
                    <a:pt x="1193483" y="54293"/>
                    <a:pt x="1199198" y="45720"/>
                  </a:cubicBezTo>
                  <a:cubicBezTo>
                    <a:pt x="1204913" y="37147"/>
                    <a:pt x="1213485" y="33338"/>
                    <a:pt x="1224915" y="33338"/>
                  </a:cubicBezTo>
                  <a:cubicBezTo>
                    <a:pt x="1236345" y="33338"/>
                    <a:pt x="1244918" y="37147"/>
                    <a:pt x="1250633" y="45720"/>
                  </a:cubicBezTo>
                  <a:cubicBezTo>
                    <a:pt x="1256348" y="54293"/>
                    <a:pt x="1259205" y="65723"/>
                    <a:pt x="1259205" y="80963"/>
                  </a:cubicBezTo>
                  <a:cubicBezTo>
                    <a:pt x="1259205" y="96203"/>
                    <a:pt x="1256348" y="107633"/>
                    <a:pt x="1250633" y="116205"/>
                  </a:cubicBezTo>
                  <a:cubicBezTo>
                    <a:pt x="1244918" y="124778"/>
                    <a:pt x="1236345" y="128588"/>
                    <a:pt x="1224915" y="128588"/>
                  </a:cubicBezTo>
                  <a:cubicBezTo>
                    <a:pt x="1213485" y="127635"/>
                    <a:pt x="1204913" y="123825"/>
                    <a:pt x="1199198" y="116205"/>
                  </a:cubicBezTo>
                  <a:moveTo>
                    <a:pt x="1256348" y="154305"/>
                  </a:moveTo>
                  <a:cubicBezTo>
                    <a:pt x="1265873" y="150495"/>
                    <a:pt x="1273493" y="145733"/>
                    <a:pt x="1280160" y="138113"/>
                  </a:cubicBezTo>
                  <a:cubicBezTo>
                    <a:pt x="1286828" y="131445"/>
                    <a:pt x="1291590" y="122873"/>
                    <a:pt x="1295400" y="113348"/>
                  </a:cubicBezTo>
                  <a:cubicBezTo>
                    <a:pt x="1299210" y="103823"/>
                    <a:pt x="1301115" y="92393"/>
                    <a:pt x="1301115" y="80010"/>
                  </a:cubicBezTo>
                  <a:cubicBezTo>
                    <a:pt x="1301115" y="67628"/>
                    <a:pt x="1299210" y="57150"/>
                    <a:pt x="1296353" y="46672"/>
                  </a:cubicBezTo>
                  <a:cubicBezTo>
                    <a:pt x="1293495" y="36195"/>
                    <a:pt x="1287780" y="28575"/>
                    <a:pt x="1281113" y="21908"/>
                  </a:cubicBezTo>
                  <a:cubicBezTo>
                    <a:pt x="1274445" y="15240"/>
                    <a:pt x="1266825" y="9525"/>
                    <a:pt x="1257300" y="6668"/>
                  </a:cubicBezTo>
                  <a:cubicBezTo>
                    <a:pt x="1247775" y="2858"/>
                    <a:pt x="1237298" y="953"/>
                    <a:pt x="1225868" y="953"/>
                  </a:cubicBezTo>
                  <a:cubicBezTo>
                    <a:pt x="1214438" y="953"/>
                    <a:pt x="1203960" y="2858"/>
                    <a:pt x="1194435" y="6668"/>
                  </a:cubicBezTo>
                  <a:cubicBezTo>
                    <a:pt x="1184910" y="10478"/>
                    <a:pt x="1177290" y="15240"/>
                    <a:pt x="1170623" y="21908"/>
                  </a:cubicBezTo>
                  <a:cubicBezTo>
                    <a:pt x="1163955" y="28575"/>
                    <a:pt x="1159193" y="37147"/>
                    <a:pt x="1155383" y="46672"/>
                  </a:cubicBezTo>
                  <a:cubicBezTo>
                    <a:pt x="1151573" y="56197"/>
                    <a:pt x="1149668" y="67628"/>
                    <a:pt x="1149668" y="80010"/>
                  </a:cubicBezTo>
                  <a:cubicBezTo>
                    <a:pt x="1149668" y="105728"/>
                    <a:pt x="1156335" y="124778"/>
                    <a:pt x="1169670" y="139065"/>
                  </a:cubicBezTo>
                  <a:cubicBezTo>
                    <a:pt x="1183005" y="152400"/>
                    <a:pt x="1201103" y="160020"/>
                    <a:pt x="1225868" y="160020"/>
                  </a:cubicBezTo>
                  <a:cubicBezTo>
                    <a:pt x="1236345" y="160020"/>
                    <a:pt x="1246823" y="158115"/>
                    <a:pt x="1256348" y="154305"/>
                  </a:cubicBezTo>
                  <a:moveTo>
                    <a:pt x="1086803" y="100965"/>
                  </a:moveTo>
                  <a:cubicBezTo>
                    <a:pt x="1085850" y="109538"/>
                    <a:pt x="1083945" y="116205"/>
                    <a:pt x="1079183" y="120968"/>
                  </a:cubicBezTo>
                  <a:cubicBezTo>
                    <a:pt x="1074420" y="125730"/>
                    <a:pt x="1068705" y="127635"/>
                    <a:pt x="1061085" y="127635"/>
                  </a:cubicBezTo>
                  <a:cubicBezTo>
                    <a:pt x="1055370" y="127635"/>
                    <a:pt x="1049655" y="126683"/>
                    <a:pt x="1045845" y="123825"/>
                  </a:cubicBezTo>
                  <a:cubicBezTo>
                    <a:pt x="1042035" y="120968"/>
                    <a:pt x="1038225" y="118110"/>
                    <a:pt x="1036320" y="113348"/>
                  </a:cubicBezTo>
                  <a:cubicBezTo>
                    <a:pt x="1034415" y="108585"/>
                    <a:pt x="1032510" y="103823"/>
                    <a:pt x="1031558" y="98108"/>
                  </a:cubicBezTo>
                  <a:cubicBezTo>
                    <a:pt x="1030605" y="92393"/>
                    <a:pt x="1029653" y="86678"/>
                    <a:pt x="1029653" y="80010"/>
                  </a:cubicBezTo>
                  <a:cubicBezTo>
                    <a:pt x="1029653" y="74295"/>
                    <a:pt x="1030605" y="67628"/>
                    <a:pt x="1031558" y="62865"/>
                  </a:cubicBezTo>
                  <a:cubicBezTo>
                    <a:pt x="1032510" y="57150"/>
                    <a:pt x="1034415" y="52388"/>
                    <a:pt x="1036320" y="47625"/>
                  </a:cubicBezTo>
                  <a:cubicBezTo>
                    <a:pt x="1038225" y="42863"/>
                    <a:pt x="1042035" y="40005"/>
                    <a:pt x="1045845" y="37147"/>
                  </a:cubicBezTo>
                  <a:cubicBezTo>
                    <a:pt x="1049655" y="34290"/>
                    <a:pt x="1054418" y="33338"/>
                    <a:pt x="1061085" y="33338"/>
                  </a:cubicBezTo>
                  <a:cubicBezTo>
                    <a:pt x="1069658" y="33338"/>
                    <a:pt x="1075373" y="35243"/>
                    <a:pt x="1079183" y="40005"/>
                  </a:cubicBezTo>
                  <a:cubicBezTo>
                    <a:pt x="1082993" y="44768"/>
                    <a:pt x="1084898" y="50483"/>
                    <a:pt x="1085850" y="58103"/>
                  </a:cubicBezTo>
                  <a:lnTo>
                    <a:pt x="1125855" y="52388"/>
                  </a:lnTo>
                  <a:cubicBezTo>
                    <a:pt x="1124903" y="44768"/>
                    <a:pt x="1122998" y="38100"/>
                    <a:pt x="1120140" y="31433"/>
                  </a:cubicBezTo>
                  <a:cubicBezTo>
                    <a:pt x="1117283" y="24765"/>
                    <a:pt x="1113473" y="20003"/>
                    <a:pt x="1107758" y="15240"/>
                  </a:cubicBezTo>
                  <a:cubicBezTo>
                    <a:pt x="1102995" y="10478"/>
                    <a:pt x="1096328" y="6668"/>
                    <a:pt x="1088708" y="4763"/>
                  </a:cubicBezTo>
                  <a:cubicBezTo>
                    <a:pt x="1081088" y="1905"/>
                    <a:pt x="1072515" y="953"/>
                    <a:pt x="1062038" y="953"/>
                  </a:cubicBezTo>
                  <a:cubicBezTo>
                    <a:pt x="1050608" y="953"/>
                    <a:pt x="1040130" y="2858"/>
                    <a:pt x="1030605" y="6668"/>
                  </a:cubicBezTo>
                  <a:cubicBezTo>
                    <a:pt x="1021080" y="10478"/>
                    <a:pt x="1013460" y="16193"/>
                    <a:pt x="1007745" y="22860"/>
                  </a:cubicBezTo>
                  <a:cubicBezTo>
                    <a:pt x="1001078" y="29528"/>
                    <a:pt x="996315" y="38100"/>
                    <a:pt x="993458" y="47625"/>
                  </a:cubicBezTo>
                  <a:cubicBezTo>
                    <a:pt x="990600" y="57150"/>
                    <a:pt x="988695" y="68580"/>
                    <a:pt x="988695" y="80010"/>
                  </a:cubicBezTo>
                  <a:cubicBezTo>
                    <a:pt x="988695" y="91440"/>
                    <a:pt x="989647" y="102870"/>
                    <a:pt x="992505" y="112395"/>
                  </a:cubicBezTo>
                  <a:cubicBezTo>
                    <a:pt x="995363" y="121920"/>
                    <a:pt x="1000125" y="130493"/>
                    <a:pt x="1005840" y="137160"/>
                  </a:cubicBezTo>
                  <a:cubicBezTo>
                    <a:pt x="1011555" y="143828"/>
                    <a:pt x="1019175" y="149543"/>
                    <a:pt x="1028700" y="153353"/>
                  </a:cubicBezTo>
                  <a:cubicBezTo>
                    <a:pt x="1038225" y="157163"/>
                    <a:pt x="1048703" y="159068"/>
                    <a:pt x="1061085" y="159068"/>
                  </a:cubicBezTo>
                  <a:cubicBezTo>
                    <a:pt x="1082993" y="159068"/>
                    <a:pt x="1099185" y="153353"/>
                    <a:pt x="1109663" y="142875"/>
                  </a:cubicBezTo>
                  <a:cubicBezTo>
                    <a:pt x="1120140" y="132398"/>
                    <a:pt x="1126808" y="118110"/>
                    <a:pt x="1127760" y="100013"/>
                  </a:cubicBezTo>
                  <a:lnTo>
                    <a:pt x="1086803" y="100013"/>
                  </a:lnTo>
                  <a:close/>
                  <a:moveTo>
                    <a:pt x="921068" y="155258"/>
                  </a:moveTo>
                  <a:lnTo>
                    <a:pt x="962025" y="155258"/>
                  </a:lnTo>
                  <a:lnTo>
                    <a:pt x="962025" y="109538"/>
                  </a:lnTo>
                  <a:lnTo>
                    <a:pt x="921068" y="109538"/>
                  </a:lnTo>
                  <a:lnTo>
                    <a:pt x="921068" y="155258"/>
                  </a:lnTo>
                  <a:close/>
                  <a:moveTo>
                    <a:pt x="671513" y="155258"/>
                  </a:moveTo>
                  <a:lnTo>
                    <a:pt x="711518" y="155258"/>
                  </a:lnTo>
                  <a:lnTo>
                    <a:pt x="711518" y="65723"/>
                  </a:lnTo>
                  <a:cubicBezTo>
                    <a:pt x="711518" y="60960"/>
                    <a:pt x="712470" y="57150"/>
                    <a:pt x="714375" y="53340"/>
                  </a:cubicBezTo>
                  <a:cubicBezTo>
                    <a:pt x="716280" y="49530"/>
                    <a:pt x="718185" y="46672"/>
                    <a:pt x="721043" y="43815"/>
                  </a:cubicBezTo>
                  <a:cubicBezTo>
                    <a:pt x="723900" y="40958"/>
                    <a:pt x="727710" y="38100"/>
                    <a:pt x="730568" y="37147"/>
                  </a:cubicBezTo>
                  <a:cubicBezTo>
                    <a:pt x="734378" y="36195"/>
                    <a:pt x="737235" y="35243"/>
                    <a:pt x="741998" y="35243"/>
                  </a:cubicBezTo>
                  <a:cubicBezTo>
                    <a:pt x="744855" y="35243"/>
                    <a:pt x="746760" y="35243"/>
                    <a:pt x="749618" y="36195"/>
                  </a:cubicBezTo>
                  <a:cubicBezTo>
                    <a:pt x="751523" y="37147"/>
                    <a:pt x="753428" y="38100"/>
                    <a:pt x="755333" y="40005"/>
                  </a:cubicBezTo>
                  <a:cubicBezTo>
                    <a:pt x="757238" y="41910"/>
                    <a:pt x="758190" y="44768"/>
                    <a:pt x="759143" y="47625"/>
                  </a:cubicBezTo>
                  <a:cubicBezTo>
                    <a:pt x="760095" y="51435"/>
                    <a:pt x="761048" y="55245"/>
                    <a:pt x="761048" y="60960"/>
                  </a:cubicBezTo>
                  <a:lnTo>
                    <a:pt x="761048" y="155258"/>
                  </a:lnTo>
                  <a:lnTo>
                    <a:pt x="801053" y="155258"/>
                  </a:lnTo>
                  <a:lnTo>
                    <a:pt x="801053" y="63818"/>
                  </a:lnTo>
                  <a:cubicBezTo>
                    <a:pt x="801053" y="60008"/>
                    <a:pt x="802005" y="56197"/>
                    <a:pt x="803910" y="53340"/>
                  </a:cubicBezTo>
                  <a:cubicBezTo>
                    <a:pt x="805815" y="49530"/>
                    <a:pt x="807720" y="46672"/>
                    <a:pt x="810578" y="43815"/>
                  </a:cubicBezTo>
                  <a:cubicBezTo>
                    <a:pt x="813435" y="40958"/>
                    <a:pt x="817245" y="38100"/>
                    <a:pt x="820103" y="37147"/>
                  </a:cubicBezTo>
                  <a:cubicBezTo>
                    <a:pt x="822960" y="36195"/>
                    <a:pt x="826770" y="35243"/>
                    <a:pt x="831533" y="35243"/>
                  </a:cubicBezTo>
                  <a:cubicBezTo>
                    <a:pt x="834390" y="35243"/>
                    <a:pt x="836295" y="35243"/>
                    <a:pt x="839153" y="36195"/>
                  </a:cubicBezTo>
                  <a:cubicBezTo>
                    <a:pt x="841058" y="37147"/>
                    <a:pt x="842963" y="38100"/>
                    <a:pt x="844868" y="40005"/>
                  </a:cubicBezTo>
                  <a:cubicBezTo>
                    <a:pt x="846772" y="41910"/>
                    <a:pt x="847725" y="44768"/>
                    <a:pt x="848678" y="47625"/>
                  </a:cubicBezTo>
                  <a:cubicBezTo>
                    <a:pt x="849630" y="51435"/>
                    <a:pt x="849630" y="55245"/>
                    <a:pt x="849630" y="60960"/>
                  </a:cubicBezTo>
                  <a:lnTo>
                    <a:pt x="849630" y="155258"/>
                  </a:lnTo>
                  <a:lnTo>
                    <a:pt x="889635" y="155258"/>
                  </a:lnTo>
                  <a:lnTo>
                    <a:pt x="889635" y="55245"/>
                  </a:lnTo>
                  <a:cubicBezTo>
                    <a:pt x="889635" y="36195"/>
                    <a:pt x="885825" y="22860"/>
                    <a:pt x="878205" y="14288"/>
                  </a:cubicBezTo>
                  <a:cubicBezTo>
                    <a:pt x="870585" y="5715"/>
                    <a:pt x="859155" y="1905"/>
                    <a:pt x="843915" y="1905"/>
                  </a:cubicBezTo>
                  <a:cubicBezTo>
                    <a:pt x="834390" y="1905"/>
                    <a:pt x="826770" y="3810"/>
                    <a:pt x="819150" y="7620"/>
                  </a:cubicBezTo>
                  <a:cubicBezTo>
                    <a:pt x="811530" y="11430"/>
                    <a:pt x="803910" y="18098"/>
                    <a:pt x="797243" y="27623"/>
                  </a:cubicBezTo>
                  <a:cubicBezTo>
                    <a:pt x="794385" y="19050"/>
                    <a:pt x="789623" y="12383"/>
                    <a:pt x="782955" y="8573"/>
                  </a:cubicBezTo>
                  <a:cubicBezTo>
                    <a:pt x="776288" y="4763"/>
                    <a:pt x="766763" y="1905"/>
                    <a:pt x="756285" y="1905"/>
                  </a:cubicBezTo>
                  <a:cubicBezTo>
                    <a:pt x="747713" y="1905"/>
                    <a:pt x="740093" y="3810"/>
                    <a:pt x="732473" y="7620"/>
                  </a:cubicBezTo>
                  <a:cubicBezTo>
                    <a:pt x="724853" y="11430"/>
                    <a:pt x="718185" y="18098"/>
                    <a:pt x="713423" y="25718"/>
                  </a:cubicBezTo>
                  <a:lnTo>
                    <a:pt x="713423" y="5715"/>
                  </a:lnTo>
                  <a:lnTo>
                    <a:pt x="674370" y="5715"/>
                  </a:lnTo>
                  <a:lnTo>
                    <a:pt x="674370" y="155258"/>
                  </a:lnTo>
                  <a:close/>
                  <a:moveTo>
                    <a:pt x="541973" y="116205"/>
                  </a:moveTo>
                  <a:cubicBezTo>
                    <a:pt x="536258" y="108585"/>
                    <a:pt x="533400" y="96203"/>
                    <a:pt x="533400" y="80963"/>
                  </a:cubicBezTo>
                  <a:cubicBezTo>
                    <a:pt x="533400" y="65723"/>
                    <a:pt x="536258" y="54293"/>
                    <a:pt x="541973" y="45720"/>
                  </a:cubicBezTo>
                  <a:cubicBezTo>
                    <a:pt x="547688" y="38100"/>
                    <a:pt x="556260" y="33338"/>
                    <a:pt x="567690" y="33338"/>
                  </a:cubicBezTo>
                  <a:cubicBezTo>
                    <a:pt x="579120" y="33338"/>
                    <a:pt x="587693" y="37147"/>
                    <a:pt x="593408" y="45720"/>
                  </a:cubicBezTo>
                  <a:cubicBezTo>
                    <a:pt x="599123" y="53340"/>
                    <a:pt x="601980" y="65723"/>
                    <a:pt x="601980" y="80963"/>
                  </a:cubicBezTo>
                  <a:cubicBezTo>
                    <a:pt x="601980" y="96203"/>
                    <a:pt x="599123" y="107633"/>
                    <a:pt x="593408" y="116205"/>
                  </a:cubicBezTo>
                  <a:cubicBezTo>
                    <a:pt x="587693" y="124778"/>
                    <a:pt x="579120" y="128588"/>
                    <a:pt x="567690" y="128588"/>
                  </a:cubicBezTo>
                  <a:cubicBezTo>
                    <a:pt x="555308" y="127635"/>
                    <a:pt x="546735" y="123825"/>
                    <a:pt x="541973" y="116205"/>
                  </a:cubicBezTo>
                  <a:moveTo>
                    <a:pt x="598170" y="154305"/>
                  </a:moveTo>
                  <a:cubicBezTo>
                    <a:pt x="607695" y="150495"/>
                    <a:pt x="615315" y="145733"/>
                    <a:pt x="621983" y="138113"/>
                  </a:cubicBezTo>
                  <a:cubicBezTo>
                    <a:pt x="628650" y="131445"/>
                    <a:pt x="633413" y="122873"/>
                    <a:pt x="637223" y="113348"/>
                  </a:cubicBezTo>
                  <a:cubicBezTo>
                    <a:pt x="641033" y="103823"/>
                    <a:pt x="642938" y="92393"/>
                    <a:pt x="642938" y="80010"/>
                  </a:cubicBezTo>
                  <a:cubicBezTo>
                    <a:pt x="642938" y="67628"/>
                    <a:pt x="641033" y="57150"/>
                    <a:pt x="638175" y="46672"/>
                  </a:cubicBezTo>
                  <a:cubicBezTo>
                    <a:pt x="635318" y="36195"/>
                    <a:pt x="629603" y="28575"/>
                    <a:pt x="622935" y="21908"/>
                  </a:cubicBezTo>
                  <a:cubicBezTo>
                    <a:pt x="616268" y="15240"/>
                    <a:pt x="608648" y="9525"/>
                    <a:pt x="599123" y="6668"/>
                  </a:cubicBezTo>
                  <a:cubicBezTo>
                    <a:pt x="589598" y="2858"/>
                    <a:pt x="579120" y="953"/>
                    <a:pt x="567690" y="953"/>
                  </a:cubicBezTo>
                  <a:cubicBezTo>
                    <a:pt x="556260" y="953"/>
                    <a:pt x="545783" y="2858"/>
                    <a:pt x="536258" y="6668"/>
                  </a:cubicBezTo>
                  <a:cubicBezTo>
                    <a:pt x="526733" y="10478"/>
                    <a:pt x="519113" y="15240"/>
                    <a:pt x="512445" y="21908"/>
                  </a:cubicBezTo>
                  <a:cubicBezTo>
                    <a:pt x="505778" y="28575"/>
                    <a:pt x="501015" y="37147"/>
                    <a:pt x="497205" y="46672"/>
                  </a:cubicBezTo>
                  <a:cubicBezTo>
                    <a:pt x="493395" y="56197"/>
                    <a:pt x="491490" y="67628"/>
                    <a:pt x="491490" y="80010"/>
                  </a:cubicBezTo>
                  <a:cubicBezTo>
                    <a:pt x="491490" y="105728"/>
                    <a:pt x="498158" y="124778"/>
                    <a:pt x="511492" y="139065"/>
                  </a:cubicBezTo>
                  <a:cubicBezTo>
                    <a:pt x="524828" y="152400"/>
                    <a:pt x="542925" y="160020"/>
                    <a:pt x="566738" y="160020"/>
                  </a:cubicBezTo>
                  <a:cubicBezTo>
                    <a:pt x="579120" y="160020"/>
                    <a:pt x="589598" y="158115"/>
                    <a:pt x="598170" y="154305"/>
                  </a:cubicBezTo>
                  <a:moveTo>
                    <a:pt x="429578" y="100965"/>
                  </a:moveTo>
                  <a:cubicBezTo>
                    <a:pt x="428625" y="109538"/>
                    <a:pt x="425767" y="116205"/>
                    <a:pt x="421958" y="120968"/>
                  </a:cubicBezTo>
                  <a:cubicBezTo>
                    <a:pt x="417195" y="125730"/>
                    <a:pt x="411480" y="127635"/>
                    <a:pt x="403860" y="127635"/>
                  </a:cubicBezTo>
                  <a:cubicBezTo>
                    <a:pt x="398145" y="127635"/>
                    <a:pt x="392430" y="126683"/>
                    <a:pt x="388620" y="123825"/>
                  </a:cubicBezTo>
                  <a:cubicBezTo>
                    <a:pt x="384810" y="120968"/>
                    <a:pt x="381000" y="118110"/>
                    <a:pt x="379095" y="113348"/>
                  </a:cubicBezTo>
                  <a:cubicBezTo>
                    <a:pt x="377190" y="108585"/>
                    <a:pt x="375285" y="103823"/>
                    <a:pt x="374333" y="98108"/>
                  </a:cubicBezTo>
                  <a:cubicBezTo>
                    <a:pt x="373380" y="92393"/>
                    <a:pt x="372428" y="86678"/>
                    <a:pt x="372428" y="80010"/>
                  </a:cubicBezTo>
                  <a:cubicBezTo>
                    <a:pt x="372428" y="74295"/>
                    <a:pt x="373380" y="67628"/>
                    <a:pt x="374333" y="62865"/>
                  </a:cubicBezTo>
                  <a:cubicBezTo>
                    <a:pt x="375285" y="57150"/>
                    <a:pt x="377190" y="52388"/>
                    <a:pt x="379095" y="47625"/>
                  </a:cubicBezTo>
                  <a:cubicBezTo>
                    <a:pt x="381000" y="42863"/>
                    <a:pt x="384810" y="40005"/>
                    <a:pt x="388620" y="37147"/>
                  </a:cubicBezTo>
                  <a:cubicBezTo>
                    <a:pt x="392430" y="34290"/>
                    <a:pt x="398145" y="33338"/>
                    <a:pt x="403860" y="33338"/>
                  </a:cubicBezTo>
                  <a:cubicBezTo>
                    <a:pt x="412433" y="33338"/>
                    <a:pt x="418148" y="35243"/>
                    <a:pt x="421958" y="40005"/>
                  </a:cubicBezTo>
                  <a:cubicBezTo>
                    <a:pt x="425767" y="44768"/>
                    <a:pt x="427673" y="50483"/>
                    <a:pt x="428625" y="58103"/>
                  </a:cubicBezTo>
                  <a:lnTo>
                    <a:pt x="468630" y="52388"/>
                  </a:lnTo>
                  <a:cubicBezTo>
                    <a:pt x="467678" y="44768"/>
                    <a:pt x="465773" y="38100"/>
                    <a:pt x="462915" y="31433"/>
                  </a:cubicBezTo>
                  <a:cubicBezTo>
                    <a:pt x="460058" y="24765"/>
                    <a:pt x="456248" y="20003"/>
                    <a:pt x="450533" y="15240"/>
                  </a:cubicBezTo>
                  <a:cubicBezTo>
                    <a:pt x="445770" y="10478"/>
                    <a:pt x="439103" y="6668"/>
                    <a:pt x="431483" y="4763"/>
                  </a:cubicBezTo>
                  <a:cubicBezTo>
                    <a:pt x="423863" y="1905"/>
                    <a:pt x="415290" y="953"/>
                    <a:pt x="404813" y="953"/>
                  </a:cubicBezTo>
                  <a:cubicBezTo>
                    <a:pt x="393383" y="953"/>
                    <a:pt x="382905" y="2858"/>
                    <a:pt x="373380" y="6668"/>
                  </a:cubicBezTo>
                  <a:cubicBezTo>
                    <a:pt x="363855" y="10478"/>
                    <a:pt x="356235" y="16193"/>
                    <a:pt x="350520" y="22860"/>
                  </a:cubicBezTo>
                  <a:cubicBezTo>
                    <a:pt x="343853" y="29528"/>
                    <a:pt x="339090" y="38100"/>
                    <a:pt x="336233" y="47625"/>
                  </a:cubicBezTo>
                  <a:cubicBezTo>
                    <a:pt x="333375" y="57150"/>
                    <a:pt x="331470" y="68580"/>
                    <a:pt x="331470" y="80010"/>
                  </a:cubicBezTo>
                  <a:cubicBezTo>
                    <a:pt x="331470" y="91440"/>
                    <a:pt x="333375" y="102870"/>
                    <a:pt x="336233" y="112395"/>
                  </a:cubicBezTo>
                  <a:cubicBezTo>
                    <a:pt x="339090" y="121920"/>
                    <a:pt x="343853" y="130493"/>
                    <a:pt x="349567" y="137160"/>
                  </a:cubicBezTo>
                  <a:cubicBezTo>
                    <a:pt x="355283" y="143828"/>
                    <a:pt x="362903" y="149543"/>
                    <a:pt x="372428" y="153353"/>
                  </a:cubicBezTo>
                  <a:cubicBezTo>
                    <a:pt x="381953" y="157163"/>
                    <a:pt x="392430" y="159068"/>
                    <a:pt x="404813" y="159068"/>
                  </a:cubicBezTo>
                  <a:cubicBezTo>
                    <a:pt x="426720" y="159068"/>
                    <a:pt x="442913" y="153353"/>
                    <a:pt x="453390" y="142875"/>
                  </a:cubicBezTo>
                  <a:cubicBezTo>
                    <a:pt x="463867" y="132398"/>
                    <a:pt x="470535" y="118110"/>
                    <a:pt x="471488" y="100013"/>
                  </a:cubicBezTo>
                  <a:lnTo>
                    <a:pt x="429578" y="100013"/>
                  </a:lnTo>
                  <a:close/>
                  <a:moveTo>
                    <a:pt x="203835" y="63818"/>
                  </a:moveTo>
                  <a:cubicBezTo>
                    <a:pt x="203835" y="59055"/>
                    <a:pt x="204788" y="55245"/>
                    <a:pt x="206692" y="51435"/>
                  </a:cubicBezTo>
                  <a:cubicBezTo>
                    <a:pt x="208598" y="47625"/>
                    <a:pt x="210502" y="43815"/>
                    <a:pt x="213360" y="40958"/>
                  </a:cubicBezTo>
                  <a:cubicBezTo>
                    <a:pt x="216217" y="38100"/>
                    <a:pt x="219075" y="35243"/>
                    <a:pt x="223838" y="34290"/>
                  </a:cubicBezTo>
                  <a:cubicBezTo>
                    <a:pt x="227648" y="32385"/>
                    <a:pt x="232410" y="31433"/>
                    <a:pt x="238125" y="31433"/>
                  </a:cubicBezTo>
                  <a:cubicBezTo>
                    <a:pt x="248602" y="31433"/>
                    <a:pt x="256223" y="34290"/>
                    <a:pt x="261938" y="40005"/>
                  </a:cubicBezTo>
                  <a:cubicBezTo>
                    <a:pt x="266700" y="45720"/>
                    <a:pt x="269558" y="53340"/>
                    <a:pt x="269558" y="63818"/>
                  </a:cubicBezTo>
                  <a:lnTo>
                    <a:pt x="203835" y="63818"/>
                  </a:lnTo>
                  <a:close/>
                  <a:moveTo>
                    <a:pt x="266700" y="108585"/>
                  </a:moveTo>
                  <a:cubicBezTo>
                    <a:pt x="263842" y="121920"/>
                    <a:pt x="254317" y="128588"/>
                    <a:pt x="239077" y="128588"/>
                  </a:cubicBezTo>
                  <a:cubicBezTo>
                    <a:pt x="227648" y="128588"/>
                    <a:pt x="219075" y="124778"/>
                    <a:pt x="213360" y="118110"/>
                  </a:cubicBezTo>
                  <a:cubicBezTo>
                    <a:pt x="207645" y="111443"/>
                    <a:pt x="204788" y="101918"/>
                    <a:pt x="203835" y="89535"/>
                  </a:cubicBezTo>
                  <a:lnTo>
                    <a:pt x="307658" y="89535"/>
                  </a:lnTo>
                  <a:lnTo>
                    <a:pt x="307658" y="73343"/>
                  </a:lnTo>
                  <a:cubicBezTo>
                    <a:pt x="307658" y="51435"/>
                    <a:pt x="301942" y="33338"/>
                    <a:pt x="290513" y="20003"/>
                  </a:cubicBezTo>
                  <a:cubicBezTo>
                    <a:pt x="279083" y="6668"/>
                    <a:pt x="261938" y="0"/>
                    <a:pt x="239077" y="0"/>
                  </a:cubicBezTo>
                  <a:cubicBezTo>
                    <a:pt x="227648" y="0"/>
                    <a:pt x="218123" y="1905"/>
                    <a:pt x="208598" y="5715"/>
                  </a:cubicBezTo>
                  <a:cubicBezTo>
                    <a:pt x="199073" y="9525"/>
                    <a:pt x="191452" y="14288"/>
                    <a:pt x="184785" y="20955"/>
                  </a:cubicBezTo>
                  <a:cubicBezTo>
                    <a:pt x="178118" y="27623"/>
                    <a:pt x="173355" y="36195"/>
                    <a:pt x="169545" y="45720"/>
                  </a:cubicBezTo>
                  <a:cubicBezTo>
                    <a:pt x="165735" y="55245"/>
                    <a:pt x="163830" y="66675"/>
                    <a:pt x="163830" y="79058"/>
                  </a:cubicBezTo>
                  <a:cubicBezTo>
                    <a:pt x="163830" y="103823"/>
                    <a:pt x="170498" y="123825"/>
                    <a:pt x="182880" y="137160"/>
                  </a:cubicBezTo>
                  <a:cubicBezTo>
                    <a:pt x="195263" y="150495"/>
                    <a:pt x="214313" y="158115"/>
                    <a:pt x="239077" y="158115"/>
                  </a:cubicBezTo>
                  <a:cubicBezTo>
                    <a:pt x="260033" y="158115"/>
                    <a:pt x="275273" y="153353"/>
                    <a:pt x="285750" y="144780"/>
                  </a:cubicBezTo>
                  <a:cubicBezTo>
                    <a:pt x="296228" y="136208"/>
                    <a:pt x="302895" y="123825"/>
                    <a:pt x="305753" y="106680"/>
                  </a:cubicBezTo>
                  <a:lnTo>
                    <a:pt x="266700" y="106680"/>
                  </a:lnTo>
                  <a:close/>
                  <a:moveTo>
                    <a:pt x="97155" y="96203"/>
                  </a:moveTo>
                  <a:cubicBezTo>
                    <a:pt x="97155" y="101918"/>
                    <a:pt x="96202" y="107633"/>
                    <a:pt x="93345" y="111443"/>
                  </a:cubicBezTo>
                  <a:cubicBezTo>
                    <a:pt x="91440" y="115253"/>
                    <a:pt x="88582" y="119063"/>
                    <a:pt x="84773" y="121920"/>
                  </a:cubicBezTo>
                  <a:cubicBezTo>
                    <a:pt x="78105" y="126683"/>
                    <a:pt x="69532" y="129540"/>
                    <a:pt x="60007" y="129540"/>
                  </a:cubicBezTo>
                  <a:cubicBezTo>
                    <a:pt x="54293" y="129540"/>
                    <a:pt x="49530" y="127635"/>
                    <a:pt x="45720" y="124778"/>
                  </a:cubicBezTo>
                  <a:cubicBezTo>
                    <a:pt x="41910" y="121920"/>
                    <a:pt x="40957" y="118110"/>
                    <a:pt x="40957" y="113348"/>
                  </a:cubicBezTo>
                  <a:cubicBezTo>
                    <a:pt x="40957" y="110490"/>
                    <a:pt x="40957" y="106680"/>
                    <a:pt x="42863" y="104775"/>
                  </a:cubicBezTo>
                  <a:cubicBezTo>
                    <a:pt x="43815" y="101918"/>
                    <a:pt x="45720" y="100013"/>
                    <a:pt x="48577" y="98108"/>
                  </a:cubicBezTo>
                  <a:cubicBezTo>
                    <a:pt x="51435" y="96203"/>
                    <a:pt x="55245" y="94298"/>
                    <a:pt x="60007" y="93345"/>
                  </a:cubicBezTo>
                  <a:cubicBezTo>
                    <a:pt x="64770" y="92393"/>
                    <a:pt x="72390" y="91440"/>
                    <a:pt x="80010" y="90488"/>
                  </a:cubicBezTo>
                  <a:lnTo>
                    <a:pt x="98107" y="89535"/>
                  </a:lnTo>
                  <a:lnTo>
                    <a:pt x="98107" y="96203"/>
                  </a:lnTo>
                  <a:close/>
                  <a:moveTo>
                    <a:pt x="98107" y="155258"/>
                  </a:moveTo>
                  <a:lnTo>
                    <a:pt x="136208" y="155258"/>
                  </a:lnTo>
                  <a:lnTo>
                    <a:pt x="136208" y="60960"/>
                  </a:lnTo>
                  <a:cubicBezTo>
                    <a:pt x="136208" y="51435"/>
                    <a:pt x="135255" y="43815"/>
                    <a:pt x="133350" y="36195"/>
                  </a:cubicBezTo>
                  <a:cubicBezTo>
                    <a:pt x="131445" y="28575"/>
                    <a:pt x="127635" y="22860"/>
                    <a:pt x="122873" y="17145"/>
                  </a:cubicBezTo>
                  <a:cubicBezTo>
                    <a:pt x="118110" y="12383"/>
                    <a:pt x="111443" y="7620"/>
                    <a:pt x="103823" y="5715"/>
                  </a:cubicBezTo>
                  <a:cubicBezTo>
                    <a:pt x="96202" y="3810"/>
                    <a:pt x="85725" y="1905"/>
                    <a:pt x="74295" y="1905"/>
                  </a:cubicBezTo>
                  <a:cubicBezTo>
                    <a:pt x="55245" y="1905"/>
                    <a:pt x="40957" y="5715"/>
                    <a:pt x="29527" y="12383"/>
                  </a:cubicBezTo>
                  <a:cubicBezTo>
                    <a:pt x="18098" y="19050"/>
                    <a:pt x="11430" y="30480"/>
                    <a:pt x="8573" y="46672"/>
                  </a:cubicBezTo>
                  <a:lnTo>
                    <a:pt x="44768" y="50483"/>
                  </a:lnTo>
                  <a:cubicBezTo>
                    <a:pt x="46673" y="38100"/>
                    <a:pt x="56198" y="32385"/>
                    <a:pt x="71438" y="32385"/>
                  </a:cubicBezTo>
                  <a:cubicBezTo>
                    <a:pt x="78105" y="32385"/>
                    <a:pt x="83820" y="34290"/>
                    <a:pt x="89535" y="37147"/>
                  </a:cubicBezTo>
                  <a:cubicBezTo>
                    <a:pt x="94298" y="40958"/>
                    <a:pt x="97155" y="46672"/>
                    <a:pt x="97155" y="56197"/>
                  </a:cubicBezTo>
                  <a:lnTo>
                    <a:pt x="97155" y="62865"/>
                  </a:lnTo>
                  <a:lnTo>
                    <a:pt x="78105" y="63818"/>
                  </a:lnTo>
                  <a:cubicBezTo>
                    <a:pt x="68580" y="63818"/>
                    <a:pt x="59055" y="64770"/>
                    <a:pt x="49530" y="66675"/>
                  </a:cubicBezTo>
                  <a:cubicBezTo>
                    <a:pt x="40005" y="68580"/>
                    <a:pt x="32385" y="70485"/>
                    <a:pt x="24765" y="74295"/>
                  </a:cubicBezTo>
                  <a:cubicBezTo>
                    <a:pt x="17145" y="78105"/>
                    <a:pt x="11430" y="82868"/>
                    <a:pt x="6668" y="89535"/>
                  </a:cubicBezTo>
                  <a:cubicBezTo>
                    <a:pt x="1905" y="96203"/>
                    <a:pt x="0" y="104775"/>
                    <a:pt x="0" y="114300"/>
                  </a:cubicBezTo>
                  <a:cubicBezTo>
                    <a:pt x="0" y="121920"/>
                    <a:pt x="952" y="128588"/>
                    <a:pt x="3810" y="134303"/>
                  </a:cubicBezTo>
                  <a:cubicBezTo>
                    <a:pt x="6668" y="140018"/>
                    <a:pt x="10477" y="144780"/>
                    <a:pt x="14288" y="148590"/>
                  </a:cubicBezTo>
                  <a:cubicBezTo>
                    <a:pt x="19050" y="152400"/>
                    <a:pt x="23813" y="155258"/>
                    <a:pt x="29527" y="156210"/>
                  </a:cubicBezTo>
                  <a:cubicBezTo>
                    <a:pt x="35243" y="157163"/>
                    <a:pt x="41910" y="159068"/>
                    <a:pt x="48577" y="159068"/>
                  </a:cubicBezTo>
                  <a:cubicBezTo>
                    <a:pt x="60007" y="159068"/>
                    <a:pt x="69532" y="157163"/>
                    <a:pt x="77152" y="152400"/>
                  </a:cubicBezTo>
                  <a:cubicBezTo>
                    <a:pt x="84773" y="147638"/>
                    <a:pt x="91440" y="142875"/>
                    <a:pt x="97155" y="136208"/>
                  </a:cubicBezTo>
                  <a:lnTo>
                    <a:pt x="97155" y="155258"/>
                  </a:lnTo>
                  <a:close/>
                </a:path>
              </a:pathLst>
            </a:custGeom>
            <a:solidFill>
              <a:schemeClr val="tx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2067561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1 Standard (2x1)">
    <p:bg>
      <p:bgPr>
        <a:solidFill>
          <a:schemeClr val="bg1"/>
        </a:solidFill>
        <a:effectLst/>
      </p:bgPr>
    </p:bg>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78595847-1813-6B47-B848-F94A612FF956}"/>
              </a:ext>
            </a:extLst>
          </p:cNvPr>
          <p:cNvSpPr>
            <a:spLocks noGrp="1"/>
          </p:cNvSpPr>
          <p:nvPr>
            <p:ph sz="quarter" idx="24"/>
          </p:nvPr>
        </p:nvSpPr>
        <p:spPr>
          <a:xfrm>
            <a:off x="263525" y="1449388"/>
            <a:ext cx="5653088" cy="4782077"/>
          </a:xfrm>
        </p:spPr>
        <p:txBody>
          <a:bodyPr/>
          <a:lstStyle>
            <a:lvl1pPr marL="269875" indent="-269875">
              <a:buFont typeface="System Font"/>
              <a:buChar char="–"/>
              <a:tabLst/>
              <a:defRPr sz="2100" b="0" i="0">
                <a:latin typeface="Arial" panose="020B0604020202020204" pitchFamily="34" charset="0"/>
                <a:cs typeface="Arial" panose="020B0604020202020204" pitchFamily="34" charset="0"/>
              </a:defRPr>
            </a:lvl1pPr>
            <a:lvl2pPr>
              <a:defRPr sz="1600" b="0" i="0"/>
            </a:lvl2pPr>
            <a:lvl3pPr>
              <a:defRPr sz="1600" b="0" i="0"/>
            </a:lvl3pPr>
            <a:lvl4pPr>
              <a:defRPr sz="1600" b="0" i="0"/>
            </a:lvl4pPr>
            <a:lvl5pPr>
              <a:defRPr sz="16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2">
            <a:extLst>
              <a:ext uri="{FF2B5EF4-FFF2-40B4-BE49-F238E27FC236}">
                <a16:creationId xmlns:a16="http://schemas.microsoft.com/office/drawing/2014/main" id="{2FE643A9-AB22-43A3-AF55-EB96B2966A4F}"/>
              </a:ext>
            </a:extLst>
          </p:cNvPr>
          <p:cNvSpPr>
            <a:spLocks noGrp="1"/>
          </p:cNvSpPr>
          <p:nvPr>
            <p:ph sz="quarter" idx="25"/>
          </p:nvPr>
        </p:nvSpPr>
        <p:spPr>
          <a:xfrm>
            <a:off x="6254750" y="1468968"/>
            <a:ext cx="5673725" cy="4768319"/>
          </a:xfrm>
        </p:spPr>
        <p:txBody>
          <a:bodyPr/>
          <a:lstStyle>
            <a:lvl1pPr marL="269875" indent="-269875">
              <a:buFont typeface="System Font"/>
              <a:buChar char="–"/>
              <a:tabLst/>
              <a:defRPr sz="2100" b="0" i="0">
                <a:solidFill>
                  <a:schemeClr val="tx1"/>
                </a:solidFill>
                <a:latin typeface="Arial" panose="020B0604020202020204" pitchFamily="34" charset="0"/>
                <a:cs typeface="Arial" panose="020B0604020202020204" pitchFamily="34" charset="0"/>
              </a:defRPr>
            </a:lvl1pPr>
            <a:lvl2pPr>
              <a:defRPr sz="1600" b="0" i="0">
                <a:solidFill>
                  <a:schemeClr val="tx1"/>
                </a:solidFill>
              </a:defRPr>
            </a:lvl2pPr>
            <a:lvl3pPr>
              <a:defRPr sz="1600" b="0" i="0">
                <a:solidFill>
                  <a:schemeClr val="tx1"/>
                </a:solidFill>
              </a:defRPr>
            </a:lvl3pPr>
            <a:lvl4pPr>
              <a:defRPr sz="1600" b="0" i="0">
                <a:solidFill>
                  <a:schemeClr val="tx1"/>
                </a:solidFill>
              </a:defRPr>
            </a:lvl4pPr>
            <a:lvl5pPr>
              <a:defRPr sz="1600" b="0" i="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1" name="Straight Connector 10">
            <a:extLst>
              <a:ext uri="{FF2B5EF4-FFF2-40B4-BE49-F238E27FC236}">
                <a16:creationId xmlns:a16="http://schemas.microsoft.com/office/drawing/2014/main" id="{38DB0975-F48A-CA4B-900B-DC5CC3E60FA0}"/>
              </a:ext>
            </a:extLst>
          </p:cNvPr>
          <p:cNvCxnSpPr>
            <a:cxnSpLocks/>
          </p:cNvCxnSpPr>
          <p:nvPr userDrawn="1"/>
        </p:nvCxnSpPr>
        <p:spPr>
          <a:xfrm>
            <a:off x="263525" y="260350"/>
            <a:ext cx="432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3C65E603-0712-B446-A4A9-4C5136DD0931}"/>
              </a:ext>
            </a:extLst>
          </p:cNvPr>
          <p:cNvSpPr>
            <a:spLocks noGrp="1"/>
          </p:cNvSpPr>
          <p:nvPr>
            <p:ph type="title"/>
          </p:nvPr>
        </p:nvSpPr>
        <p:spPr>
          <a:xfrm>
            <a:off x="263525" y="442800"/>
            <a:ext cx="11661776" cy="627308"/>
          </a:xfrm>
          <a:prstGeom prst="rect">
            <a:avLst/>
          </a:prstGeom>
        </p:spPr>
        <p:txBody>
          <a:bodyPr lIns="0" tIns="0" rIns="0" bIns="0"/>
          <a:lstStyle>
            <a:lvl1pPr>
              <a:defRPr lang="en-US" sz="2500" b="1" i="0" kern="1200" dirty="0">
                <a:solidFill>
                  <a:schemeClr val="tx1"/>
                </a:solidFill>
                <a:latin typeface="Arial" panose="020B0604020202020204" pitchFamily="34" charset="0"/>
                <a:ea typeface="AECOM Sans Light" panose="020B0404020202020204" pitchFamily="34" charset="0"/>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itle style</a:t>
            </a:r>
          </a:p>
        </p:txBody>
      </p:sp>
      <p:grpSp>
        <p:nvGrpSpPr>
          <p:cNvPr id="12" name="Group 11">
            <a:extLst>
              <a:ext uri="{FF2B5EF4-FFF2-40B4-BE49-F238E27FC236}">
                <a16:creationId xmlns:a16="http://schemas.microsoft.com/office/drawing/2014/main" id="{CE2DB8F1-204E-0D40-9798-CD0D92292129}"/>
              </a:ext>
            </a:extLst>
          </p:cNvPr>
          <p:cNvGrpSpPr/>
          <p:nvPr userDrawn="1"/>
        </p:nvGrpSpPr>
        <p:grpSpPr>
          <a:xfrm>
            <a:off x="10814051" y="6438651"/>
            <a:ext cx="1111250" cy="225425"/>
            <a:chOff x="292100" y="6413250"/>
            <a:chExt cx="1111250" cy="225425"/>
          </a:xfrm>
        </p:grpSpPr>
        <p:sp>
          <p:nvSpPr>
            <p:cNvPr id="13" name="Freeform: Shape 12">
              <a:extLst>
                <a:ext uri="{FF2B5EF4-FFF2-40B4-BE49-F238E27FC236}">
                  <a16:creationId xmlns:a16="http://schemas.microsoft.com/office/drawing/2014/main" id="{10E979A7-0282-5C45-BE81-4AC1FA612B09}"/>
                </a:ext>
              </a:extLst>
            </p:cNvPr>
            <p:cNvSpPr/>
            <p:nvPr userDrawn="1"/>
          </p:nvSpPr>
          <p:spPr>
            <a:xfrm>
              <a:off x="292100" y="6413250"/>
              <a:ext cx="225425" cy="225425"/>
            </a:xfrm>
            <a:custGeom>
              <a:avLst/>
              <a:gdLst>
                <a:gd name="connsiteX0" fmla="*/ 329565 w 342900"/>
                <a:gd name="connsiteY0" fmla="*/ 104775 h 342900"/>
                <a:gd name="connsiteX1" fmla="*/ 292418 w 342900"/>
                <a:gd name="connsiteY1" fmla="*/ 50483 h 342900"/>
                <a:gd name="connsiteX2" fmla="*/ 238125 w 342900"/>
                <a:gd name="connsiteY2" fmla="*/ 13335 h 342900"/>
                <a:gd name="connsiteX3" fmla="*/ 171450 w 342900"/>
                <a:gd name="connsiteY3" fmla="*/ 0 h 342900"/>
                <a:gd name="connsiteX4" fmla="*/ 104775 w 342900"/>
                <a:gd name="connsiteY4" fmla="*/ 13335 h 342900"/>
                <a:gd name="connsiteX5" fmla="*/ 50483 w 342900"/>
                <a:gd name="connsiteY5" fmla="*/ 50483 h 342900"/>
                <a:gd name="connsiteX6" fmla="*/ 13335 w 342900"/>
                <a:gd name="connsiteY6" fmla="*/ 104775 h 342900"/>
                <a:gd name="connsiteX7" fmla="*/ 0 w 342900"/>
                <a:gd name="connsiteY7" fmla="*/ 171450 h 342900"/>
                <a:gd name="connsiteX8" fmla="*/ 13335 w 342900"/>
                <a:gd name="connsiteY8" fmla="*/ 238125 h 342900"/>
                <a:gd name="connsiteX9" fmla="*/ 50483 w 342900"/>
                <a:gd name="connsiteY9" fmla="*/ 292418 h 342900"/>
                <a:gd name="connsiteX10" fmla="*/ 104775 w 342900"/>
                <a:gd name="connsiteY10" fmla="*/ 329565 h 342900"/>
                <a:gd name="connsiteX11" fmla="*/ 171450 w 342900"/>
                <a:gd name="connsiteY11" fmla="*/ 342900 h 342900"/>
                <a:gd name="connsiteX12" fmla="*/ 171450 w 342900"/>
                <a:gd name="connsiteY12" fmla="*/ 308610 h 342900"/>
                <a:gd name="connsiteX13" fmla="*/ 74295 w 342900"/>
                <a:gd name="connsiteY13" fmla="*/ 268605 h 342900"/>
                <a:gd name="connsiteX14" fmla="*/ 35243 w 342900"/>
                <a:gd name="connsiteY14" fmla="*/ 188595 h 342900"/>
                <a:gd name="connsiteX15" fmla="*/ 180975 w 342900"/>
                <a:gd name="connsiteY15" fmla="*/ 188595 h 342900"/>
                <a:gd name="connsiteX16" fmla="*/ 141923 w 342900"/>
                <a:gd name="connsiteY16" fmla="*/ 227648 h 342900"/>
                <a:gd name="connsiteX17" fmla="*/ 165735 w 342900"/>
                <a:gd name="connsiteY17" fmla="*/ 251460 h 342900"/>
                <a:gd name="connsiteX18" fmla="*/ 246698 w 342900"/>
                <a:gd name="connsiteY18" fmla="*/ 170498 h 342900"/>
                <a:gd name="connsiteX19" fmla="*/ 165735 w 342900"/>
                <a:gd name="connsiteY19" fmla="*/ 89535 h 342900"/>
                <a:gd name="connsiteX20" fmla="*/ 141923 w 342900"/>
                <a:gd name="connsiteY20" fmla="*/ 113348 h 342900"/>
                <a:gd name="connsiteX21" fmla="*/ 180975 w 342900"/>
                <a:gd name="connsiteY21" fmla="*/ 152400 h 342900"/>
                <a:gd name="connsiteX22" fmla="*/ 35243 w 342900"/>
                <a:gd name="connsiteY22" fmla="*/ 152400 h 342900"/>
                <a:gd name="connsiteX23" fmla="*/ 74295 w 342900"/>
                <a:gd name="connsiteY23" fmla="*/ 72390 h 342900"/>
                <a:gd name="connsiteX24" fmla="*/ 171450 w 342900"/>
                <a:gd name="connsiteY24" fmla="*/ 32385 h 342900"/>
                <a:gd name="connsiteX25" fmla="*/ 268605 w 342900"/>
                <a:gd name="connsiteY25" fmla="*/ 72390 h 342900"/>
                <a:gd name="connsiteX26" fmla="*/ 308610 w 342900"/>
                <a:gd name="connsiteY26" fmla="*/ 169545 h 342900"/>
                <a:gd name="connsiteX27" fmla="*/ 342900 w 342900"/>
                <a:gd name="connsiteY27" fmla="*/ 169545 h 342900"/>
                <a:gd name="connsiteX28" fmla="*/ 329565 w 342900"/>
                <a:gd name="connsiteY28" fmla="*/ 1047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342900">
                  <a:moveTo>
                    <a:pt x="329565" y="104775"/>
                  </a:moveTo>
                  <a:cubicBezTo>
                    <a:pt x="320993" y="84773"/>
                    <a:pt x="308610" y="65723"/>
                    <a:pt x="292418" y="50483"/>
                  </a:cubicBezTo>
                  <a:cubicBezTo>
                    <a:pt x="276225" y="34290"/>
                    <a:pt x="258128" y="21908"/>
                    <a:pt x="238125" y="13335"/>
                  </a:cubicBezTo>
                  <a:cubicBezTo>
                    <a:pt x="217170" y="4763"/>
                    <a:pt x="194310" y="0"/>
                    <a:pt x="171450" y="0"/>
                  </a:cubicBezTo>
                  <a:cubicBezTo>
                    <a:pt x="148590" y="0"/>
                    <a:pt x="125730" y="4763"/>
                    <a:pt x="104775" y="13335"/>
                  </a:cubicBezTo>
                  <a:cubicBezTo>
                    <a:pt x="83820" y="21908"/>
                    <a:pt x="65723" y="34290"/>
                    <a:pt x="50483" y="50483"/>
                  </a:cubicBezTo>
                  <a:cubicBezTo>
                    <a:pt x="34290" y="66675"/>
                    <a:pt x="21908" y="84773"/>
                    <a:pt x="13335" y="104775"/>
                  </a:cubicBezTo>
                  <a:cubicBezTo>
                    <a:pt x="4763" y="125730"/>
                    <a:pt x="0" y="148590"/>
                    <a:pt x="0" y="171450"/>
                  </a:cubicBezTo>
                  <a:cubicBezTo>
                    <a:pt x="0" y="194310"/>
                    <a:pt x="4763" y="217170"/>
                    <a:pt x="13335" y="238125"/>
                  </a:cubicBezTo>
                  <a:cubicBezTo>
                    <a:pt x="21908" y="258128"/>
                    <a:pt x="34290" y="277178"/>
                    <a:pt x="50483" y="292418"/>
                  </a:cubicBezTo>
                  <a:cubicBezTo>
                    <a:pt x="66675" y="308610"/>
                    <a:pt x="84773" y="320993"/>
                    <a:pt x="104775" y="329565"/>
                  </a:cubicBezTo>
                  <a:cubicBezTo>
                    <a:pt x="125730" y="338138"/>
                    <a:pt x="148590" y="342900"/>
                    <a:pt x="171450" y="342900"/>
                  </a:cubicBezTo>
                  <a:lnTo>
                    <a:pt x="171450" y="308610"/>
                  </a:lnTo>
                  <a:cubicBezTo>
                    <a:pt x="135255" y="308610"/>
                    <a:pt x="100013" y="294323"/>
                    <a:pt x="74295" y="268605"/>
                  </a:cubicBezTo>
                  <a:cubicBezTo>
                    <a:pt x="52388" y="246698"/>
                    <a:pt x="39053" y="219075"/>
                    <a:pt x="35243" y="188595"/>
                  </a:cubicBezTo>
                  <a:lnTo>
                    <a:pt x="180975" y="188595"/>
                  </a:lnTo>
                  <a:lnTo>
                    <a:pt x="141923" y="227648"/>
                  </a:lnTo>
                  <a:lnTo>
                    <a:pt x="165735" y="251460"/>
                  </a:lnTo>
                  <a:lnTo>
                    <a:pt x="246698" y="170498"/>
                  </a:lnTo>
                  <a:lnTo>
                    <a:pt x="165735" y="89535"/>
                  </a:lnTo>
                  <a:lnTo>
                    <a:pt x="141923" y="113348"/>
                  </a:lnTo>
                  <a:lnTo>
                    <a:pt x="180975" y="152400"/>
                  </a:lnTo>
                  <a:lnTo>
                    <a:pt x="35243" y="152400"/>
                  </a:lnTo>
                  <a:cubicBezTo>
                    <a:pt x="39053" y="121920"/>
                    <a:pt x="52388" y="94298"/>
                    <a:pt x="74295" y="72390"/>
                  </a:cubicBezTo>
                  <a:cubicBezTo>
                    <a:pt x="100013" y="46673"/>
                    <a:pt x="134303" y="32385"/>
                    <a:pt x="171450" y="32385"/>
                  </a:cubicBezTo>
                  <a:cubicBezTo>
                    <a:pt x="207645" y="32385"/>
                    <a:pt x="242888" y="46673"/>
                    <a:pt x="268605" y="72390"/>
                  </a:cubicBezTo>
                  <a:cubicBezTo>
                    <a:pt x="294323" y="98108"/>
                    <a:pt x="308610" y="132398"/>
                    <a:pt x="308610" y="169545"/>
                  </a:cubicBezTo>
                  <a:lnTo>
                    <a:pt x="342900" y="169545"/>
                  </a:lnTo>
                  <a:cubicBezTo>
                    <a:pt x="342900" y="148590"/>
                    <a:pt x="338138" y="125730"/>
                    <a:pt x="329565" y="104775"/>
                  </a:cubicBezTo>
                </a:path>
              </a:pathLst>
            </a:custGeom>
            <a:solidFill>
              <a:schemeClr val="accent1"/>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1858C7E-BC01-5745-A1F3-A734CBFEA1B6}"/>
                </a:ext>
              </a:extLst>
            </p:cNvPr>
            <p:cNvSpPr/>
            <p:nvPr userDrawn="1"/>
          </p:nvSpPr>
          <p:spPr>
            <a:xfrm>
              <a:off x="590579" y="6484379"/>
              <a:ext cx="812771" cy="84028"/>
            </a:xfrm>
            <a:custGeom>
              <a:avLst/>
              <a:gdLst>
                <a:gd name="connsiteX0" fmla="*/ 1329690 w 1547812"/>
                <a:gd name="connsiteY0" fmla="*/ 155258 h 160020"/>
                <a:gd name="connsiteX1" fmla="*/ 1369695 w 1547812"/>
                <a:gd name="connsiteY1" fmla="*/ 155258 h 160020"/>
                <a:gd name="connsiteX2" fmla="*/ 1369695 w 1547812"/>
                <a:gd name="connsiteY2" fmla="*/ 65723 h 160020"/>
                <a:gd name="connsiteX3" fmla="*/ 1372553 w 1547812"/>
                <a:gd name="connsiteY3" fmla="*/ 53340 h 160020"/>
                <a:gd name="connsiteX4" fmla="*/ 1379220 w 1547812"/>
                <a:gd name="connsiteY4" fmla="*/ 43815 h 160020"/>
                <a:gd name="connsiteX5" fmla="*/ 1388745 w 1547812"/>
                <a:gd name="connsiteY5" fmla="*/ 37147 h 160020"/>
                <a:gd name="connsiteX6" fmla="*/ 1400175 w 1547812"/>
                <a:gd name="connsiteY6" fmla="*/ 35243 h 160020"/>
                <a:gd name="connsiteX7" fmla="*/ 1407795 w 1547812"/>
                <a:gd name="connsiteY7" fmla="*/ 36195 h 160020"/>
                <a:gd name="connsiteX8" fmla="*/ 1413510 w 1547812"/>
                <a:gd name="connsiteY8" fmla="*/ 40005 h 160020"/>
                <a:gd name="connsiteX9" fmla="*/ 1417320 w 1547812"/>
                <a:gd name="connsiteY9" fmla="*/ 47625 h 160020"/>
                <a:gd name="connsiteX10" fmla="*/ 1419225 w 1547812"/>
                <a:gd name="connsiteY10" fmla="*/ 60960 h 160020"/>
                <a:gd name="connsiteX11" fmla="*/ 1419225 w 1547812"/>
                <a:gd name="connsiteY11" fmla="*/ 155258 h 160020"/>
                <a:gd name="connsiteX12" fmla="*/ 1459230 w 1547812"/>
                <a:gd name="connsiteY12" fmla="*/ 155258 h 160020"/>
                <a:gd name="connsiteX13" fmla="*/ 1459230 w 1547812"/>
                <a:gd name="connsiteY13" fmla="*/ 63818 h 160020"/>
                <a:gd name="connsiteX14" fmla="*/ 1462088 w 1547812"/>
                <a:gd name="connsiteY14" fmla="*/ 53340 h 160020"/>
                <a:gd name="connsiteX15" fmla="*/ 1468755 w 1547812"/>
                <a:gd name="connsiteY15" fmla="*/ 43815 h 160020"/>
                <a:gd name="connsiteX16" fmla="*/ 1478280 w 1547812"/>
                <a:gd name="connsiteY16" fmla="*/ 37147 h 160020"/>
                <a:gd name="connsiteX17" fmla="*/ 1489710 w 1547812"/>
                <a:gd name="connsiteY17" fmla="*/ 35243 h 160020"/>
                <a:gd name="connsiteX18" fmla="*/ 1497330 w 1547812"/>
                <a:gd name="connsiteY18" fmla="*/ 36195 h 160020"/>
                <a:gd name="connsiteX19" fmla="*/ 1503045 w 1547812"/>
                <a:gd name="connsiteY19" fmla="*/ 40005 h 160020"/>
                <a:gd name="connsiteX20" fmla="*/ 1506855 w 1547812"/>
                <a:gd name="connsiteY20" fmla="*/ 47625 h 160020"/>
                <a:gd name="connsiteX21" fmla="*/ 1507808 w 1547812"/>
                <a:gd name="connsiteY21" fmla="*/ 60960 h 160020"/>
                <a:gd name="connsiteX22" fmla="*/ 1507808 w 1547812"/>
                <a:gd name="connsiteY22" fmla="*/ 155258 h 160020"/>
                <a:gd name="connsiteX23" fmla="*/ 1547813 w 1547812"/>
                <a:gd name="connsiteY23" fmla="*/ 155258 h 160020"/>
                <a:gd name="connsiteX24" fmla="*/ 1547813 w 1547812"/>
                <a:gd name="connsiteY24" fmla="*/ 55245 h 160020"/>
                <a:gd name="connsiteX25" fmla="*/ 1536383 w 1547812"/>
                <a:gd name="connsiteY25" fmla="*/ 14288 h 160020"/>
                <a:gd name="connsiteX26" fmla="*/ 1502093 w 1547812"/>
                <a:gd name="connsiteY26" fmla="*/ 1905 h 160020"/>
                <a:gd name="connsiteX27" fmla="*/ 1477328 w 1547812"/>
                <a:gd name="connsiteY27" fmla="*/ 7620 h 160020"/>
                <a:gd name="connsiteX28" fmla="*/ 1455420 w 1547812"/>
                <a:gd name="connsiteY28" fmla="*/ 27623 h 160020"/>
                <a:gd name="connsiteX29" fmla="*/ 1441133 w 1547812"/>
                <a:gd name="connsiteY29" fmla="*/ 8573 h 160020"/>
                <a:gd name="connsiteX30" fmla="*/ 1414463 w 1547812"/>
                <a:gd name="connsiteY30" fmla="*/ 1905 h 160020"/>
                <a:gd name="connsiteX31" fmla="*/ 1390650 w 1547812"/>
                <a:gd name="connsiteY31" fmla="*/ 7620 h 160020"/>
                <a:gd name="connsiteX32" fmla="*/ 1371600 w 1547812"/>
                <a:gd name="connsiteY32" fmla="*/ 25718 h 160020"/>
                <a:gd name="connsiteX33" fmla="*/ 1371600 w 1547812"/>
                <a:gd name="connsiteY33" fmla="*/ 5715 h 160020"/>
                <a:gd name="connsiteX34" fmla="*/ 1332548 w 1547812"/>
                <a:gd name="connsiteY34" fmla="*/ 5715 h 160020"/>
                <a:gd name="connsiteX35" fmla="*/ 1332548 w 1547812"/>
                <a:gd name="connsiteY35" fmla="*/ 155258 h 160020"/>
                <a:gd name="connsiteX36" fmla="*/ 1199198 w 1547812"/>
                <a:gd name="connsiteY36" fmla="*/ 116205 h 160020"/>
                <a:gd name="connsiteX37" fmla="*/ 1190625 w 1547812"/>
                <a:gd name="connsiteY37" fmla="*/ 80963 h 160020"/>
                <a:gd name="connsiteX38" fmla="*/ 1199198 w 1547812"/>
                <a:gd name="connsiteY38" fmla="*/ 45720 h 160020"/>
                <a:gd name="connsiteX39" fmla="*/ 1224915 w 1547812"/>
                <a:gd name="connsiteY39" fmla="*/ 33338 h 160020"/>
                <a:gd name="connsiteX40" fmla="*/ 1250633 w 1547812"/>
                <a:gd name="connsiteY40" fmla="*/ 45720 h 160020"/>
                <a:gd name="connsiteX41" fmla="*/ 1259205 w 1547812"/>
                <a:gd name="connsiteY41" fmla="*/ 80963 h 160020"/>
                <a:gd name="connsiteX42" fmla="*/ 1250633 w 1547812"/>
                <a:gd name="connsiteY42" fmla="*/ 116205 h 160020"/>
                <a:gd name="connsiteX43" fmla="*/ 1224915 w 1547812"/>
                <a:gd name="connsiteY43" fmla="*/ 128588 h 160020"/>
                <a:gd name="connsiteX44" fmla="*/ 1199198 w 1547812"/>
                <a:gd name="connsiteY44" fmla="*/ 116205 h 160020"/>
                <a:gd name="connsiteX45" fmla="*/ 1256348 w 1547812"/>
                <a:gd name="connsiteY45" fmla="*/ 154305 h 160020"/>
                <a:gd name="connsiteX46" fmla="*/ 1280160 w 1547812"/>
                <a:gd name="connsiteY46" fmla="*/ 138113 h 160020"/>
                <a:gd name="connsiteX47" fmla="*/ 1295400 w 1547812"/>
                <a:gd name="connsiteY47" fmla="*/ 113348 h 160020"/>
                <a:gd name="connsiteX48" fmla="*/ 1301115 w 1547812"/>
                <a:gd name="connsiteY48" fmla="*/ 80010 h 160020"/>
                <a:gd name="connsiteX49" fmla="*/ 1296353 w 1547812"/>
                <a:gd name="connsiteY49" fmla="*/ 46672 h 160020"/>
                <a:gd name="connsiteX50" fmla="*/ 1281113 w 1547812"/>
                <a:gd name="connsiteY50" fmla="*/ 21908 h 160020"/>
                <a:gd name="connsiteX51" fmla="*/ 1257300 w 1547812"/>
                <a:gd name="connsiteY51" fmla="*/ 6668 h 160020"/>
                <a:gd name="connsiteX52" fmla="*/ 1225868 w 1547812"/>
                <a:gd name="connsiteY52" fmla="*/ 953 h 160020"/>
                <a:gd name="connsiteX53" fmla="*/ 1194435 w 1547812"/>
                <a:gd name="connsiteY53" fmla="*/ 6668 h 160020"/>
                <a:gd name="connsiteX54" fmla="*/ 1170623 w 1547812"/>
                <a:gd name="connsiteY54" fmla="*/ 21908 h 160020"/>
                <a:gd name="connsiteX55" fmla="*/ 1155383 w 1547812"/>
                <a:gd name="connsiteY55" fmla="*/ 46672 h 160020"/>
                <a:gd name="connsiteX56" fmla="*/ 1149668 w 1547812"/>
                <a:gd name="connsiteY56" fmla="*/ 80010 h 160020"/>
                <a:gd name="connsiteX57" fmla="*/ 1169670 w 1547812"/>
                <a:gd name="connsiteY57" fmla="*/ 139065 h 160020"/>
                <a:gd name="connsiteX58" fmla="*/ 1225868 w 1547812"/>
                <a:gd name="connsiteY58" fmla="*/ 160020 h 160020"/>
                <a:gd name="connsiteX59" fmla="*/ 1256348 w 1547812"/>
                <a:gd name="connsiteY59" fmla="*/ 154305 h 160020"/>
                <a:gd name="connsiteX60" fmla="*/ 1086803 w 1547812"/>
                <a:gd name="connsiteY60" fmla="*/ 100965 h 160020"/>
                <a:gd name="connsiteX61" fmla="*/ 1079183 w 1547812"/>
                <a:gd name="connsiteY61" fmla="*/ 120968 h 160020"/>
                <a:gd name="connsiteX62" fmla="*/ 1061085 w 1547812"/>
                <a:gd name="connsiteY62" fmla="*/ 127635 h 160020"/>
                <a:gd name="connsiteX63" fmla="*/ 1045845 w 1547812"/>
                <a:gd name="connsiteY63" fmla="*/ 123825 h 160020"/>
                <a:gd name="connsiteX64" fmla="*/ 1036320 w 1547812"/>
                <a:gd name="connsiteY64" fmla="*/ 113348 h 160020"/>
                <a:gd name="connsiteX65" fmla="*/ 1031558 w 1547812"/>
                <a:gd name="connsiteY65" fmla="*/ 98108 h 160020"/>
                <a:gd name="connsiteX66" fmla="*/ 1029653 w 1547812"/>
                <a:gd name="connsiteY66" fmla="*/ 80010 h 160020"/>
                <a:gd name="connsiteX67" fmla="*/ 1031558 w 1547812"/>
                <a:gd name="connsiteY67" fmla="*/ 62865 h 160020"/>
                <a:gd name="connsiteX68" fmla="*/ 1036320 w 1547812"/>
                <a:gd name="connsiteY68" fmla="*/ 47625 h 160020"/>
                <a:gd name="connsiteX69" fmla="*/ 1045845 w 1547812"/>
                <a:gd name="connsiteY69" fmla="*/ 37147 h 160020"/>
                <a:gd name="connsiteX70" fmla="*/ 1061085 w 1547812"/>
                <a:gd name="connsiteY70" fmla="*/ 33338 h 160020"/>
                <a:gd name="connsiteX71" fmla="*/ 1079183 w 1547812"/>
                <a:gd name="connsiteY71" fmla="*/ 40005 h 160020"/>
                <a:gd name="connsiteX72" fmla="*/ 1085850 w 1547812"/>
                <a:gd name="connsiteY72" fmla="*/ 58103 h 160020"/>
                <a:gd name="connsiteX73" fmla="*/ 1125855 w 1547812"/>
                <a:gd name="connsiteY73" fmla="*/ 52388 h 160020"/>
                <a:gd name="connsiteX74" fmla="*/ 1120140 w 1547812"/>
                <a:gd name="connsiteY74" fmla="*/ 31433 h 160020"/>
                <a:gd name="connsiteX75" fmla="*/ 1107758 w 1547812"/>
                <a:gd name="connsiteY75" fmla="*/ 15240 h 160020"/>
                <a:gd name="connsiteX76" fmla="*/ 1088708 w 1547812"/>
                <a:gd name="connsiteY76" fmla="*/ 4763 h 160020"/>
                <a:gd name="connsiteX77" fmla="*/ 1062038 w 1547812"/>
                <a:gd name="connsiteY77" fmla="*/ 953 h 160020"/>
                <a:gd name="connsiteX78" fmla="*/ 1030605 w 1547812"/>
                <a:gd name="connsiteY78" fmla="*/ 6668 h 160020"/>
                <a:gd name="connsiteX79" fmla="*/ 1007745 w 1547812"/>
                <a:gd name="connsiteY79" fmla="*/ 22860 h 160020"/>
                <a:gd name="connsiteX80" fmla="*/ 993458 w 1547812"/>
                <a:gd name="connsiteY80" fmla="*/ 47625 h 160020"/>
                <a:gd name="connsiteX81" fmla="*/ 988695 w 1547812"/>
                <a:gd name="connsiteY81" fmla="*/ 80010 h 160020"/>
                <a:gd name="connsiteX82" fmla="*/ 992505 w 1547812"/>
                <a:gd name="connsiteY82" fmla="*/ 112395 h 160020"/>
                <a:gd name="connsiteX83" fmla="*/ 1005840 w 1547812"/>
                <a:gd name="connsiteY83" fmla="*/ 137160 h 160020"/>
                <a:gd name="connsiteX84" fmla="*/ 1028700 w 1547812"/>
                <a:gd name="connsiteY84" fmla="*/ 153353 h 160020"/>
                <a:gd name="connsiteX85" fmla="*/ 1061085 w 1547812"/>
                <a:gd name="connsiteY85" fmla="*/ 159068 h 160020"/>
                <a:gd name="connsiteX86" fmla="*/ 1109663 w 1547812"/>
                <a:gd name="connsiteY86" fmla="*/ 142875 h 160020"/>
                <a:gd name="connsiteX87" fmla="*/ 1127760 w 1547812"/>
                <a:gd name="connsiteY87" fmla="*/ 100013 h 160020"/>
                <a:gd name="connsiteX88" fmla="*/ 1086803 w 1547812"/>
                <a:gd name="connsiteY88" fmla="*/ 100013 h 160020"/>
                <a:gd name="connsiteX89" fmla="*/ 921068 w 1547812"/>
                <a:gd name="connsiteY89" fmla="*/ 155258 h 160020"/>
                <a:gd name="connsiteX90" fmla="*/ 962025 w 1547812"/>
                <a:gd name="connsiteY90" fmla="*/ 155258 h 160020"/>
                <a:gd name="connsiteX91" fmla="*/ 962025 w 1547812"/>
                <a:gd name="connsiteY91" fmla="*/ 109538 h 160020"/>
                <a:gd name="connsiteX92" fmla="*/ 921068 w 1547812"/>
                <a:gd name="connsiteY92" fmla="*/ 109538 h 160020"/>
                <a:gd name="connsiteX93" fmla="*/ 921068 w 1547812"/>
                <a:gd name="connsiteY93" fmla="*/ 155258 h 160020"/>
                <a:gd name="connsiteX94" fmla="*/ 671513 w 1547812"/>
                <a:gd name="connsiteY94" fmla="*/ 155258 h 160020"/>
                <a:gd name="connsiteX95" fmla="*/ 711518 w 1547812"/>
                <a:gd name="connsiteY95" fmla="*/ 155258 h 160020"/>
                <a:gd name="connsiteX96" fmla="*/ 711518 w 1547812"/>
                <a:gd name="connsiteY96" fmla="*/ 65723 h 160020"/>
                <a:gd name="connsiteX97" fmla="*/ 714375 w 1547812"/>
                <a:gd name="connsiteY97" fmla="*/ 53340 h 160020"/>
                <a:gd name="connsiteX98" fmla="*/ 721043 w 1547812"/>
                <a:gd name="connsiteY98" fmla="*/ 43815 h 160020"/>
                <a:gd name="connsiteX99" fmla="*/ 730568 w 1547812"/>
                <a:gd name="connsiteY99" fmla="*/ 37147 h 160020"/>
                <a:gd name="connsiteX100" fmla="*/ 741998 w 1547812"/>
                <a:gd name="connsiteY100" fmla="*/ 35243 h 160020"/>
                <a:gd name="connsiteX101" fmla="*/ 749618 w 1547812"/>
                <a:gd name="connsiteY101" fmla="*/ 36195 h 160020"/>
                <a:gd name="connsiteX102" fmla="*/ 755333 w 1547812"/>
                <a:gd name="connsiteY102" fmla="*/ 40005 h 160020"/>
                <a:gd name="connsiteX103" fmla="*/ 759143 w 1547812"/>
                <a:gd name="connsiteY103" fmla="*/ 47625 h 160020"/>
                <a:gd name="connsiteX104" fmla="*/ 761048 w 1547812"/>
                <a:gd name="connsiteY104" fmla="*/ 60960 h 160020"/>
                <a:gd name="connsiteX105" fmla="*/ 761048 w 1547812"/>
                <a:gd name="connsiteY105" fmla="*/ 155258 h 160020"/>
                <a:gd name="connsiteX106" fmla="*/ 801053 w 1547812"/>
                <a:gd name="connsiteY106" fmla="*/ 155258 h 160020"/>
                <a:gd name="connsiteX107" fmla="*/ 801053 w 1547812"/>
                <a:gd name="connsiteY107" fmla="*/ 63818 h 160020"/>
                <a:gd name="connsiteX108" fmla="*/ 803910 w 1547812"/>
                <a:gd name="connsiteY108" fmla="*/ 53340 h 160020"/>
                <a:gd name="connsiteX109" fmla="*/ 810578 w 1547812"/>
                <a:gd name="connsiteY109" fmla="*/ 43815 h 160020"/>
                <a:gd name="connsiteX110" fmla="*/ 820103 w 1547812"/>
                <a:gd name="connsiteY110" fmla="*/ 37147 h 160020"/>
                <a:gd name="connsiteX111" fmla="*/ 831533 w 1547812"/>
                <a:gd name="connsiteY111" fmla="*/ 35243 h 160020"/>
                <a:gd name="connsiteX112" fmla="*/ 839153 w 1547812"/>
                <a:gd name="connsiteY112" fmla="*/ 36195 h 160020"/>
                <a:gd name="connsiteX113" fmla="*/ 844868 w 1547812"/>
                <a:gd name="connsiteY113" fmla="*/ 40005 h 160020"/>
                <a:gd name="connsiteX114" fmla="*/ 848678 w 1547812"/>
                <a:gd name="connsiteY114" fmla="*/ 47625 h 160020"/>
                <a:gd name="connsiteX115" fmla="*/ 849630 w 1547812"/>
                <a:gd name="connsiteY115" fmla="*/ 60960 h 160020"/>
                <a:gd name="connsiteX116" fmla="*/ 849630 w 1547812"/>
                <a:gd name="connsiteY116" fmla="*/ 155258 h 160020"/>
                <a:gd name="connsiteX117" fmla="*/ 889635 w 1547812"/>
                <a:gd name="connsiteY117" fmla="*/ 155258 h 160020"/>
                <a:gd name="connsiteX118" fmla="*/ 889635 w 1547812"/>
                <a:gd name="connsiteY118" fmla="*/ 55245 h 160020"/>
                <a:gd name="connsiteX119" fmla="*/ 878205 w 1547812"/>
                <a:gd name="connsiteY119" fmla="*/ 14288 h 160020"/>
                <a:gd name="connsiteX120" fmla="*/ 843915 w 1547812"/>
                <a:gd name="connsiteY120" fmla="*/ 1905 h 160020"/>
                <a:gd name="connsiteX121" fmla="*/ 819150 w 1547812"/>
                <a:gd name="connsiteY121" fmla="*/ 7620 h 160020"/>
                <a:gd name="connsiteX122" fmla="*/ 797243 w 1547812"/>
                <a:gd name="connsiteY122" fmla="*/ 27623 h 160020"/>
                <a:gd name="connsiteX123" fmla="*/ 782955 w 1547812"/>
                <a:gd name="connsiteY123" fmla="*/ 8573 h 160020"/>
                <a:gd name="connsiteX124" fmla="*/ 756285 w 1547812"/>
                <a:gd name="connsiteY124" fmla="*/ 1905 h 160020"/>
                <a:gd name="connsiteX125" fmla="*/ 732473 w 1547812"/>
                <a:gd name="connsiteY125" fmla="*/ 7620 h 160020"/>
                <a:gd name="connsiteX126" fmla="*/ 713423 w 1547812"/>
                <a:gd name="connsiteY126" fmla="*/ 25718 h 160020"/>
                <a:gd name="connsiteX127" fmla="*/ 713423 w 1547812"/>
                <a:gd name="connsiteY127" fmla="*/ 5715 h 160020"/>
                <a:gd name="connsiteX128" fmla="*/ 674370 w 1547812"/>
                <a:gd name="connsiteY128" fmla="*/ 5715 h 160020"/>
                <a:gd name="connsiteX129" fmla="*/ 674370 w 1547812"/>
                <a:gd name="connsiteY129" fmla="*/ 155258 h 160020"/>
                <a:gd name="connsiteX130" fmla="*/ 541973 w 1547812"/>
                <a:gd name="connsiteY130" fmla="*/ 116205 h 160020"/>
                <a:gd name="connsiteX131" fmla="*/ 533400 w 1547812"/>
                <a:gd name="connsiteY131" fmla="*/ 80963 h 160020"/>
                <a:gd name="connsiteX132" fmla="*/ 541973 w 1547812"/>
                <a:gd name="connsiteY132" fmla="*/ 45720 h 160020"/>
                <a:gd name="connsiteX133" fmla="*/ 567690 w 1547812"/>
                <a:gd name="connsiteY133" fmla="*/ 33338 h 160020"/>
                <a:gd name="connsiteX134" fmla="*/ 593408 w 1547812"/>
                <a:gd name="connsiteY134" fmla="*/ 45720 h 160020"/>
                <a:gd name="connsiteX135" fmla="*/ 601980 w 1547812"/>
                <a:gd name="connsiteY135" fmla="*/ 80963 h 160020"/>
                <a:gd name="connsiteX136" fmla="*/ 593408 w 1547812"/>
                <a:gd name="connsiteY136" fmla="*/ 116205 h 160020"/>
                <a:gd name="connsiteX137" fmla="*/ 567690 w 1547812"/>
                <a:gd name="connsiteY137" fmla="*/ 128588 h 160020"/>
                <a:gd name="connsiteX138" fmla="*/ 541973 w 1547812"/>
                <a:gd name="connsiteY138" fmla="*/ 116205 h 160020"/>
                <a:gd name="connsiteX139" fmla="*/ 598170 w 1547812"/>
                <a:gd name="connsiteY139" fmla="*/ 154305 h 160020"/>
                <a:gd name="connsiteX140" fmla="*/ 621983 w 1547812"/>
                <a:gd name="connsiteY140" fmla="*/ 138113 h 160020"/>
                <a:gd name="connsiteX141" fmla="*/ 637223 w 1547812"/>
                <a:gd name="connsiteY141" fmla="*/ 113348 h 160020"/>
                <a:gd name="connsiteX142" fmla="*/ 642938 w 1547812"/>
                <a:gd name="connsiteY142" fmla="*/ 80010 h 160020"/>
                <a:gd name="connsiteX143" fmla="*/ 638175 w 1547812"/>
                <a:gd name="connsiteY143" fmla="*/ 46672 h 160020"/>
                <a:gd name="connsiteX144" fmla="*/ 622935 w 1547812"/>
                <a:gd name="connsiteY144" fmla="*/ 21908 h 160020"/>
                <a:gd name="connsiteX145" fmla="*/ 599123 w 1547812"/>
                <a:gd name="connsiteY145" fmla="*/ 6668 h 160020"/>
                <a:gd name="connsiteX146" fmla="*/ 567690 w 1547812"/>
                <a:gd name="connsiteY146" fmla="*/ 953 h 160020"/>
                <a:gd name="connsiteX147" fmla="*/ 536258 w 1547812"/>
                <a:gd name="connsiteY147" fmla="*/ 6668 h 160020"/>
                <a:gd name="connsiteX148" fmla="*/ 512445 w 1547812"/>
                <a:gd name="connsiteY148" fmla="*/ 21908 h 160020"/>
                <a:gd name="connsiteX149" fmla="*/ 497205 w 1547812"/>
                <a:gd name="connsiteY149" fmla="*/ 46672 h 160020"/>
                <a:gd name="connsiteX150" fmla="*/ 491490 w 1547812"/>
                <a:gd name="connsiteY150" fmla="*/ 80010 h 160020"/>
                <a:gd name="connsiteX151" fmla="*/ 511492 w 1547812"/>
                <a:gd name="connsiteY151" fmla="*/ 139065 h 160020"/>
                <a:gd name="connsiteX152" fmla="*/ 566738 w 1547812"/>
                <a:gd name="connsiteY152" fmla="*/ 160020 h 160020"/>
                <a:gd name="connsiteX153" fmla="*/ 598170 w 1547812"/>
                <a:gd name="connsiteY153" fmla="*/ 154305 h 160020"/>
                <a:gd name="connsiteX154" fmla="*/ 429578 w 1547812"/>
                <a:gd name="connsiteY154" fmla="*/ 100965 h 160020"/>
                <a:gd name="connsiteX155" fmla="*/ 421958 w 1547812"/>
                <a:gd name="connsiteY155" fmla="*/ 120968 h 160020"/>
                <a:gd name="connsiteX156" fmla="*/ 403860 w 1547812"/>
                <a:gd name="connsiteY156" fmla="*/ 127635 h 160020"/>
                <a:gd name="connsiteX157" fmla="*/ 388620 w 1547812"/>
                <a:gd name="connsiteY157" fmla="*/ 123825 h 160020"/>
                <a:gd name="connsiteX158" fmla="*/ 379095 w 1547812"/>
                <a:gd name="connsiteY158" fmla="*/ 113348 h 160020"/>
                <a:gd name="connsiteX159" fmla="*/ 374333 w 1547812"/>
                <a:gd name="connsiteY159" fmla="*/ 98108 h 160020"/>
                <a:gd name="connsiteX160" fmla="*/ 372428 w 1547812"/>
                <a:gd name="connsiteY160" fmla="*/ 80010 h 160020"/>
                <a:gd name="connsiteX161" fmla="*/ 374333 w 1547812"/>
                <a:gd name="connsiteY161" fmla="*/ 62865 h 160020"/>
                <a:gd name="connsiteX162" fmla="*/ 379095 w 1547812"/>
                <a:gd name="connsiteY162" fmla="*/ 47625 h 160020"/>
                <a:gd name="connsiteX163" fmla="*/ 388620 w 1547812"/>
                <a:gd name="connsiteY163" fmla="*/ 37147 h 160020"/>
                <a:gd name="connsiteX164" fmla="*/ 403860 w 1547812"/>
                <a:gd name="connsiteY164" fmla="*/ 33338 h 160020"/>
                <a:gd name="connsiteX165" fmla="*/ 421958 w 1547812"/>
                <a:gd name="connsiteY165" fmla="*/ 40005 h 160020"/>
                <a:gd name="connsiteX166" fmla="*/ 428625 w 1547812"/>
                <a:gd name="connsiteY166" fmla="*/ 58103 h 160020"/>
                <a:gd name="connsiteX167" fmla="*/ 468630 w 1547812"/>
                <a:gd name="connsiteY167" fmla="*/ 52388 h 160020"/>
                <a:gd name="connsiteX168" fmla="*/ 462915 w 1547812"/>
                <a:gd name="connsiteY168" fmla="*/ 31433 h 160020"/>
                <a:gd name="connsiteX169" fmla="*/ 450533 w 1547812"/>
                <a:gd name="connsiteY169" fmla="*/ 15240 h 160020"/>
                <a:gd name="connsiteX170" fmla="*/ 431483 w 1547812"/>
                <a:gd name="connsiteY170" fmla="*/ 4763 h 160020"/>
                <a:gd name="connsiteX171" fmla="*/ 404813 w 1547812"/>
                <a:gd name="connsiteY171" fmla="*/ 953 h 160020"/>
                <a:gd name="connsiteX172" fmla="*/ 373380 w 1547812"/>
                <a:gd name="connsiteY172" fmla="*/ 6668 h 160020"/>
                <a:gd name="connsiteX173" fmla="*/ 350520 w 1547812"/>
                <a:gd name="connsiteY173" fmla="*/ 22860 h 160020"/>
                <a:gd name="connsiteX174" fmla="*/ 336233 w 1547812"/>
                <a:gd name="connsiteY174" fmla="*/ 47625 h 160020"/>
                <a:gd name="connsiteX175" fmla="*/ 331470 w 1547812"/>
                <a:gd name="connsiteY175" fmla="*/ 80010 h 160020"/>
                <a:gd name="connsiteX176" fmla="*/ 336233 w 1547812"/>
                <a:gd name="connsiteY176" fmla="*/ 112395 h 160020"/>
                <a:gd name="connsiteX177" fmla="*/ 349567 w 1547812"/>
                <a:gd name="connsiteY177" fmla="*/ 137160 h 160020"/>
                <a:gd name="connsiteX178" fmla="*/ 372428 w 1547812"/>
                <a:gd name="connsiteY178" fmla="*/ 153353 h 160020"/>
                <a:gd name="connsiteX179" fmla="*/ 404813 w 1547812"/>
                <a:gd name="connsiteY179" fmla="*/ 159068 h 160020"/>
                <a:gd name="connsiteX180" fmla="*/ 453390 w 1547812"/>
                <a:gd name="connsiteY180" fmla="*/ 142875 h 160020"/>
                <a:gd name="connsiteX181" fmla="*/ 471488 w 1547812"/>
                <a:gd name="connsiteY181" fmla="*/ 100013 h 160020"/>
                <a:gd name="connsiteX182" fmla="*/ 429578 w 1547812"/>
                <a:gd name="connsiteY182" fmla="*/ 100013 h 160020"/>
                <a:gd name="connsiteX183" fmla="*/ 203835 w 1547812"/>
                <a:gd name="connsiteY183" fmla="*/ 63818 h 160020"/>
                <a:gd name="connsiteX184" fmla="*/ 206692 w 1547812"/>
                <a:gd name="connsiteY184" fmla="*/ 51435 h 160020"/>
                <a:gd name="connsiteX185" fmla="*/ 213360 w 1547812"/>
                <a:gd name="connsiteY185" fmla="*/ 40958 h 160020"/>
                <a:gd name="connsiteX186" fmla="*/ 223838 w 1547812"/>
                <a:gd name="connsiteY186" fmla="*/ 34290 h 160020"/>
                <a:gd name="connsiteX187" fmla="*/ 238125 w 1547812"/>
                <a:gd name="connsiteY187" fmla="*/ 31433 h 160020"/>
                <a:gd name="connsiteX188" fmla="*/ 261938 w 1547812"/>
                <a:gd name="connsiteY188" fmla="*/ 40005 h 160020"/>
                <a:gd name="connsiteX189" fmla="*/ 269558 w 1547812"/>
                <a:gd name="connsiteY189" fmla="*/ 63818 h 160020"/>
                <a:gd name="connsiteX190" fmla="*/ 203835 w 1547812"/>
                <a:gd name="connsiteY190" fmla="*/ 63818 h 160020"/>
                <a:gd name="connsiteX191" fmla="*/ 266700 w 1547812"/>
                <a:gd name="connsiteY191" fmla="*/ 108585 h 160020"/>
                <a:gd name="connsiteX192" fmla="*/ 239077 w 1547812"/>
                <a:gd name="connsiteY192" fmla="*/ 128588 h 160020"/>
                <a:gd name="connsiteX193" fmla="*/ 213360 w 1547812"/>
                <a:gd name="connsiteY193" fmla="*/ 118110 h 160020"/>
                <a:gd name="connsiteX194" fmla="*/ 203835 w 1547812"/>
                <a:gd name="connsiteY194" fmla="*/ 89535 h 160020"/>
                <a:gd name="connsiteX195" fmla="*/ 307658 w 1547812"/>
                <a:gd name="connsiteY195" fmla="*/ 89535 h 160020"/>
                <a:gd name="connsiteX196" fmla="*/ 307658 w 1547812"/>
                <a:gd name="connsiteY196" fmla="*/ 73343 h 160020"/>
                <a:gd name="connsiteX197" fmla="*/ 290513 w 1547812"/>
                <a:gd name="connsiteY197" fmla="*/ 20003 h 160020"/>
                <a:gd name="connsiteX198" fmla="*/ 239077 w 1547812"/>
                <a:gd name="connsiteY198" fmla="*/ 0 h 160020"/>
                <a:gd name="connsiteX199" fmla="*/ 208598 w 1547812"/>
                <a:gd name="connsiteY199" fmla="*/ 5715 h 160020"/>
                <a:gd name="connsiteX200" fmla="*/ 184785 w 1547812"/>
                <a:gd name="connsiteY200" fmla="*/ 20955 h 160020"/>
                <a:gd name="connsiteX201" fmla="*/ 169545 w 1547812"/>
                <a:gd name="connsiteY201" fmla="*/ 45720 h 160020"/>
                <a:gd name="connsiteX202" fmla="*/ 163830 w 1547812"/>
                <a:gd name="connsiteY202" fmla="*/ 79058 h 160020"/>
                <a:gd name="connsiteX203" fmla="*/ 182880 w 1547812"/>
                <a:gd name="connsiteY203" fmla="*/ 137160 h 160020"/>
                <a:gd name="connsiteX204" fmla="*/ 239077 w 1547812"/>
                <a:gd name="connsiteY204" fmla="*/ 158115 h 160020"/>
                <a:gd name="connsiteX205" fmla="*/ 285750 w 1547812"/>
                <a:gd name="connsiteY205" fmla="*/ 144780 h 160020"/>
                <a:gd name="connsiteX206" fmla="*/ 305753 w 1547812"/>
                <a:gd name="connsiteY206" fmla="*/ 106680 h 160020"/>
                <a:gd name="connsiteX207" fmla="*/ 266700 w 1547812"/>
                <a:gd name="connsiteY207" fmla="*/ 106680 h 160020"/>
                <a:gd name="connsiteX208" fmla="*/ 97155 w 1547812"/>
                <a:gd name="connsiteY208" fmla="*/ 96203 h 160020"/>
                <a:gd name="connsiteX209" fmla="*/ 93345 w 1547812"/>
                <a:gd name="connsiteY209" fmla="*/ 111443 h 160020"/>
                <a:gd name="connsiteX210" fmla="*/ 84773 w 1547812"/>
                <a:gd name="connsiteY210" fmla="*/ 121920 h 160020"/>
                <a:gd name="connsiteX211" fmla="*/ 60007 w 1547812"/>
                <a:gd name="connsiteY211" fmla="*/ 129540 h 160020"/>
                <a:gd name="connsiteX212" fmla="*/ 45720 w 1547812"/>
                <a:gd name="connsiteY212" fmla="*/ 124778 h 160020"/>
                <a:gd name="connsiteX213" fmla="*/ 40957 w 1547812"/>
                <a:gd name="connsiteY213" fmla="*/ 113348 h 160020"/>
                <a:gd name="connsiteX214" fmla="*/ 42863 w 1547812"/>
                <a:gd name="connsiteY214" fmla="*/ 104775 h 160020"/>
                <a:gd name="connsiteX215" fmla="*/ 48577 w 1547812"/>
                <a:gd name="connsiteY215" fmla="*/ 98108 h 160020"/>
                <a:gd name="connsiteX216" fmla="*/ 60007 w 1547812"/>
                <a:gd name="connsiteY216" fmla="*/ 93345 h 160020"/>
                <a:gd name="connsiteX217" fmla="*/ 80010 w 1547812"/>
                <a:gd name="connsiteY217" fmla="*/ 90488 h 160020"/>
                <a:gd name="connsiteX218" fmla="*/ 98107 w 1547812"/>
                <a:gd name="connsiteY218" fmla="*/ 89535 h 160020"/>
                <a:gd name="connsiteX219" fmla="*/ 98107 w 1547812"/>
                <a:gd name="connsiteY219" fmla="*/ 96203 h 160020"/>
                <a:gd name="connsiteX220" fmla="*/ 98107 w 1547812"/>
                <a:gd name="connsiteY220" fmla="*/ 155258 h 160020"/>
                <a:gd name="connsiteX221" fmla="*/ 136208 w 1547812"/>
                <a:gd name="connsiteY221" fmla="*/ 155258 h 160020"/>
                <a:gd name="connsiteX222" fmla="*/ 136208 w 1547812"/>
                <a:gd name="connsiteY222" fmla="*/ 60960 h 160020"/>
                <a:gd name="connsiteX223" fmla="*/ 133350 w 1547812"/>
                <a:gd name="connsiteY223" fmla="*/ 36195 h 160020"/>
                <a:gd name="connsiteX224" fmla="*/ 122873 w 1547812"/>
                <a:gd name="connsiteY224" fmla="*/ 17145 h 160020"/>
                <a:gd name="connsiteX225" fmla="*/ 103823 w 1547812"/>
                <a:gd name="connsiteY225" fmla="*/ 5715 h 160020"/>
                <a:gd name="connsiteX226" fmla="*/ 74295 w 1547812"/>
                <a:gd name="connsiteY226" fmla="*/ 1905 h 160020"/>
                <a:gd name="connsiteX227" fmla="*/ 29527 w 1547812"/>
                <a:gd name="connsiteY227" fmla="*/ 12383 h 160020"/>
                <a:gd name="connsiteX228" fmla="*/ 8573 w 1547812"/>
                <a:gd name="connsiteY228" fmla="*/ 46672 h 160020"/>
                <a:gd name="connsiteX229" fmla="*/ 44768 w 1547812"/>
                <a:gd name="connsiteY229" fmla="*/ 50483 h 160020"/>
                <a:gd name="connsiteX230" fmla="*/ 71438 w 1547812"/>
                <a:gd name="connsiteY230" fmla="*/ 32385 h 160020"/>
                <a:gd name="connsiteX231" fmla="*/ 89535 w 1547812"/>
                <a:gd name="connsiteY231" fmla="*/ 37147 h 160020"/>
                <a:gd name="connsiteX232" fmla="*/ 97155 w 1547812"/>
                <a:gd name="connsiteY232" fmla="*/ 56197 h 160020"/>
                <a:gd name="connsiteX233" fmla="*/ 97155 w 1547812"/>
                <a:gd name="connsiteY233" fmla="*/ 62865 h 160020"/>
                <a:gd name="connsiteX234" fmla="*/ 78105 w 1547812"/>
                <a:gd name="connsiteY234" fmla="*/ 63818 h 160020"/>
                <a:gd name="connsiteX235" fmla="*/ 49530 w 1547812"/>
                <a:gd name="connsiteY235" fmla="*/ 66675 h 160020"/>
                <a:gd name="connsiteX236" fmla="*/ 24765 w 1547812"/>
                <a:gd name="connsiteY236" fmla="*/ 74295 h 160020"/>
                <a:gd name="connsiteX237" fmla="*/ 6668 w 1547812"/>
                <a:gd name="connsiteY237" fmla="*/ 89535 h 160020"/>
                <a:gd name="connsiteX238" fmla="*/ 0 w 1547812"/>
                <a:gd name="connsiteY238" fmla="*/ 114300 h 160020"/>
                <a:gd name="connsiteX239" fmla="*/ 3810 w 1547812"/>
                <a:gd name="connsiteY239" fmla="*/ 134303 h 160020"/>
                <a:gd name="connsiteX240" fmla="*/ 14288 w 1547812"/>
                <a:gd name="connsiteY240" fmla="*/ 148590 h 160020"/>
                <a:gd name="connsiteX241" fmla="*/ 29527 w 1547812"/>
                <a:gd name="connsiteY241" fmla="*/ 156210 h 160020"/>
                <a:gd name="connsiteX242" fmla="*/ 48577 w 1547812"/>
                <a:gd name="connsiteY242" fmla="*/ 159068 h 160020"/>
                <a:gd name="connsiteX243" fmla="*/ 77152 w 1547812"/>
                <a:gd name="connsiteY243" fmla="*/ 152400 h 160020"/>
                <a:gd name="connsiteX244" fmla="*/ 97155 w 1547812"/>
                <a:gd name="connsiteY244" fmla="*/ 136208 h 160020"/>
                <a:gd name="connsiteX245" fmla="*/ 97155 w 1547812"/>
                <a:gd name="connsiteY245" fmla="*/ 155258 h 1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47812" h="160020">
                  <a:moveTo>
                    <a:pt x="1329690" y="155258"/>
                  </a:moveTo>
                  <a:lnTo>
                    <a:pt x="1369695" y="155258"/>
                  </a:lnTo>
                  <a:lnTo>
                    <a:pt x="1369695" y="65723"/>
                  </a:lnTo>
                  <a:cubicBezTo>
                    <a:pt x="1369695" y="60960"/>
                    <a:pt x="1370648" y="57150"/>
                    <a:pt x="1372553" y="53340"/>
                  </a:cubicBezTo>
                  <a:cubicBezTo>
                    <a:pt x="1374458" y="49530"/>
                    <a:pt x="1376363" y="46672"/>
                    <a:pt x="1379220" y="43815"/>
                  </a:cubicBezTo>
                  <a:cubicBezTo>
                    <a:pt x="1382078" y="40958"/>
                    <a:pt x="1385888" y="38100"/>
                    <a:pt x="1388745" y="37147"/>
                  </a:cubicBezTo>
                  <a:cubicBezTo>
                    <a:pt x="1392555" y="36195"/>
                    <a:pt x="1395413" y="35243"/>
                    <a:pt x="1400175" y="35243"/>
                  </a:cubicBezTo>
                  <a:cubicBezTo>
                    <a:pt x="1403033" y="35243"/>
                    <a:pt x="1404938" y="35243"/>
                    <a:pt x="1407795" y="36195"/>
                  </a:cubicBezTo>
                  <a:cubicBezTo>
                    <a:pt x="1409700" y="37147"/>
                    <a:pt x="1411605" y="38100"/>
                    <a:pt x="1413510" y="40005"/>
                  </a:cubicBezTo>
                  <a:cubicBezTo>
                    <a:pt x="1415415" y="41910"/>
                    <a:pt x="1416368" y="44768"/>
                    <a:pt x="1417320" y="47625"/>
                  </a:cubicBezTo>
                  <a:cubicBezTo>
                    <a:pt x="1418273" y="51435"/>
                    <a:pt x="1419225" y="55245"/>
                    <a:pt x="1419225" y="60960"/>
                  </a:cubicBezTo>
                  <a:lnTo>
                    <a:pt x="1419225" y="155258"/>
                  </a:lnTo>
                  <a:lnTo>
                    <a:pt x="1459230" y="155258"/>
                  </a:lnTo>
                  <a:lnTo>
                    <a:pt x="1459230" y="63818"/>
                  </a:lnTo>
                  <a:cubicBezTo>
                    <a:pt x="1459230" y="60008"/>
                    <a:pt x="1460183" y="56197"/>
                    <a:pt x="1462088" y="53340"/>
                  </a:cubicBezTo>
                  <a:cubicBezTo>
                    <a:pt x="1463993" y="49530"/>
                    <a:pt x="1465898" y="46672"/>
                    <a:pt x="1468755" y="43815"/>
                  </a:cubicBezTo>
                  <a:cubicBezTo>
                    <a:pt x="1471613" y="40958"/>
                    <a:pt x="1475423" y="38100"/>
                    <a:pt x="1478280" y="37147"/>
                  </a:cubicBezTo>
                  <a:cubicBezTo>
                    <a:pt x="1481138" y="36195"/>
                    <a:pt x="1484948" y="35243"/>
                    <a:pt x="1489710" y="35243"/>
                  </a:cubicBezTo>
                  <a:cubicBezTo>
                    <a:pt x="1492568" y="35243"/>
                    <a:pt x="1494473" y="35243"/>
                    <a:pt x="1497330" y="36195"/>
                  </a:cubicBezTo>
                  <a:cubicBezTo>
                    <a:pt x="1499235" y="37147"/>
                    <a:pt x="1501140" y="38100"/>
                    <a:pt x="1503045" y="40005"/>
                  </a:cubicBezTo>
                  <a:cubicBezTo>
                    <a:pt x="1504950" y="41910"/>
                    <a:pt x="1505903" y="44768"/>
                    <a:pt x="1506855" y="47625"/>
                  </a:cubicBezTo>
                  <a:cubicBezTo>
                    <a:pt x="1507808" y="51435"/>
                    <a:pt x="1507808" y="55245"/>
                    <a:pt x="1507808" y="60960"/>
                  </a:cubicBezTo>
                  <a:lnTo>
                    <a:pt x="1507808" y="155258"/>
                  </a:lnTo>
                  <a:lnTo>
                    <a:pt x="1547813" y="155258"/>
                  </a:lnTo>
                  <a:lnTo>
                    <a:pt x="1547813" y="55245"/>
                  </a:lnTo>
                  <a:cubicBezTo>
                    <a:pt x="1547813" y="36195"/>
                    <a:pt x="1544003" y="22860"/>
                    <a:pt x="1536383" y="14288"/>
                  </a:cubicBezTo>
                  <a:cubicBezTo>
                    <a:pt x="1528763" y="5715"/>
                    <a:pt x="1517333" y="1905"/>
                    <a:pt x="1502093" y="1905"/>
                  </a:cubicBezTo>
                  <a:cubicBezTo>
                    <a:pt x="1492568" y="1905"/>
                    <a:pt x="1484948" y="3810"/>
                    <a:pt x="1477328" y="7620"/>
                  </a:cubicBezTo>
                  <a:cubicBezTo>
                    <a:pt x="1469708" y="11430"/>
                    <a:pt x="1462088" y="18098"/>
                    <a:pt x="1455420" y="27623"/>
                  </a:cubicBezTo>
                  <a:cubicBezTo>
                    <a:pt x="1452563" y="19050"/>
                    <a:pt x="1447800" y="12383"/>
                    <a:pt x="1441133" y="8573"/>
                  </a:cubicBezTo>
                  <a:cubicBezTo>
                    <a:pt x="1434465" y="4763"/>
                    <a:pt x="1425893" y="1905"/>
                    <a:pt x="1414463" y="1905"/>
                  </a:cubicBezTo>
                  <a:cubicBezTo>
                    <a:pt x="1405890" y="1905"/>
                    <a:pt x="1398270" y="3810"/>
                    <a:pt x="1390650" y="7620"/>
                  </a:cubicBezTo>
                  <a:cubicBezTo>
                    <a:pt x="1383030" y="11430"/>
                    <a:pt x="1376363" y="18098"/>
                    <a:pt x="1371600" y="25718"/>
                  </a:cubicBezTo>
                  <a:lnTo>
                    <a:pt x="1371600" y="5715"/>
                  </a:lnTo>
                  <a:lnTo>
                    <a:pt x="1332548" y="5715"/>
                  </a:lnTo>
                  <a:lnTo>
                    <a:pt x="1332548" y="155258"/>
                  </a:lnTo>
                  <a:close/>
                  <a:moveTo>
                    <a:pt x="1199198" y="116205"/>
                  </a:moveTo>
                  <a:cubicBezTo>
                    <a:pt x="1193483" y="108585"/>
                    <a:pt x="1190625" y="96203"/>
                    <a:pt x="1190625" y="80963"/>
                  </a:cubicBezTo>
                  <a:cubicBezTo>
                    <a:pt x="1190625" y="65723"/>
                    <a:pt x="1193483" y="54293"/>
                    <a:pt x="1199198" y="45720"/>
                  </a:cubicBezTo>
                  <a:cubicBezTo>
                    <a:pt x="1204913" y="37147"/>
                    <a:pt x="1213485" y="33338"/>
                    <a:pt x="1224915" y="33338"/>
                  </a:cubicBezTo>
                  <a:cubicBezTo>
                    <a:pt x="1236345" y="33338"/>
                    <a:pt x="1244918" y="37147"/>
                    <a:pt x="1250633" y="45720"/>
                  </a:cubicBezTo>
                  <a:cubicBezTo>
                    <a:pt x="1256348" y="54293"/>
                    <a:pt x="1259205" y="65723"/>
                    <a:pt x="1259205" y="80963"/>
                  </a:cubicBezTo>
                  <a:cubicBezTo>
                    <a:pt x="1259205" y="96203"/>
                    <a:pt x="1256348" y="107633"/>
                    <a:pt x="1250633" y="116205"/>
                  </a:cubicBezTo>
                  <a:cubicBezTo>
                    <a:pt x="1244918" y="124778"/>
                    <a:pt x="1236345" y="128588"/>
                    <a:pt x="1224915" y="128588"/>
                  </a:cubicBezTo>
                  <a:cubicBezTo>
                    <a:pt x="1213485" y="127635"/>
                    <a:pt x="1204913" y="123825"/>
                    <a:pt x="1199198" y="116205"/>
                  </a:cubicBezTo>
                  <a:moveTo>
                    <a:pt x="1256348" y="154305"/>
                  </a:moveTo>
                  <a:cubicBezTo>
                    <a:pt x="1265873" y="150495"/>
                    <a:pt x="1273493" y="145733"/>
                    <a:pt x="1280160" y="138113"/>
                  </a:cubicBezTo>
                  <a:cubicBezTo>
                    <a:pt x="1286828" y="131445"/>
                    <a:pt x="1291590" y="122873"/>
                    <a:pt x="1295400" y="113348"/>
                  </a:cubicBezTo>
                  <a:cubicBezTo>
                    <a:pt x="1299210" y="103823"/>
                    <a:pt x="1301115" y="92393"/>
                    <a:pt x="1301115" y="80010"/>
                  </a:cubicBezTo>
                  <a:cubicBezTo>
                    <a:pt x="1301115" y="67628"/>
                    <a:pt x="1299210" y="57150"/>
                    <a:pt x="1296353" y="46672"/>
                  </a:cubicBezTo>
                  <a:cubicBezTo>
                    <a:pt x="1293495" y="36195"/>
                    <a:pt x="1287780" y="28575"/>
                    <a:pt x="1281113" y="21908"/>
                  </a:cubicBezTo>
                  <a:cubicBezTo>
                    <a:pt x="1274445" y="15240"/>
                    <a:pt x="1266825" y="9525"/>
                    <a:pt x="1257300" y="6668"/>
                  </a:cubicBezTo>
                  <a:cubicBezTo>
                    <a:pt x="1247775" y="2858"/>
                    <a:pt x="1237298" y="953"/>
                    <a:pt x="1225868" y="953"/>
                  </a:cubicBezTo>
                  <a:cubicBezTo>
                    <a:pt x="1214438" y="953"/>
                    <a:pt x="1203960" y="2858"/>
                    <a:pt x="1194435" y="6668"/>
                  </a:cubicBezTo>
                  <a:cubicBezTo>
                    <a:pt x="1184910" y="10478"/>
                    <a:pt x="1177290" y="15240"/>
                    <a:pt x="1170623" y="21908"/>
                  </a:cubicBezTo>
                  <a:cubicBezTo>
                    <a:pt x="1163955" y="28575"/>
                    <a:pt x="1159193" y="37147"/>
                    <a:pt x="1155383" y="46672"/>
                  </a:cubicBezTo>
                  <a:cubicBezTo>
                    <a:pt x="1151573" y="56197"/>
                    <a:pt x="1149668" y="67628"/>
                    <a:pt x="1149668" y="80010"/>
                  </a:cubicBezTo>
                  <a:cubicBezTo>
                    <a:pt x="1149668" y="105728"/>
                    <a:pt x="1156335" y="124778"/>
                    <a:pt x="1169670" y="139065"/>
                  </a:cubicBezTo>
                  <a:cubicBezTo>
                    <a:pt x="1183005" y="152400"/>
                    <a:pt x="1201103" y="160020"/>
                    <a:pt x="1225868" y="160020"/>
                  </a:cubicBezTo>
                  <a:cubicBezTo>
                    <a:pt x="1236345" y="160020"/>
                    <a:pt x="1246823" y="158115"/>
                    <a:pt x="1256348" y="154305"/>
                  </a:cubicBezTo>
                  <a:moveTo>
                    <a:pt x="1086803" y="100965"/>
                  </a:moveTo>
                  <a:cubicBezTo>
                    <a:pt x="1085850" y="109538"/>
                    <a:pt x="1083945" y="116205"/>
                    <a:pt x="1079183" y="120968"/>
                  </a:cubicBezTo>
                  <a:cubicBezTo>
                    <a:pt x="1074420" y="125730"/>
                    <a:pt x="1068705" y="127635"/>
                    <a:pt x="1061085" y="127635"/>
                  </a:cubicBezTo>
                  <a:cubicBezTo>
                    <a:pt x="1055370" y="127635"/>
                    <a:pt x="1049655" y="126683"/>
                    <a:pt x="1045845" y="123825"/>
                  </a:cubicBezTo>
                  <a:cubicBezTo>
                    <a:pt x="1042035" y="120968"/>
                    <a:pt x="1038225" y="118110"/>
                    <a:pt x="1036320" y="113348"/>
                  </a:cubicBezTo>
                  <a:cubicBezTo>
                    <a:pt x="1034415" y="108585"/>
                    <a:pt x="1032510" y="103823"/>
                    <a:pt x="1031558" y="98108"/>
                  </a:cubicBezTo>
                  <a:cubicBezTo>
                    <a:pt x="1030605" y="92393"/>
                    <a:pt x="1029653" y="86678"/>
                    <a:pt x="1029653" y="80010"/>
                  </a:cubicBezTo>
                  <a:cubicBezTo>
                    <a:pt x="1029653" y="74295"/>
                    <a:pt x="1030605" y="67628"/>
                    <a:pt x="1031558" y="62865"/>
                  </a:cubicBezTo>
                  <a:cubicBezTo>
                    <a:pt x="1032510" y="57150"/>
                    <a:pt x="1034415" y="52388"/>
                    <a:pt x="1036320" y="47625"/>
                  </a:cubicBezTo>
                  <a:cubicBezTo>
                    <a:pt x="1038225" y="42863"/>
                    <a:pt x="1042035" y="40005"/>
                    <a:pt x="1045845" y="37147"/>
                  </a:cubicBezTo>
                  <a:cubicBezTo>
                    <a:pt x="1049655" y="34290"/>
                    <a:pt x="1054418" y="33338"/>
                    <a:pt x="1061085" y="33338"/>
                  </a:cubicBezTo>
                  <a:cubicBezTo>
                    <a:pt x="1069658" y="33338"/>
                    <a:pt x="1075373" y="35243"/>
                    <a:pt x="1079183" y="40005"/>
                  </a:cubicBezTo>
                  <a:cubicBezTo>
                    <a:pt x="1082993" y="44768"/>
                    <a:pt x="1084898" y="50483"/>
                    <a:pt x="1085850" y="58103"/>
                  </a:cubicBezTo>
                  <a:lnTo>
                    <a:pt x="1125855" y="52388"/>
                  </a:lnTo>
                  <a:cubicBezTo>
                    <a:pt x="1124903" y="44768"/>
                    <a:pt x="1122998" y="38100"/>
                    <a:pt x="1120140" y="31433"/>
                  </a:cubicBezTo>
                  <a:cubicBezTo>
                    <a:pt x="1117283" y="24765"/>
                    <a:pt x="1113473" y="20003"/>
                    <a:pt x="1107758" y="15240"/>
                  </a:cubicBezTo>
                  <a:cubicBezTo>
                    <a:pt x="1102995" y="10478"/>
                    <a:pt x="1096328" y="6668"/>
                    <a:pt x="1088708" y="4763"/>
                  </a:cubicBezTo>
                  <a:cubicBezTo>
                    <a:pt x="1081088" y="1905"/>
                    <a:pt x="1072515" y="953"/>
                    <a:pt x="1062038" y="953"/>
                  </a:cubicBezTo>
                  <a:cubicBezTo>
                    <a:pt x="1050608" y="953"/>
                    <a:pt x="1040130" y="2858"/>
                    <a:pt x="1030605" y="6668"/>
                  </a:cubicBezTo>
                  <a:cubicBezTo>
                    <a:pt x="1021080" y="10478"/>
                    <a:pt x="1013460" y="16193"/>
                    <a:pt x="1007745" y="22860"/>
                  </a:cubicBezTo>
                  <a:cubicBezTo>
                    <a:pt x="1001078" y="29528"/>
                    <a:pt x="996315" y="38100"/>
                    <a:pt x="993458" y="47625"/>
                  </a:cubicBezTo>
                  <a:cubicBezTo>
                    <a:pt x="990600" y="57150"/>
                    <a:pt x="988695" y="68580"/>
                    <a:pt x="988695" y="80010"/>
                  </a:cubicBezTo>
                  <a:cubicBezTo>
                    <a:pt x="988695" y="91440"/>
                    <a:pt x="989647" y="102870"/>
                    <a:pt x="992505" y="112395"/>
                  </a:cubicBezTo>
                  <a:cubicBezTo>
                    <a:pt x="995363" y="121920"/>
                    <a:pt x="1000125" y="130493"/>
                    <a:pt x="1005840" y="137160"/>
                  </a:cubicBezTo>
                  <a:cubicBezTo>
                    <a:pt x="1011555" y="143828"/>
                    <a:pt x="1019175" y="149543"/>
                    <a:pt x="1028700" y="153353"/>
                  </a:cubicBezTo>
                  <a:cubicBezTo>
                    <a:pt x="1038225" y="157163"/>
                    <a:pt x="1048703" y="159068"/>
                    <a:pt x="1061085" y="159068"/>
                  </a:cubicBezTo>
                  <a:cubicBezTo>
                    <a:pt x="1082993" y="159068"/>
                    <a:pt x="1099185" y="153353"/>
                    <a:pt x="1109663" y="142875"/>
                  </a:cubicBezTo>
                  <a:cubicBezTo>
                    <a:pt x="1120140" y="132398"/>
                    <a:pt x="1126808" y="118110"/>
                    <a:pt x="1127760" y="100013"/>
                  </a:cubicBezTo>
                  <a:lnTo>
                    <a:pt x="1086803" y="100013"/>
                  </a:lnTo>
                  <a:close/>
                  <a:moveTo>
                    <a:pt x="921068" y="155258"/>
                  </a:moveTo>
                  <a:lnTo>
                    <a:pt x="962025" y="155258"/>
                  </a:lnTo>
                  <a:lnTo>
                    <a:pt x="962025" y="109538"/>
                  </a:lnTo>
                  <a:lnTo>
                    <a:pt x="921068" y="109538"/>
                  </a:lnTo>
                  <a:lnTo>
                    <a:pt x="921068" y="155258"/>
                  </a:lnTo>
                  <a:close/>
                  <a:moveTo>
                    <a:pt x="671513" y="155258"/>
                  </a:moveTo>
                  <a:lnTo>
                    <a:pt x="711518" y="155258"/>
                  </a:lnTo>
                  <a:lnTo>
                    <a:pt x="711518" y="65723"/>
                  </a:lnTo>
                  <a:cubicBezTo>
                    <a:pt x="711518" y="60960"/>
                    <a:pt x="712470" y="57150"/>
                    <a:pt x="714375" y="53340"/>
                  </a:cubicBezTo>
                  <a:cubicBezTo>
                    <a:pt x="716280" y="49530"/>
                    <a:pt x="718185" y="46672"/>
                    <a:pt x="721043" y="43815"/>
                  </a:cubicBezTo>
                  <a:cubicBezTo>
                    <a:pt x="723900" y="40958"/>
                    <a:pt x="727710" y="38100"/>
                    <a:pt x="730568" y="37147"/>
                  </a:cubicBezTo>
                  <a:cubicBezTo>
                    <a:pt x="734378" y="36195"/>
                    <a:pt x="737235" y="35243"/>
                    <a:pt x="741998" y="35243"/>
                  </a:cubicBezTo>
                  <a:cubicBezTo>
                    <a:pt x="744855" y="35243"/>
                    <a:pt x="746760" y="35243"/>
                    <a:pt x="749618" y="36195"/>
                  </a:cubicBezTo>
                  <a:cubicBezTo>
                    <a:pt x="751523" y="37147"/>
                    <a:pt x="753428" y="38100"/>
                    <a:pt x="755333" y="40005"/>
                  </a:cubicBezTo>
                  <a:cubicBezTo>
                    <a:pt x="757238" y="41910"/>
                    <a:pt x="758190" y="44768"/>
                    <a:pt x="759143" y="47625"/>
                  </a:cubicBezTo>
                  <a:cubicBezTo>
                    <a:pt x="760095" y="51435"/>
                    <a:pt x="761048" y="55245"/>
                    <a:pt x="761048" y="60960"/>
                  </a:cubicBezTo>
                  <a:lnTo>
                    <a:pt x="761048" y="155258"/>
                  </a:lnTo>
                  <a:lnTo>
                    <a:pt x="801053" y="155258"/>
                  </a:lnTo>
                  <a:lnTo>
                    <a:pt x="801053" y="63818"/>
                  </a:lnTo>
                  <a:cubicBezTo>
                    <a:pt x="801053" y="60008"/>
                    <a:pt x="802005" y="56197"/>
                    <a:pt x="803910" y="53340"/>
                  </a:cubicBezTo>
                  <a:cubicBezTo>
                    <a:pt x="805815" y="49530"/>
                    <a:pt x="807720" y="46672"/>
                    <a:pt x="810578" y="43815"/>
                  </a:cubicBezTo>
                  <a:cubicBezTo>
                    <a:pt x="813435" y="40958"/>
                    <a:pt x="817245" y="38100"/>
                    <a:pt x="820103" y="37147"/>
                  </a:cubicBezTo>
                  <a:cubicBezTo>
                    <a:pt x="822960" y="36195"/>
                    <a:pt x="826770" y="35243"/>
                    <a:pt x="831533" y="35243"/>
                  </a:cubicBezTo>
                  <a:cubicBezTo>
                    <a:pt x="834390" y="35243"/>
                    <a:pt x="836295" y="35243"/>
                    <a:pt x="839153" y="36195"/>
                  </a:cubicBezTo>
                  <a:cubicBezTo>
                    <a:pt x="841058" y="37147"/>
                    <a:pt x="842963" y="38100"/>
                    <a:pt x="844868" y="40005"/>
                  </a:cubicBezTo>
                  <a:cubicBezTo>
                    <a:pt x="846772" y="41910"/>
                    <a:pt x="847725" y="44768"/>
                    <a:pt x="848678" y="47625"/>
                  </a:cubicBezTo>
                  <a:cubicBezTo>
                    <a:pt x="849630" y="51435"/>
                    <a:pt x="849630" y="55245"/>
                    <a:pt x="849630" y="60960"/>
                  </a:cubicBezTo>
                  <a:lnTo>
                    <a:pt x="849630" y="155258"/>
                  </a:lnTo>
                  <a:lnTo>
                    <a:pt x="889635" y="155258"/>
                  </a:lnTo>
                  <a:lnTo>
                    <a:pt x="889635" y="55245"/>
                  </a:lnTo>
                  <a:cubicBezTo>
                    <a:pt x="889635" y="36195"/>
                    <a:pt x="885825" y="22860"/>
                    <a:pt x="878205" y="14288"/>
                  </a:cubicBezTo>
                  <a:cubicBezTo>
                    <a:pt x="870585" y="5715"/>
                    <a:pt x="859155" y="1905"/>
                    <a:pt x="843915" y="1905"/>
                  </a:cubicBezTo>
                  <a:cubicBezTo>
                    <a:pt x="834390" y="1905"/>
                    <a:pt x="826770" y="3810"/>
                    <a:pt x="819150" y="7620"/>
                  </a:cubicBezTo>
                  <a:cubicBezTo>
                    <a:pt x="811530" y="11430"/>
                    <a:pt x="803910" y="18098"/>
                    <a:pt x="797243" y="27623"/>
                  </a:cubicBezTo>
                  <a:cubicBezTo>
                    <a:pt x="794385" y="19050"/>
                    <a:pt x="789623" y="12383"/>
                    <a:pt x="782955" y="8573"/>
                  </a:cubicBezTo>
                  <a:cubicBezTo>
                    <a:pt x="776288" y="4763"/>
                    <a:pt x="766763" y="1905"/>
                    <a:pt x="756285" y="1905"/>
                  </a:cubicBezTo>
                  <a:cubicBezTo>
                    <a:pt x="747713" y="1905"/>
                    <a:pt x="740093" y="3810"/>
                    <a:pt x="732473" y="7620"/>
                  </a:cubicBezTo>
                  <a:cubicBezTo>
                    <a:pt x="724853" y="11430"/>
                    <a:pt x="718185" y="18098"/>
                    <a:pt x="713423" y="25718"/>
                  </a:cubicBezTo>
                  <a:lnTo>
                    <a:pt x="713423" y="5715"/>
                  </a:lnTo>
                  <a:lnTo>
                    <a:pt x="674370" y="5715"/>
                  </a:lnTo>
                  <a:lnTo>
                    <a:pt x="674370" y="155258"/>
                  </a:lnTo>
                  <a:close/>
                  <a:moveTo>
                    <a:pt x="541973" y="116205"/>
                  </a:moveTo>
                  <a:cubicBezTo>
                    <a:pt x="536258" y="108585"/>
                    <a:pt x="533400" y="96203"/>
                    <a:pt x="533400" y="80963"/>
                  </a:cubicBezTo>
                  <a:cubicBezTo>
                    <a:pt x="533400" y="65723"/>
                    <a:pt x="536258" y="54293"/>
                    <a:pt x="541973" y="45720"/>
                  </a:cubicBezTo>
                  <a:cubicBezTo>
                    <a:pt x="547688" y="38100"/>
                    <a:pt x="556260" y="33338"/>
                    <a:pt x="567690" y="33338"/>
                  </a:cubicBezTo>
                  <a:cubicBezTo>
                    <a:pt x="579120" y="33338"/>
                    <a:pt x="587693" y="37147"/>
                    <a:pt x="593408" y="45720"/>
                  </a:cubicBezTo>
                  <a:cubicBezTo>
                    <a:pt x="599123" y="53340"/>
                    <a:pt x="601980" y="65723"/>
                    <a:pt x="601980" y="80963"/>
                  </a:cubicBezTo>
                  <a:cubicBezTo>
                    <a:pt x="601980" y="96203"/>
                    <a:pt x="599123" y="107633"/>
                    <a:pt x="593408" y="116205"/>
                  </a:cubicBezTo>
                  <a:cubicBezTo>
                    <a:pt x="587693" y="124778"/>
                    <a:pt x="579120" y="128588"/>
                    <a:pt x="567690" y="128588"/>
                  </a:cubicBezTo>
                  <a:cubicBezTo>
                    <a:pt x="555308" y="127635"/>
                    <a:pt x="546735" y="123825"/>
                    <a:pt x="541973" y="116205"/>
                  </a:cubicBezTo>
                  <a:moveTo>
                    <a:pt x="598170" y="154305"/>
                  </a:moveTo>
                  <a:cubicBezTo>
                    <a:pt x="607695" y="150495"/>
                    <a:pt x="615315" y="145733"/>
                    <a:pt x="621983" y="138113"/>
                  </a:cubicBezTo>
                  <a:cubicBezTo>
                    <a:pt x="628650" y="131445"/>
                    <a:pt x="633413" y="122873"/>
                    <a:pt x="637223" y="113348"/>
                  </a:cubicBezTo>
                  <a:cubicBezTo>
                    <a:pt x="641033" y="103823"/>
                    <a:pt x="642938" y="92393"/>
                    <a:pt x="642938" y="80010"/>
                  </a:cubicBezTo>
                  <a:cubicBezTo>
                    <a:pt x="642938" y="67628"/>
                    <a:pt x="641033" y="57150"/>
                    <a:pt x="638175" y="46672"/>
                  </a:cubicBezTo>
                  <a:cubicBezTo>
                    <a:pt x="635318" y="36195"/>
                    <a:pt x="629603" y="28575"/>
                    <a:pt x="622935" y="21908"/>
                  </a:cubicBezTo>
                  <a:cubicBezTo>
                    <a:pt x="616268" y="15240"/>
                    <a:pt x="608648" y="9525"/>
                    <a:pt x="599123" y="6668"/>
                  </a:cubicBezTo>
                  <a:cubicBezTo>
                    <a:pt x="589598" y="2858"/>
                    <a:pt x="579120" y="953"/>
                    <a:pt x="567690" y="953"/>
                  </a:cubicBezTo>
                  <a:cubicBezTo>
                    <a:pt x="556260" y="953"/>
                    <a:pt x="545783" y="2858"/>
                    <a:pt x="536258" y="6668"/>
                  </a:cubicBezTo>
                  <a:cubicBezTo>
                    <a:pt x="526733" y="10478"/>
                    <a:pt x="519113" y="15240"/>
                    <a:pt x="512445" y="21908"/>
                  </a:cubicBezTo>
                  <a:cubicBezTo>
                    <a:pt x="505778" y="28575"/>
                    <a:pt x="501015" y="37147"/>
                    <a:pt x="497205" y="46672"/>
                  </a:cubicBezTo>
                  <a:cubicBezTo>
                    <a:pt x="493395" y="56197"/>
                    <a:pt x="491490" y="67628"/>
                    <a:pt x="491490" y="80010"/>
                  </a:cubicBezTo>
                  <a:cubicBezTo>
                    <a:pt x="491490" y="105728"/>
                    <a:pt x="498158" y="124778"/>
                    <a:pt x="511492" y="139065"/>
                  </a:cubicBezTo>
                  <a:cubicBezTo>
                    <a:pt x="524828" y="152400"/>
                    <a:pt x="542925" y="160020"/>
                    <a:pt x="566738" y="160020"/>
                  </a:cubicBezTo>
                  <a:cubicBezTo>
                    <a:pt x="579120" y="160020"/>
                    <a:pt x="589598" y="158115"/>
                    <a:pt x="598170" y="154305"/>
                  </a:cubicBezTo>
                  <a:moveTo>
                    <a:pt x="429578" y="100965"/>
                  </a:moveTo>
                  <a:cubicBezTo>
                    <a:pt x="428625" y="109538"/>
                    <a:pt x="425767" y="116205"/>
                    <a:pt x="421958" y="120968"/>
                  </a:cubicBezTo>
                  <a:cubicBezTo>
                    <a:pt x="417195" y="125730"/>
                    <a:pt x="411480" y="127635"/>
                    <a:pt x="403860" y="127635"/>
                  </a:cubicBezTo>
                  <a:cubicBezTo>
                    <a:pt x="398145" y="127635"/>
                    <a:pt x="392430" y="126683"/>
                    <a:pt x="388620" y="123825"/>
                  </a:cubicBezTo>
                  <a:cubicBezTo>
                    <a:pt x="384810" y="120968"/>
                    <a:pt x="381000" y="118110"/>
                    <a:pt x="379095" y="113348"/>
                  </a:cubicBezTo>
                  <a:cubicBezTo>
                    <a:pt x="377190" y="108585"/>
                    <a:pt x="375285" y="103823"/>
                    <a:pt x="374333" y="98108"/>
                  </a:cubicBezTo>
                  <a:cubicBezTo>
                    <a:pt x="373380" y="92393"/>
                    <a:pt x="372428" y="86678"/>
                    <a:pt x="372428" y="80010"/>
                  </a:cubicBezTo>
                  <a:cubicBezTo>
                    <a:pt x="372428" y="74295"/>
                    <a:pt x="373380" y="67628"/>
                    <a:pt x="374333" y="62865"/>
                  </a:cubicBezTo>
                  <a:cubicBezTo>
                    <a:pt x="375285" y="57150"/>
                    <a:pt x="377190" y="52388"/>
                    <a:pt x="379095" y="47625"/>
                  </a:cubicBezTo>
                  <a:cubicBezTo>
                    <a:pt x="381000" y="42863"/>
                    <a:pt x="384810" y="40005"/>
                    <a:pt x="388620" y="37147"/>
                  </a:cubicBezTo>
                  <a:cubicBezTo>
                    <a:pt x="392430" y="34290"/>
                    <a:pt x="398145" y="33338"/>
                    <a:pt x="403860" y="33338"/>
                  </a:cubicBezTo>
                  <a:cubicBezTo>
                    <a:pt x="412433" y="33338"/>
                    <a:pt x="418148" y="35243"/>
                    <a:pt x="421958" y="40005"/>
                  </a:cubicBezTo>
                  <a:cubicBezTo>
                    <a:pt x="425767" y="44768"/>
                    <a:pt x="427673" y="50483"/>
                    <a:pt x="428625" y="58103"/>
                  </a:cubicBezTo>
                  <a:lnTo>
                    <a:pt x="468630" y="52388"/>
                  </a:lnTo>
                  <a:cubicBezTo>
                    <a:pt x="467678" y="44768"/>
                    <a:pt x="465773" y="38100"/>
                    <a:pt x="462915" y="31433"/>
                  </a:cubicBezTo>
                  <a:cubicBezTo>
                    <a:pt x="460058" y="24765"/>
                    <a:pt x="456248" y="20003"/>
                    <a:pt x="450533" y="15240"/>
                  </a:cubicBezTo>
                  <a:cubicBezTo>
                    <a:pt x="445770" y="10478"/>
                    <a:pt x="439103" y="6668"/>
                    <a:pt x="431483" y="4763"/>
                  </a:cubicBezTo>
                  <a:cubicBezTo>
                    <a:pt x="423863" y="1905"/>
                    <a:pt x="415290" y="953"/>
                    <a:pt x="404813" y="953"/>
                  </a:cubicBezTo>
                  <a:cubicBezTo>
                    <a:pt x="393383" y="953"/>
                    <a:pt x="382905" y="2858"/>
                    <a:pt x="373380" y="6668"/>
                  </a:cubicBezTo>
                  <a:cubicBezTo>
                    <a:pt x="363855" y="10478"/>
                    <a:pt x="356235" y="16193"/>
                    <a:pt x="350520" y="22860"/>
                  </a:cubicBezTo>
                  <a:cubicBezTo>
                    <a:pt x="343853" y="29528"/>
                    <a:pt x="339090" y="38100"/>
                    <a:pt x="336233" y="47625"/>
                  </a:cubicBezTo>
                  <a:cubicBezTo>
                    <a:pt x="333375" y="57150"/>
                    <a:pt x="331470" y="68580"/>
                    <a:pt x="331470" y="80010"/>
                  </a:cubicBezTo>
                  <a:cubicBezTo>
                    <a:pt x="331470" y="91440"/>
                    <a:pt x="333375" y="102870"/>
                    <a:pt x="336233" y="112395"/>
                  </a:cubicBezTo>
                  <a:cubicBezTo>
                    <a:pt x="339090" y="121920"/>
                    <a:pt x="343853" y="130493"/>
                    <a:pt x="349567" y="137160"/>
                  </a:cubicBezTo>
                  <a:cubicBezTo>
                    <a:pt x="355283" y="143828"/>
                    <a:pt x="362903" y="149543"/>
                    <a:pt x="372428" y="153353"/>
                  </a:cubicBezTo>
                  <a:cubicBezTo>
                    <a:pt x="381953" y="157163"/>
                    <a:pt x="392430" y="159068"/>
                    <a:pt x="404813" y="159068"/>
                  </a:cubicBezTo>
                  <a:cubicBezTo>
                    <a:pt x="426720" y="159068"/>
                    <a:pt x="442913" y="153353"/>
                    <a:pt x="453390" y="142875"/>
                  </a:cubicBezTo>
                  <a:cubicBezTo>
                    <a:pt x="463867" y="132398"/>
                    <a:pt x="470535" y="118110"/>
                    <a:pt x="471488" y="100013"/>
                  </a:cubicBezTo>
                  <a:lnTo>
                    <a:pt x="429578" y="100013"/>
                  </a:lnTo>
                  <a:close/>
                  <a:moveTo>
                    <a:pt x="203835" y="63818"/>
                  </a:moveTo>
                  <a:cubicBezTo>
                    <a:pt x="203835" y="59055"/>
                    <a:pt x="204788" y="55245"/>
                    <a:pt x="206692" y="51435"/>
                  </a:cubicBezTo>
                  <a:cubicBezTo>
                    <a:pt x="208598" y="47625"/>
                    <a:pt x="210502" y="43815"/>
                    <a:pt x="213360" y="40958"/>
                  </a:cubicBezTo>
                  <a:cubicBezTo>
                    <a:pt x="216217" y="38100"/>
                    <a:pt x="219075" y="35243"/>
                    <a:pt x="223838" y="34290"/>
                  </a:cubicBezTo>
                  <a:cubicBezTo>
                    <a:pt x="227648" y="32385"/>
                    <a:pt x="232410" y="31433"/>
                    <a:pt x="238125" y="31433"/>
                  </a:cubicBezTo>
                  <a:cubicBezTo>
                    <a:pt x="248602" y="31433"/>
                    <a:pt x="256223" y="34290"/>
                    <a:pt x="261938" y="40005"/>
                  </a:cubicBezTo>
                  <a:cubicBezTo>
                    <a:pt x="266700" y="45720"/>
                    <a:pt x="269558" y="53340"/>
                    <a:pt x="269558" y="63818"/>
                  </a:cubicBezTo>
                  <a:lnTo>
                    <a:pt x="203835" y="63818"/>
                  </a:lnTo>
                  <a:close/>
                  <a:moveTo>
                    <a:pt x="266700" y="108585"/>
                  </a:moveTo>
                  <a:cubicBezTo>
                    <a:pt x="263842" y="121920"/>
                    <a:pt x="254317" y="128588"/>
                    <a:pt x="239077" y="128588"/>
                  </a:cubicBezTo>
                  <a:cubicBezTo>
                    <a:pt x="227648" y="128588"/>
                    <a:pt x="219075" y="124778"/>
                    <a:pt x="213360" y="118110"/>
                  </a:cubicBezTo>
                  <a:cubicBezTo>
                    <a:pt x="207645" y="111443"/>
                    <a:pt x="204788" y="101918"/>
                    <a:pt x="203835" y="89535"/>
                  </a:cubicBezTo>
                  <a:lnTo>
                    <a:pt x="307658" y="89535"/>
                  </a:lnTo>
                  <a:lnTo>
                    <a:pt x="307658" y="73343"/>
                  </a:lnTo>
                  <a:cubicBezTo>
                    <a:pt x="307658" y="51435"/>
                    <a:pt x="301942" y="33338"/>
                    <a:pt x="290513" y="20003"/>
                  </a:cubicBezTo>
                  <a:cubicBezTo>
                    <a:pt x="279083" y="6668"/>
                    <a:pt x="261938" y="0"/>
                    <a:pt x="239077" y="0"/>
                  </a:cubicBezTo>
                  <a:cubicBezTo>
                    <a:pt x="227648" y="0"/>
                    <a:pt x="218123" y="1905"/>
                    <a:pt x="208598" y="5715"/>
                  </a:cubicBezTo>
                  <a:cubicBezTo>
                    <a:pt x="199073" y="9525"/>
                    <a:pt x="191452" y="14288"/>
                    <a:pt x="184785" y="20955"/>
                  </a:cubicBezTo>
                  <a:cubicBezTo>
                    <a:pt x="178118" y="27623"/>
                    <a:pt x="173355" y="36195"/>
                    <a:pt x="169545" y="45720"/>
                  </a:cubicBezTo>
                  <a:cubicBezTo>
                    <a:pt x="165735" y="55245"/>
                    <a:pt x="163830" y="66675"/>
                    <a:pt x="163830" y="79058"/>
                  </a:cubicBezTo>
                  <a:cubicBezTo>
                    <a:pt x="163830" y="103823"/>
                    <a:pt x="170498" y="123825"/>
                    <a:pt x="182880" y="137160"/>
                  </a:cubicBezTo>
                  <a:cubicBezTo>
                    <a:pt x="195263" y="150495"/>
                    <a:pt x="214313" y="158115"/>
                    <a:pt x="239077" y="158115"/>
                  </a:cubicBezTo>
                  <a:cubicBezTo>
                    <a:pt x="260033" y="158115"/>
                    <a:pt x="275273" y="153353"/>
                    <a:pt x="285750" y="144780"/>
                  </a:cubicBezTo>
                  <a:cubicBezTo>
                    <a:pt x="296228" y="136208"/>
                    <a:pt x="302895" y="123825"/>
                    <a:pt x="305753" y="106680"/>
                  </a:cubicBezTo>
                  <a:lnTo>
                    <a:pt x="266700" y="106680"/>
                  </a:lnTo>
                  <a:close/>
                  <a:moveTo>
                    <a:pt x="97155" y="96203"/>
                  </a:moveTo>
                  <a:cubicBezTo>
                    <a:pt x="97155" y="101918"/>
                    <a:pt x="96202" y="107633"/>
                    <a:pt x="93345" y="111443"/>
                  </a:cubicBezTo>
                  <a:cubicBezTo>
                    <a:pt x="91440" y="115253"/>
                    <a:pt x="88582" y="119063"/>
                    <a:pt x="84773" y="121920"/>
                  </a:cubicBezTo>
                  <a:cubicBezTo>
                    <a:pt x="78105" y="126683"/>
                    <a:pt x="69532" y="129540"/>
                    <a:pt x="60007" y="129540"/>
                  </a:cubicBezTo>
                  <a:cubicBezTo>
                    <a:pt x="54293" y="129540"/>
                    <a:pt x="49530" y="127635"/>
                    <a:pt x="45720" y="124778"/>
                  </a:cubicBezTo>
                  <a:cubicBezTo>
                    <a:pt x="41910" y="121920"/>
                    <a:pt x="40957" y="118110"/>
                    <a:pt x="40957" y="113348"/>
                  </a:cubicBezTo>
                  <a:cubicBezTo>
                    <a:pt x="40957" y="110490"/>
                    <a:pt x="40957" y="106680"/>
                    <a:pt x="42863" y="104775"/>
                  </a:cubicBezTo>
                  <a:cubicBezTo>
                    <a:pt x="43815" y="101918"/>
                    <a:pt x="45720" y="100013"/>
                    <a:pt x="48577" y="98108"/>
                  </a:cubicBezTo>
                  <a:cubicBezTo>
                    <a:pt x="51435" y="96203"/>
                    <a:pt x="55245" y="94298"/>
                    <a:pt x="60007" y="93345"/>
                  </a:cubicBezTo>
                  <a:cubicBezTo>
                    <a:pt x="64770" y="92393"/>
                    <a:pt x="72390" y="91440"/>
                    <a:pt x="80010" y="90488"/>
                  </a:cubicBezTo>
                  <a:lnTo>
                    <a:pt x="98107" y="89535"/>
                  </a:lnTo>
                  <a:lnTo>
                    <a:pt x="98107" y="96203"/>
                  </a:lnTo>
                  <a:close/>
                  <a:moveTo>
                    <a:pt x="98107" y="155258"/>
                  </a:moveTo>
                  <a:lnTo>
                    <a:pt x="136208" y="155258"/>
                  </a:lnTo>
                  <a:lnTo>
                    <a:pt x="136208" y="60960"/>
                  </a:lnTo>
                  <a:cubicBezTo>
                    <a:pt x="136208" y="51435"/>
                    <a:pt x="135255" y="43815"/>
                    <a:pt x="133350" y="36195"/>
                  </a:cubicBezTo>
                  <a:cubicBezTo>
                    <a:pt x="131445" y="28575"/>
                    <a:pt x="127635" y="22860"/>
                    <a:pt x="122873" y="17145"/>
                  </a:cubicBezTo>
                  <a:cubicBezTo>
                    <a:pt x="118110" y="12383"/>
                    <a:pt x="111443" y="7620"/>
                    <a:pt x="103823" y="5715"/>
                  </a:cubicBezTo>
                  <a:cubicBezTo>
                    <a:pt x="96202" y="3810"/>
                    <a:pt x="85725" y="1905"/>
                    <a:pt x="74295" y="1905"/>
                  </a:cubicBezTo>
                  <a:cubicBezTo>
                    <a:pt x="55245" y="1905"/>
                    <a:pt x="40957" y="5715"/>
                    <a:pt x="29527" y="12383"/>
                  </a:cubicBezTo>
                  <a:cubicBezTo>
                    <a:pt x="18098" y="19050"/>
                    <a:pt x="11430" y="30480"/>
                    <a:pt x="8573" y="46672"/>
                  </a:cubicBezTo>
                  <a:lnTo>
                    <a:pt x="44768" y="50483"/>
                  </a:lnTo>
                  <a:cubicBezTo>
                    <a:pt x="46673" y="38100"/>
                    <a:pt x="56198" y="32385"/>
                    <a:pt x="71438" y="32385"/>
                  </a:cubicBezTo>
                  <a:cubicBezTo>
                    <a:pt x="78105" y="32385"/>
                    <a:pt x="83820" y="34290"/>
                    <a:pt x="89535" y="37147"/>
                  </a:cubicBezTo>
                  <a:cubicBezTo>
                    <a:pt x="94298" y="40958"/>
                    <a:pt x="97155" y="46672"/>
                    <a:pt x="97155" y="56197"/>
                  </a:cubicBezTo>
                  <a:lnTo>
                    <a:pt x="97155" y="62865"/>
                  </a:lnTo>
                  <a:lnTo>
                    <a:pt x="78105" y="63818"/>
                  </a:lnTo>
                  <a:cubicBezTo>
                    <a:pt x="68580" y="63818"/>
                    <a:pt x="59055" y="64770"/>
                    <a:pt x="49530" y="66675"/>
                  </a:cubicBezTo>
                  <a:cubicBezTo>
                    <a:pt x="40005" y="68580"/>
                    <a:pt x="32385" y="70485"/>
                    <a:pt x="24765" y="74295"/>
                  </a:cubicBezTo>
                  <a:cubicBezTo>
                    <a:pt x="17145" y="78105"/>
                    <a:pt x="11430" y="82868"/>
                    <a:pt x="6668" y="89535"/>
                  </a:cubicBezTo>
                  <a:cubicBezTo>
                    <a:pt x="1905" y="96203"/>
                    <a:pt x="0" y="104775"/>
                    <a:pt x="0" y="114300"/>
                  </a:cubicBezTo>
                  <a:cubicBezTo>
                    <a:pt x="0" y="121920"/>
                    <a:pt x="952" y="128588"/>
                    <a:pt x="3810" y="134303"/>
                  </a:cubicBezTo>
                  <a:cubicBezTo>
                    <a:pt x="6668" y="140018"/>
                    <a:pt x="10477" y="144780"/>
                    <a:pt x="14288" y="148590"/>
                  </a:cubicBezTo>
                  <a:cubicBezTo>
                    <a:pt x="19050" y="152400"/>
                    <a:pt x="23813" y="155258"/>
                    <a:pt x="29527" y="156210"/>
                  </a:cubicBezTo>
                  <a:cubicBezTo>
                    <a:pt x="35243" y="157163"/>
                    <a:pt x="41910" y="159068"/>
                    <a:pt x="48577" y="159068"/>
                  </a:cubicBezTo>
                  <a:cubicBezTo>
                    <a:pt x="60007" y="159068"/>
                    <a:pt x="69532" y="157163"/>
                    <a:pt x="77152" y="152400"/>
                  </a:cubicBezTo>
                  <a:cubicBezTo>
                    <a:pt x="84773" y="147638"/>
                    <a:pt x="91440" y="142875"/>
                    <a:pt x="97155" y="136208"/>
                  </a:cubicBezTo>
                  <a:lnTo>
                    <a:pt x="97155" y="155258"/>
                  </a:lnTo>
                  <a:close/>
                </a:path>
              </a:pathLst>
            </a:custGeom>
            <a:solidFill>
              <a:schemeClr val="tx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142019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1 - ORANGE -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DEFD74-1457-3760-A948-8FB8E75F5852}"/>
              </a:ext>
            </a:extLst>
          </p:cNvPr>
          <p:cNvSpPr>
            <a:spLocks noGrp="1"/>
          </p:cNvSpPr>
          <p:nvPr>
            <p:ph type="body" sz="quarter" idx="10" hasCustomPrompt="1"/>
          </p:nvPr>
        </p:nvSpPr>
        <p:spPr>
          <a:xfrm>
            <a:off x="770439" y="496503"/>
            <a:ext cx="8694403" cy="578318"/>
          </a:xfrm>
          <a:prstGeom prst="rect">
            <a:avLst/>
          </a:prstGeom>
        </p:spPr>
        <p:txBody>
          <a:bodyPr/>
          <a:lstStyle>
            <a:lvl1pPr marL="0" indent="0">
              <a:buNone/>
              <a:defRPr sz="2800">
                <a:solidFill>
                  <a:srgbClr val="440099"/>
                </a:solidFill>
              </a:defRPr>
            </a:lvl1pPr>
          </a:lstStyle>
          <a:p>
            <a:pPr lvl="0"/>
            <a:r>
              <a:rPr lang="en-US"/>
              <a:t>Title Caps and 20-28pt Size</a:t>
            </a:r>
          </a:p>
        </p:txBody>
      </p:sp>
      <p:sp>
        <p:nvSpPr>
          <p:cNvPr id="4" name="Text Placeholder 3">
            <a:extLst>
              <a:ext uri="{FF2B5EF4-FFF2-40B4-BE49-F238E27FC236}">
                <a16:creationId xmlns:a16="http://schemas.microsoft.com/office/drawing/2014/main" id="{B71D1601-9E5E-8F74-BA66-8A7103237EEF}"/>
              </a:ext>
            </a:extLst>
          </p:cNvPr>
          <p:cNvSpPr>
            <a:spLocks noGrp="1"/>
          </p:cNvSpPr>
          <p:nvPr>
            <p:ph type="body" sz="quarter" idx="12" hasCustomPrompt="1"/>
          </p:nvPr>
        </p:nvSpPr>
        <p:spPr>
          <a:xfrm>
            <a:off x="10924421" y="6320588"/>
            <a:ext cx="866775" cy="513682"/>
          </a:xfrm>
          <a:prstGeom prst="rect">
            <a:avLst/>
          </a:prstGeom>
        </p:spPr>
        <p:txBody>
          <a:bodyPr/>
          <a:lstStyle>
            <a:lvl1pPr marL="0" indent="0" algn="r">
              <a:buNone/>
              <a:defRPr sz="1400" b="1" spc="300">
                <a:solidFill>
                  <a:schemeClr val="bg1"/>
                </a:solidFill>
              </a:defRPr>
            </a:lvl1pPr>
          </a:lstStyle>
          <a:p>
            <a:pPr lvl="0"/>
            <a:fld id="{C27DB9AE-0D70-A040-BDDD-239A36936A20}" type="slidenum">
              <a:rPr lang="en-US" smtClean="0"/>
              <a:t>‹#›</a:t>
            </a:fld>
            <a:endParaRPr lang="en-US"/>
          </a:p>
        </p:txBody>
      </p:sp>
      <p:sp>
        <p:nvSpPr>
          <p:cNvPr id="8" name="Text Placeholder 7">
            <a:extLst>
              <a:ext uri="{FF2B5EF4-FFF2-40B4-BE49-F238E27FC236}">
                <a16:creationId xmlns:a16="http://schemas.microsoft.com/office/drawing/2014/main" id="{5A47B639-57BE-2522-ED37-5F48FB0DBD02}"/>
              </a:ext>
            </a:extLst>
          </p:cNvPr>
          <p:cNvSpPr>
            <a:spLocks noGrp="1"/>
          </p:cNvSpPr>
          <p:nvPr>
            <p:ph type="body" sz="quarter" idx="13" hasCustomPrompt="1"/>
          </p:nvPr>
        </p:nvSpPr>
        <p:spPr>
          <a:xfrm>
            <a:off x="769938" y="1555750"/>
            <a:ext cx="8694737" cy="578318"/>
          </a:xfrm>
          <a:prstGeom prst="rect">
            <a:avLst/>
          </a:prstGeom>
        </p:spPr>
        <p:txBody>
          <a:bodyPr/>
          <a:lstStyle>
            <a:lvl1pPr marL="0" indent="0">
              <a:buNone/>
              <a:defRPr sz="1600"/>
            </a:lvl1pPr>
          </a:lstStyle>
          <a:p>
            <a:r>
              <a:rPr lang="en-US" b="1">
                <a:effectLst/>
                <a:latin typeface="Calibri" panose="020F0502020204030204" pitchFamily="34" charset="0"/>
              </a:rPr>
              <a:t>Sample Sub Head Title Caps and 16pt size</a:t>
            </a:r>
            <a:endParaRPr lang="en-US">
              <a:effectLst/>
              <a:latin typeface="Calibri Light" panose="020F0302020204030204" pitchFamily="34" charset="0"/>
            </a:endParaRPr>
          </a:p>
        </p:txBody>
      </p:sp>
      <p:sp>
        <p:nvSpPr>
          <p:cNvPr id="2" name="Text Placeholder 10">
            <a:extLst>
              <a:ext uri="{FF2B5EF4-FFF2-40B4-BE49-F238E27FC236}">
                <a16:creationId xmlns:a16="http://schemas.microsoft.com/office/drawing/2014/main" id="{ED262956-0B92-2A40-D55F-3B983D3AA9C7}"/>
              </a:ext>
            </a:extLst>
          </p:cNvPr>
          <p:cNvSpPr>
            <a:spLocks noGrp="1"/>
          </p:cNvSpPr>
          <p:nvPr>
            <p:ph type="body" sz="quarter" idx="14" hasCustomPrompt="1"/>
          </p:nvPr>
        </p:nvSpPr>
        <p:spPr>
          <a:xfrm>
            <a:off x="737854" y="2021557"/>
            <a:ext cx="6400883" cy="3930649"/>
          </a:xfrm>
          <a:prstGeom prst="rect">
            <a:avLst/>
          </a:prstGeom>
        </p:spPr>
        <p:txBody>
          <a:bodyPr/>
          <a:lstStyle>
            <a:lvl1pPr marL="285750" indent="-285750">
              <a:lnSpc>
                <a:spcPct val="100000"/>
              </a:lnSpc>
              <a:buClr>
                <a:srgbClr val="E35B2A"/>
              </a:buClr>
              <a:buSzPct val="110000"/>
              <a:buFont typeface="Arial" panose="020B0604020202020204" pitchFamily="34" charset="0"/>
              <a:buChar char="•"/>
              <a:defRPr sz="1400">
                <a:solidFill>
                  <a:schemeClr val="bg2">
                    <a:lumMod val="10000"/>
                  </a:schemeClr>
                </a:solidFill>
                <a:latin typeface="+mn-lt"/>
              </a:defRPr>
            </a:lvl1pPr>
            <a:lvl2pPr marL="685800" indent="-228600">
              <a:buFont typeface="Arial" panose="020B0604020202020204" pitchFamily="34" charset="0"/>
              <a:buChar char="•"/>
              <a:defRPr sz="1400"/>
            </a:lvl2pPr>
            <a:lvl3pPr>
              <a:buClr>
                <a:schemeClr val="bg2">
                  <a:lumMod val="75000"/>
                </a:schemeClr>
              </a:buClr>
              <a:defRPr sz="1400"/>
            </a:lvl3pPr>
            <a:lvl4pPr>
              <a:buClr>
                <a:schemeClr val="bg2">
                  <a:lumMod val="75000"/>
                </a:schemeClr>
              </a:buClr>
              <a:defRPr sz="1400"/>
            </a:lvl4pPr>
            <a:lvl5pPr marL="1828800" indent="0">
              <a:buClr>
                <a:schemeClr val="bg2">
                  <a:lumMod val="75000"/>
                </a:schemeClr>
              </a:buClr>
              <a:buNone/>
              <a:defRPr sz="1400"/>
            </a:lvl5pPr>
            <a:lvl6pPr marL="2514600" indent="0">
              <a:buNone/>
              <a:defRPr sz="1400"/>
            </a:lvl6pPr>
          </a:lstStyle>
          <a:p>
            <a:r>
              <a:rPr lang="en-US">
                <a:effectLst/>
                <a:latin typeface="Calibri Light" panose="020F0302020204030204" pitchFamily="34" charset="0"/>
              </a:rPr>
              <a:t>Placeholder copy here, 14-16pt size. </a:t>
            </a:r>
            <a:r>
              <a:rPr lang="en-US" err="1">
                <a:effectLst/>
                <a:latin typeface="Calibri Light" panose="020F0302020204030204" pitchFamily="34" charset="0"/>
              </a:rPr>
              <a:t>Itatqui</a:t>
            </a:r>
            <a:r>
              <a:rPr lang="en-US">
                <a:effectLst/>
                <a:latin typeface="Calibri Light" panose="020F0302020204030204" pitchFamily="34" charset="0"/>
              </a:rPr>
              <a:t> </a:t>
            </a:r>
            <a:r>
              <a:rPr lang="en-US" err="1">
                <a:effectLst/>
                <a:latin typeface="Calibri Light" panose="020F0302020204030204" pitchFamily="34" charset="0"/>
              </a:rPr>
              <a:t>comnimporem</a:t>
            </a:r>
            <a:r>
              <a:rPr lang="en-US">
                <a:effectLst/>
                <a:latin typeface="Calibri Light" panose="020F0302020204030204" pitchFamily="34" charset="0"/>
              </a:rPr>
              <a:t> hit </a:t>
            </a:r>
            <a:r>
              <a:rPr lang="en-US" err="1">
                <a:effectLst/>
                <a:latin typeface="Calibri Light" panose="020F0302020204030204" pitchFamily="34" charset="0"/>
              </a:rPr>
              <a:t>adis</a:t>
            </a:r>
            <a:r>
              <a:rPr lang="en-US">
                <a:effectLst/>
                <a:latin typeface="Calibri Light" panose="020F0302020204030204" pitchFamily="34" charset="0"/>
              </a:rPr>
              <a:t> ex ex et </a:t>
            </a:r>
            <a:r>
              <a:rPr lang="en-US" err="1">
                <a:effectLst/>
                <a:latin typeface="Calibri Light" panose="020F0302020204030204" pitchFamily="34" charset="0"/>
              </a:rPr>
              <a:t>quam</a:t>
            </a:r>
            <a:r>
              <a:rPr lang="en-US">
                <a:effectLst/>
                <a:latin typeface="Calibri Light" panose="020F0302020204030204" pitchFamily="34" charset="0"/>
              </a:rPr>
              <a:t>, is </a:t>
            </a:r>
            <a:r>
              <a:rPr lang="en-US" err="1">
                <a:effectLst/>
                <a:latin typeface="Calibri Light" panose="020F0302020204030204" pitchFamily="34" charset="0"/>
              </a:rPr>
              <a:t>aliquid</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maio</a:t>
            </a:r>
            <a:r>
              <a:rPr lang="en-US">
                <a:effectLst/>
                <a:latin typeface="Calibri Light" panose="020F0302020204030204" pitchFamily="34" charset="0"/>
              </a:rPr>
              <a:t>. </a:t>
            </a:r>
            <a:r>
              <a:rPr lang="en-US" err="1">
                <a:effectLst/>
                <a:latin typeface="Calibri Light" panose="020F0302020204030204" pitchFamily="34" charset="0"/>
              </a:rPr>
              <a:t>Dipsunt</a:t>
            </a:r>
            <a:r>
              <a:rPr lang="en-US">
                <a:effectLst/>
                <a:latin typeface="Calibri Light" panose="020F0302020204030204" pitchFamily="34" charset="0"/>
              </a:rPr>
              <a:t> am </a:t>
            </a:r>
            <a:r>
              <a:rPr lang="en-US" err="1">
                <a:effectLst/>
                <a:latin typeface="Calibri Light" panose="020F0302020204030204" pitchFamily="34" charset="0"/>
              </a:rPr>
              <a:t>harcit</a:t>
            </a:r>
            <a:r>
              <a:rPr lang="en-US">
                <a:effectLst/>
                <a:latin typeface="Calibri Light" panose="020F0302020204030204" pitchFamily="34" charset="0"/>
              </a:rPr>
              <a:t> </a:t>
            </a:r>
            <a:r>
              <a:rPr lang="en-US" err="1">
                <a:effectLst/>
                <a:latin typeface="Calibri Light" panose="020F0302020204030204" pitchFamily="34" charset="0"/>
              </a:rPr>
              <a:t>hil</a:t>
            </a:r>
            <a:r>
              <a:rPr lang="en-US">
                <a:effectLst/>
                <a:latin typeface="Calibri Light" panose="020F0302020204030204" pitchFamily="34" charset="0"/>
              </a:rPr>
              <a:t> </a:t>
            </a:r>
            <a:r>
              <a:rPr lang="en-US" err="1">
                <a:effectLst/>
                <a:latin typeface="Calibri Light" panose="020F0302020204030204" pitchFamily="34" charset="0"/>
              </a:rPr>
              <a:t>ero</a:t>
            </a:r>
            <a:r>
              <a:rPr lang="en-US">
                <a:effectLst/>
                <a:latin typeface="Calibri Light" panose="020F0302020204030204" pitchFamily="34" charset="0"/>
              </a:rPr>
              <a:t> </a:t>
            </a:r>
            <a:r>
              <a:rPr lang="en-US" err="1">
                <a:effectLst/>
                <a:latin typeface="Calibri Light" panose="020F0302020204030204" pitchFamily="34" charset="0"/>
              </a:rPr>
              <a:t>cus</a:t>
            </a:r>
            <a:r>
              <a:rPr lang="en-US">
                <a:effectLst/>
                <a:latin typeface="Calibri Light" panose="020F0302020204030204" pitchFamily="34" charset="0"/>
              </a:rPr>
              <a:t> </a:t>
            </a:r>
            <a:r>
              <a:rPr lang="en-US" err="1">
                <a:effectLst/>
                <a:latin typeface="Calibri Light" panose="020F0302020204030204" pitchFamily="34" charset="0"/>
              </a:rPr>
              <a:t>ducitae</a:t>
            </a:r>
            <a:r>
              <a:rPr lang="en-US">
                <a:effectLst/>
                <a:latin typeface="Calibri Light" panose="020F0302020204030204" pitchFamily="34" charset="0"/>
              </a:rPr>
              <a:t> </a:t>
            </a:r>
            <a:r>
              <a:rPr lang="en-US" err="1">
                <a:effectLst/>
                <a:latin typeface="Calibri Light" panose="020F0302020204030204" pitchFamily="34" charset="0"/>
              </a:rPr>
              <a:t>niassus</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1"/>
            <a:r>
              <a:rPr lang="en-US">
                <a:effectLst/>
                <a:latin typeface="Calibri Light" panose="020F0302020204030204" pitchFamily="34" charset="0"/>
              </a:rPr>
              <a:t>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dolorro</a:t>
            </a:r>
            <a:r>
              <a:rPr lang="en-US">
                <a:effectLst/>
                <a:latin typeface="Calibri Light" panose="020F0302020204030204" pitchFamily="34" charset="0"/>
              </a:rPr>
              <a:t> to </a:t>
            </a:r>
            <a:r>
              <a:rPr lang="en-US" err="1">
                <a:effectLst/>
                <a:latin typeface="Calibri Light" panose="020F0302020204030204" pitchFamily="34" charset="0"/>
              </a:rPr>
              <a:t>volesti</a:t>
            </a:r>
            <a:r>
              <a:rPr lang="en-US">
                <a:effectLst/>
                <a:latin typeface="Calibri Light" panose="020F0302020204030204" pitchFamily="34" charset="0"/>
              </a:rPr>
              <a:t> </a:t>
            </a:r>
            <a:r>
              <a:rPr lang="en-US" err="1">
                <a:effectLst/>
                <a:latin typeface="Calibri Light" panose="020F0302020204030204" pitchFamily="34" charset="0"/>
              </a:rPr>
              <a:t>ncilibus</a:t>
            </a:r>
            <a:r>
              <a:rPr lang="en-US">
                <a:effectLst/>
                <a:latin typeface="Calibri Light" panose="020F0302020204030204" pitchFamily="34" charset="0"/>
              </a:rPr>
              <a:t>, </a:t>
            </a:r>
            <a:r>
              <a:rPr lang="en-US" err="1">
                <a:effectLst/>
                <a:latin typeface="Calibri Light" panose="020F0302020204030204" pitchFamily="34" charset="0"/>
              </a:rPr>
              <a:t>sequat</a:t>
            </a:r>
            <a:r>
              <a:rPr lang="en-US">
                <a:effectLst/>
                <a:latin typeface="Calibri Light" panose="020F0302020204030204" pitchFamily="34" charset="0"/>
              </a:rPr>
              <a:t> </a:t>
            </a:r>
            <a:r>
              <a:rPr lang="en-US" err="1">
                <a:effectLst/>
                <a:latin typeface="Calibri Light" panose="020F0302020204030204" pitchFamily="34" charset="0"/>
              </a:rPr>
              <a:t>omnietur</a:t>
            </a:r>
            <a:r>
              <a:rPr lang="en-US">
                <a:effectLst/>
                <a:latin typeface="Calibri Light" panose="020F0302020204030204" pitchFamily="34" charset="0"/>
              </a:rPr>
              <a:t> </a:t>
            </a:r>
            <a:r>
              <a:rPr lang="en-US" err="1">
                <a:effectLst/>
                <a:latin typeface="Calibri Light" panose="020F0302020204030204" pitchFamily="34" charset="0"/>
              </a:rPr>
              <a:t>sitatiam</a:t>
            </a:r>
            <a:r>
              <a:rPr lang="en-US">
                <a:effectLst/>
                <a:latin typeface="Calibri Light" panose="020F0302020204030204" pitchFamily="34" charset="0"/>
              </a:rPr>
              <a:t> as </a:t>
            </a:r>
            <a:r>
              <a:rPr lang="en-US" err="1">
                <a:effectLst/>
                <a:latin typeface="Calibri Light" panose="020F0302020204030204" pitchFamily="34" charset="0"/>
              </a:rPr>
              <a:t>simusda</a:t>
            </a:r>
            <a:r>
              <a:rPr lang="en-US">
                <a:effectLst/>
                <a:latin typeface="Calibri Light" panose="020F0302020204030204" pitchFamily="34" charset="0"/>
              </a:rPr>
              <a:t> </a:t>
            </a:r>
            <a:r>
              <a:rPr lang="en-US" err="1">
                <a:effectLst/>
                <a:latin typeface="Calibri Light" panose="020F0302020204030204" pitchFamily="34" charset="0"/>
              </a:rPr>
              <a:t>volorerit</a:t>
            </a:r>
            <a:r>
              <a:rPr lang="en-US">
                <a:effectLst/>
                <a:latin typeface="Calibri Light" panose="020F0302020204030204" pitchFamily="34" charset="0"/>
              </a:rPr>
              <a:t> et, </a:t>
            </a:r>
            <a:r>
              <a:rPr lang="en-US" err="1">
                <a:effectLst/>
                <a:latin typeface="Calibri Light" panose="020F0302020204030204" pitchFamily="34" charset="0"/>
              </a:rPr>
              <a:t>cusanisitas</a:t>
            </a:r>
            <a:r>
              <a:rPr lang="en-US">
                <a:effectLst/>
                <a:latin typeface="Calibri Light" panose="020F0302020204030204" pitchFamily="34" charset="0"/>
              </a:rPr>
              <a:t> rem </a:t>
            </a:r>
            <a:r>
              <a:rPr lang="en-US" err="1">
                <a:effectLst/>
                <a:latin typeface="Calibri Light" panose="020F0302020204030204" pitchFamily="34" charset="0"/>
              </a:rPr>
              <a:t>verspelis</a:t>
            </a:r>
            <a:r>
              <a:rPr lang="en-US">
                <a:effectLst/>
                <a:latin typeface="Calibri Light" panose="020F0302020204030204" pitchFamily="34" charset="0"/>
              </a:rPr>
              <a:t> as </a:t>
            </a:r>
            <a:r>
              <a:rPr lang="en-US" err="1">
                <a:effectLst/>
                <a:latin typeface="Calibri Light" panose="020F0302020204030204" pitchFamily="34" charset="0"/>
              </a:rPr>
              <a:t>audipsum</a:t>
            </a:r>
            <a:r>
              <a:rPr lang="en-US">
                <a:effectLst/>
                <a:latin typeface="Calibri Light" panose="020F0302020204030204" pitchFamily="34" charset="0"/>
              </a:rPr>
              <a:t> qui re </a:t>
            </a:r>
            <a:r>
              <a:rPr lang="en-US" err="1">
                <a:effectLst/>
                <a:latin typeface="Calibri Light" panose="020F0302020204030204" pitchFamily="34" charset="0"/>
              </a:rPr>
              <a:t>corecep</a:t>
            </a:r>
            <a:r>
              <a:rPr lang="en-US">
                <a:effectLst/>
                <a:latin typeface="Calibri Light" panose="020F0302020204030204" pitchFamily="34" charset="0"/>
              </a:rPr>
              <a:t> </a:t>
            </a:r>
            <a:r>
              <a:rPr lang="en-US" err="1">
                <a:effectLst/>
                <a:latin typeface="Calibri Light" panose="020F0302020204030204" pitchFamily="34" charset="0"/>
              </a:rPr>
              <a:t>elitassedis</a:t>
            </a:r>
            <a:r>
              <a:rPr lang="en-US">
                <a:effectLst/>
                <a:latin typeface="Calibri Light" panose="020F0302020204030204" pitchFamily="34" charset="0"/>
              </a:rPr>
              <a:t> </a:t>
            </a:r>
            <a:r>
              <a:rPr lang="en-US" err="1">
                <a:effectLst/>
                <a:latin typeface="Calibri Light" panose="020F0302020204030204" pitchFamily="34" charset="0"/>
              </a:rPr>
              <a:t>mos</a:t>
            </a:r>
            <a:r>
              <a:rPr lang="en-US">
                <a:effectLst/>
                <a:latin typeface="Calibri Light" panose="020F0302020204030204" pitchFamily="34" charset="0"/>
              </a:rPr>
              <a:t> </a:t>
            </a:r>
            <a:r>
              <a:rPr lang="en-US" err="1">
                <a:effectLst/>
                <a:latin typeface="Calibri Light" panose="020F0302020204030204" pitchFamily="34" charset="0"/>
              </a:rPr>
              <a:t>doluptaquam</a:t>
            </a:r>
            <a:r>
              <a:rPr lang="en-US">
                <a:effectLst/>
                <a:latin typeface="Calibri Light" panose="020F0302020204030204" pitchFamily="34" charset="0"/>
              </a:rPr>
              <a:t> </a:t>
            </a:r>
            <a:r>
              <a:rPr lang="en-US" err="1">
                <a:effectLst/>
                <a:latin typeface="Calibri Light" panose="020F0302020204030204" pitchFamily="34" charset="0"/>
              </a:rPr>
              <a:t>reic</a:t>
            </a:r>
            <a:r>
              <a:rPr lang="en-US">
                <a:effectLst/>
                <a:latin typeface="Calibri Light" panose="020F0302020204030204" pitchFamily="34" charset="0"/>
              </a:rPr>
              <a:t> </a:t>
            </a:r>
            <a:r>
              <a:rPr lang="en-US" err="1">
                <a:effectLst/>
                <a:latin typeface="Calibri Light" panose="020F0302020204030204" pitchFamily="34" charset="0"/>
              </a:rPr>
              <a:t>temquidunt</a:t>
            </a:r>
            <a:r>
              <a:rPr lang="en-US">
                <a:effectLst/>
                <a:latin typeface="Calibri Light" panose="020F0302020204030204" pitchFamily="34" charset="0"/>
              </a:rPr>
              <a:t> verum </a:t>
            </a:r>
            <a:r>
              <a:rPr lang="en-US" err="1">
                <a:effectLst/>
                <a:latin typeface="Calibri Light" panose="020F0302020204030204" pitchFamily="34" charset="0"/>
              </a:rPr>
              <a:t>autemqui</a:t>
            </a:r>
            <a:r>
              <a:rPr lang="en-US">
                <a:effectLst/>
                <a:latin typeface="Calibri Light" panose="020F0302020204030204" pitchFamily="34" charset="0"/>
              </a:rPr>
              <a:t> </a:t>
            </a:r>
            <a:r>
              <a:rPr lang="en-US" err="1">
                <a:effectLst/>
                <a:latin typeface="Calibri Light" panose="020F0302020204030204" pitchFamily="34" charset="0"/>
              </a:rPr>
              <a:t>simagnia</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2"/>
            <a:r>
              <a:rPr lang="en-US" err="1">
                <a:effectLst/>
                <a:latin typeface="Calibri Light" panose="020F0302020204030204" pitchFamily="34" charset="0"/>
              </a:rPr>
              <a:t>Assin</a:t>
            </a:r>
            <a:r>
              <a:rPr lang="en-US">
                <a:effectLst/>
                <a:latin typeface="Calibri Light" panose="020F0302020204030204" pitchFamily="34" charset="0"/>
              </a:rPr>
              <a:t> </a:t>
            </a:r>
            <a:r>
              <a:rPr lang="en-US" err="1">
                <a:effectLst/>
                <a:latin typeface="Calibri Light" panose="020F0302020204030204" pitchFamily="34" charset="0"/>
              </a:rPr>
              <a:t>excest</a:t>
            </a:r>
            <a:r>
              <a:rPr lang="en-US">
                <a:effectLst/>
                <a:latin typeface="Calibri Light" panose="020F0302020204030204" pitchFamily="34" charset="0"/>
              </a:rPr>
              <a:t> </a:t>
            </a:r>
            <a:r>
              <a:rPr lang="en-US" err="1">
                <a:effectLst/>
                <a:latin typeface="Calibri Light" panose="020F0302020204030204" pitchFamily="34" charset="0"/>
              </a:rPr>
              <a:t>vollent</a:t>
            </a:r>
            <a:r>
              <a:rPr lang="en-US">
                <a:effectLst/>
                <a:latin typeface="Calibri Light" panose="020F0302020204030204" pitchFamily="34" charset="0"/>
              </a:rPr>
              <a:t> id et </a:t>
            </a:r>
            <a:r>
              <a:rPr lang="en-US" err="1">
                <a:effectLst/>
                <a:latin typeface="Calibri Light" panose="020F0302020204030204" pitchFamily="34" charset="0"/>
              </a:rPr>
              <a:t>eturerspera</a:t>
            </a:r>
            <a:r>
              <a:rPr lang="en-US">
                <a:effectLst/>
                <a:latin typeface="Calibri Light" panose="020F0302020204030204" pitchFamily="34" charset="0"/>
              </a:rPr>
              <a:t> pro con pa </a:t>
            </a:r>
            <a:r>
              <a:rPr lang="en-US" err="1">
                <a:effectLst/>
                <a:latin typeface="Calibri Light" panose="020F0302020204030204" pitchFamily="34" charset="0"/>
              </a:rPr>
              <a:t>sumenienti</a:t>
            </a:r>
            <a:r>
              <a:rPr lang="en-US">
                <a:effectLst/>
                <a:latin typeface="Calibri Light" panose="020F0302020204030204" pitchFamily="34" charset="0"/>
              </a:rPr>
              <a:t> </a:t>
            </a:r>
            <a:r>
              <a:rPr lang="en-US" err="1">
                <a:effectLst/>
                <a:latin typeface="Calibri Light" panose="020F0302020204030204" pitchFamily="34" charset="0"/>
              </a:rPr>
              <a:t>ut</a:t>
            </a:r>
            <a:r>
              <a:rPr lang="en-US">
                <a:effectLst/>
                <a:latin typeface="Calibri Light" panose="020F0302020204030204" pitchFamily="34" charset="0"/>
              </a:rPr>
              <a:t> </a:t>
            </a:r>
            <a:r>
              <a:rPr lang="en-US" err="1">
                <a:effectLst/>
                <a:latin typeface="Calibri Light" panose="020F0302020204030204" pitchFamily="34" charset="0"/>
              </a:rPr>
              <a:t>dolupta</a:t>
            </a:r>
            <a:r>
              <a:rPr lang="en-US">
                <a:effectLst/>
                <a:latin typeface="Calibri Light" panose="020F0302020204030204" pitchFamily="34" charset="0"/>
              </a:rPr>
              <a:t> </a:t>
            </a:r>
            <a:r>
              <a:rPr lang="en-US" err="1">
                <a:effectLst/>
                <a:latin typeface="Calibri Light" panose="020F0302020204030204" pitchFamily="34" charset="0"/>
              </a:rPr>
              <a:t>tiossunt</a:t>
            </a:r>
            <a:r>
              <a:rPr lang="en-US">
                <a:effectLst/>
                <a:latin typeface="Calibri Light" panose="020F0302020204030204" pitchFamily="34" charset="0"/>
              </a:rPr>
              <a:t> </a:t>
            </a:r>
            <a:r>
              <a:rPr lang="en-US" err="1">
                <a:effectLst/>
                <a:latin typeface="Calibri Light" panose="020F0302020204030204" pitchFamily="34" charset="0"/>
              </a:rPr>
              <a:t>atur</a:t>
            </a:r>
            <a:r>
              <a:rPr lang="en-US">
                <a:effectLst/>
                <a:latin typeface="Calibri Light" panose="020F0302020204030204" pitchFamily="34" charset="0"/>
              </a:rPr>
              <a:t>, id </a:t>
            </a:r>
            <a:r>
              <a:rPr lang="en-US" err="1">
                <a:effectLst/>
                <a:latin typeface="Calibri Light" panose="020F0302020204030204" pitchFamily="34" charset="0"/>
              </a:rPr>
              <a:t>eiunt</a:t>
            </a:r>
            <a:r>
              <a:rPr lang="en-US">
                <a:effectLst/>
                <a:latin typeface="Calibri Light" panose="020F0302020204030204" pitchFamily="34" charset="0"/>
              </a:rPr>
              <a:t> re pos </a:t>
            </a:r>
            <a:r>
              <a:rPr lang="en-US" err="1">
                <a:effectLst/>
                <a:latin typeface="Calibri Light" panose="020F0302020204030204" pitchFamily="34" charset="0"/>
              </a:rPr>
              <a:t>velitibus</a:t>
            </a:r>
            <a:r>
              <a:rPr lang="en-US">
                <a:effectLst/>
                <a:latin typeface="Calibri Light" panose="020F0302020204030204" pitchFamily="34" charset="0"/>
              </a:rPr>
              <a:t> </a:t>
            </a:r>
            <a:r>
              <a:rPr lang="en-US" err="1">
                <a:effectLst/>
                <a:latin typeface="Calibri Light" panose="020F0302020204030204" pitchFamily="34" charset="0"/>
              </a:rPr>
              <a:t>earisquibusa</a:t>
            </a:r>
            <a:r>
              <a:rPr lang="en-US">
                <a:effectLst/>
                <a:latin typeface="Calibri Light" panose="020F0302020204030204" pitchFamily="34" charset="0"/>
              </a:rPr>
              <a:t> nobis </a:t>
            </a:r>
            <a:r>
              <a:rPr lang="en-US" err="1">
                <a:effectLst/>
                <a:latin typeface="Calibri Light" panose="020F0302020204030204" pitchFamily="34" charset="0"/>
              </a:rPr>
              <a:t>dolorepe</a:t>
            </a:r>
            <a:r>
              <a:rPr lang="en-US">
                <a:effectLst/>
                <a:latin typeface="Calibri Light" panose="020F0302020204030204" pitchFamily="34" charset="0"/>
              </a:rPr>
              <a:t> </a:t>
            </a:r>
            <a:r>
              <a:rPr lang="en-US" err="1">
                <a:effectLst/>
                <a:latin typeface="Calibri Light" panose="020F0302020204030204" pitchFamily="34" charset="0"/>
              </a:rPr>
              <a:t>nimi</a:t>
            </a:r>
            <a:r>
              <a:rPr lang="en-US">
                <a:effectLst/>
                <a:latin typeface="Calibri Light" panose="020F0302020204030204" pitchFamily="34" charset="0"/>
              </a:rPr>
              <a:t>, </a:t>
            </a:r>
            <a:r>
              <a:rPr lang="en-US" err="1">
                <a:effectLst/>
                <a:latin typeface="Calibri Light" panose="020F0302020204030204" pitchFamily="34" charset="0"/>
              </a:rPr>
              <a:t>temque</a:t>
            </a:r>
            <a:r>
              <a:rPr lang="en-US">
                <a:effectLst/>
                <a:latin typeface="Calibri Light" panose="020F0302020204030204" pitchFamily="34" charset="0"/>
              </a:rPr>
              <a:t> </a:t>
            </a:r>
            <a:r>
              <a:rPr lang="en-US" err="1">
                <a:effectLst/>
                <a:latin typeface="Calibri Light" panose="020F0302020204030204" pitchFamily="34" charset="0"/>
              </a:rPr>
              <a:t>vollo</a:t>
            </a:r>
            <a:r>
              <a:rPr lang="en-US">
                <a:effectLst/>
                <a:latin typeface="Calibri Light" panose="020F0302020204030204" pitchFamily="34" charset="0"/>
              </a:rPr>
              <a:t> </a:t>
            </a:r>
            <a:r>
              <a:rPr lang="en-US" err="1">
                <a:effectLst/>
                <a:latin typeface="Calibri Light" panose="020F0302020204030204" pitchFamily="34" charset="0"/>
              </a:rPr>
              <a:t>molore</a:t>
            </a:r>
            <a:r>
              <a:rPr lang="en-US">
                <a:effectLst/>
                <a:latin typeface="Calibri Light" panose="020F0302020204030204" pitchFamily="34" charset="0"/>
              </a:rPr>
              <a:t>, </a:t>
            </a:r>
            <a:r>
              <a:rPr lang="en-US" err="1">
                <a:effectLst/>
                <a:latin typeface="Calibri Light" panose="020F0302020204030204" pitchFamily="34" charset="0"/>
              </a:rPr>
              <a:t>ommodis</a:t>
            </a:r>
            <a:r>
              <a:rPr lang="en-US">
                <a:effectLst/>
                <a:latin typeface="Calibri Light" panose="020F0302020204030204" pitchFamily="34" charset="0"/>
              </a:rPr>
              <a:t> </a:t>
            </a:r>
            <a:r>
              <a:rPr lang="en-US" err="1">
                <a:effectLst/>
                <a:latin typeface="Calibri Light" panose="020F0302020204030204" pitchFamily="34" charset="0"/>
              </a:rPr>
              <a:t>autatem</a:t>
            </a:r>
            <a:r>
              <a:rPr lang="en-US">
                <a:effectLst/>
                <a:latin typeface="Calibri Light" panose="020F0302020204030204" pitchFamily="34" charset="0"/>
              </a:rPr>
              <a:t> </a:t>
            </a:r>
            <a:r>
              <a:rPr lang="en-US" err="1">
                <a:effectLst/>
                <a:latin typeface="Calibri Light" panose="020F0302020204030204" pitchFamily="34" charset="0"/>
              </a:rPr>
              <a:t>faceaquatur</a:t>
            </a:r>
            <a:r>
              <a:rPr lang="en-US">
                <a:effectLst/>
                <a:latin typeface="Calibri Light" panose="020F0302020204030204" pitchFamily="34" charset="0"/>
              </a:rPr>
              <a:t> </a:t>
            </a:r>
            <a:r>
              <a:rPr lang="en-US" err="1">
                <a:effectLst/>
                <a:latin typeface="Calibri Light" panose="020F0302020204030204" pitchFamily="34" charset="0"/>
              </a:rPr>
              <a:t>molum</a:t>
            </a:r>
            <a:r>
              <a:rPr lang="en-US">
                <a:effectLst/>
                <a:latin typeface="Calibri Light" panose="020F0302020204030204" pitchFamily="34" charset="0"/>
              </a:rPr>
              <a:t> adios et </a:t>
            </a:r>
            <a:r>
              <a:rPr lang="en-US" err="1">
                <a:effectLst/>
                <a:latin typeface="Calibri Light" panose="020F0302020204030204" pitchFamily="34" charset="0"/>
              </a:rPr>
              <a:t>acernat</a:t>
            </a:r>
            <a:r>
              <a:rPr lang="en-US">
                <a:effectLst/>
                <a:latin typeface="Calibri Light" panose="020F0302020204030204" pitchFamily="34" charset="0"/>
              </a:rPr>
              <a:t>.</a:t>
            </a:r>
            <a:br>
              <a:rPr lang="en-US">
                <a:effectLst/>
                <a:latin typeface="Calibri Light" panose="020F0302020204030204" pitchFamily="34" charset="0"/>
              </a:rPr>
            </a:br>
            <a:endParaRPr lang="en-US">
              <a:effectLst/>
              <a:latin typeface="Calibri Light" panose="020F0302020204030204" pitchFamily="34" charset="0"/>
            </a:endParaRPr>
          </a:p>
          <a:p>
            <a:pPr lvl="3"/>
            <a:r>
              <a:rPr lang="en-US" err="1">
                <a:effectLst/>
                <a:latin typeface="Calibri Light" panose="020F0302020204030204" pitchFamily="34" charset="0"/>
              </a:rPr>
              <a:t>Ignihil</a:t>
            </a:r>
            <a:r>
              <a:rPr lang="en-US">
                <a:effectLst/>
                <a:latin typeface="Calibri Light" panose="020F0302020204030204" pitchFamily="34" charset="0"/>
              </a:rPr>
              <a:t> magnates </a:t>
            </a:r>
            <a:r>
              <a:rPr lang="en-US" err="1">
                <a:effectLst/>
                <a:latin typeface="Calibri Light" panose="020F0302020204030204" pitchFamily="34" charset="0"/>
              </a:rPr>
              <a:t>iligene</a:t>
            </a:r>
            <a:r>
              <a:rPr lang="en-US">
                <a:effectLst/>
                <a:latin typeface="Calibri Light" panose="020F0302020204030204" pitchFamily="34" charset="0"/>
              </a:rPr>
              <a:t> </a:t>
            </a:r>
            <a:r>
              <a:rPr lang="en-US" err="1">
                <a:effectLst/>
                <a:latin typeface="Calibri Light" panose="020F0302020204030204" pitchFamily="34" charset="0"/>
              </a:rPr>
              <a:t>mperchitae</a:t>
            </a:r>
            <a:r>
              <a:rPr lang="en-US">
                <a:effectLst/>
                <a:latin typeface="Calibri Light" panose="020F0302020204030204" pitchFamily="34" charset="0"/>
              </a:rPr>
              <a:t> </a:t>
            </a:r>
            <a:r>
              <a:rPr lang="en-US" err="1">
                <a:effectLst/>
                <a:latin typeface="Calibri Light" panose="020F0302020204030204" pitchFamily="34" charset="0"/>
              </a:rPr>
              <a:t>esciunt</a:t>
            </a:r>
            <a:r>
              <a:rPr lang="en-US">
                <a:effectLst/>
                <a:latin typeface="Calibri Light" panose="020F0302020204030204" pitchFamily="34" charset="0"/>
              </a:rPr>
              <a:t> </a:t>
            </a:r>
            <a:r>
              <a:rPr lang="en-US" err="1">
                <a:effectLst/>
                <a:latin typeface="Calibri Light" panose="020F0302020204030204" pitchFamily="34" charset="0"/>
              </a:rPr>
              <a:t>officitate</a:t>
            </a:r>
            <a:r>
              <a:rPr lang="en-US">
                <a:effectLst/>
                <a:latin typeface="Calibri Light" panose="020F0302020204030204" pitchFamily="34" charset="0"/>
              </a:rPr>
              <a:t> none mi, </a:t>
            </a:r>
            <a:r>
              <a:rPr lang="en-US" err="1">
                <a:effectLst/>
                <a:latin typeface="Calibri Light" panose="020F0302020204030204" pitchFamily="34" charset="0"/>
              </a:rPr>
              <a:t>adis</a:t>
            </a:r>
            <a:r>
              <a:rPr lang="en-US">
                <a:effectLst/>
                <a:latin typeface="Calibri Light" panose="020F0302020204030204" pitchFamily="34" charset="0"/>
              </a:rPr>
              <a:t> </a:t>
            </a:r>
            <a:r>
              <a:rPr lang="en-US" err="1">
                <a:effectLst/>
                <a:latin typeface="Calibri Light" panose="020F0302020204030204" pitchFamily="34" charset="0"/>
              </a:rPr>
              <a:t>molupta</a:t>
            </a:r>
            <a:r>
              <a:rPr lang="en-US">
                <a:effectLst/>
                <a:latin typeface="Calibri Light" panose="020F0302020204030204" pitchFamily="34" charset="0"/>
              </a:rPr>
              <a:t> dis </a:t>
            </a:r>
            <a:r>
              <a:rPr lang="en-US" err="1">
                <a:effectLst/>
                <a:latin typeface="Calibri Light" panose="020F0302020204030204" pitchFamily="34" charset="0"/>
              </a:rPr>
              <a:t>corum</a:t>
            </a:r>
            <a:r>
              <a:rPr lang="en-US">
                <a:effectLst/>
                <a:latin typeface="Calibri Light" panose="020F0302020204030204" pitchFamily="34" charset="0"/>
              </a:rPr>
              <a:t> </a:t>
            </a:r>
            <a:r>
              <a:rPr lang="en-US" err="1">
                <a:effectLst/>
                <a:latin typeface="Calibri Light" panose="020F0302020204030204" pitchFamily="34" charset="0"/>
              </a:rPr>
              <a:t>ullorita</a:t>
            </a:r>
            <a:r>
              <a:rPr lang="en-US">
                <a:effectLst/>
                <a:latin typeface="Calibri Light" panose="020F0302020204030204" pitchFamily="34" charset="0"/>
              </a:rPr>
              <a:t> dolore cone is min </a:t>
            </a:r>
            <a:r>
              <a:rPr lang="en-US" err="1">
                <a:effectLst/>
                <a:latin typeface="Calibri Light" panose="020F0302020204030204" pitchFamily="34" charset="0"/>
              </a:rPr>
              <a:t>nobitatia</a:t>
            </a:r>
            <a:r>
              <a:rPr lang="en-US">
                <a:effectLst/>
                <a:latin typeface="Calibri Light" panose="020F0302020204030204" pitchFamily="34" charset="0"/>
              </a:rPr>
              <a:t> </a:t>
            </a:r>
            <a:r>
              <a:rPr lang="en-US" err="1">
                <a:effectLst/>
                <a:latin typeface="Calibri Light" panose="020F0302020204030204" pitchFamily="34" charset="0"/>
              </a:rPr>
              <a:t>dolorios</a:t>
            </a:r>
            <a:r>
              <a:rPr lang="en-US">
                <a:effectLst/>
                <a:latin typeface="Calibri Light" panose="020F0302020204030204" pitchFamily="34" charset="0"/>
              </a:rPr>
              <a:t>.</a:t>
            </a:r>
          </a:p>
          <a:p>
            <a:pPr lvl="3"/>
            <a:endParaRPr lang="en-US">
              <a:effectLst/>
              <a:latin typeface="Calibri Light" panose="020F0302020204030204" pitchFamily="34" charset="0"/>
            </a:endParaRPr>
          </a:p>
          <a:p>
            <a:pPr marL="27432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effectLst/>
              <a:latin typeface="Calibri Light" panose="020F0302020204030204" pitchFamily="34" charset="0"/>
            </a:endParaRPr>
          </a:p>
          <a:p>
            <a:pPr lvl="3"/>
            <a:endParaRPr lang="en-US">
              <a:effectLst/>
              <a:latin typeface="Calibri Light" panose="020F0302020204030204" pitchFamily="34" charset="0"/>
            </a:endParaRPr>
          </a:p>
          <a:p>
            <a:pPr lvl="3"/>
            <a:endParaRPr lang="en-US">
              <a:effectLst/>
              <a:latin typeface="Calibri Light" panose="020F0302020204030204" pitchFamily="34" charset="0"/>
            </a:endParaRPr>
          </a:p>
          <a:p>
            <a:pPr lvl="0"/>
            <a:endParaRPr lang="en-US"/>
          </a:p>
        </p:txBody>
      </p:sp>
    </p:spTree>
    <p:extLst>
      <p:ext uri="{BB962C8B-B14F-4D97-AF65-F5344CB8AC3E}">
        <p14:creationId xmlns:p14="http://schemas.microsoft.com/office/powerpoint/2010/main" val="4882713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1 Standard (1x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B15B8DB-908B-5345-9445-A0BD1EB4EDB6}"/>
              </a:ext>
            </a:extLst>
          </p:cNvPr>
          <p:cNvSpPr>
            <a:spLocks noGrp="1"/>
          </p:cNvSpPr>
          <p:nvPr>
            <p:ph sz="quarter" idx="12"/>
          </p:nvPr>
        </p:nvSpPr>
        <p:spPr>
          <a:xfrm>
            <a:off x="263525" y="1457854"/>
            <a:ext cx="11664950" cy="4779434"/>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9" name="Straight Connector 8">
            <a:extLst>
              <a:ext uri="{FF2B5EF4-FFF2-40B4-BE49-F238E27FC236}">
                <a16:creationId xmlns:a16="http://schemas.microsoft.com/office/drawing/2014/main" id="{8E195A2A-1106-7F45-A3BB-0D3A2ED93CBE}"/>
              </a:ext>
            </a:extLst>
          </p:cNvPr>
          <p:cNvCxnSpPr>
            <a:cxnSpLocks/>
          </p:cNvCxnSpPr>
          <p:nvPr userDrawn="1"/>
        </p:nvCxnSpPr>
        <p:spPr>
          <a:xfrm>
            <a:off x="263525" y="260350"/>
            <a:ext cx="432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9191B89D-66F9-9447-A147-7D12A9F5E9AB}"/>
              </a:ext>
            </a:extLst>
          </p:cNvPr>
          <p:cNvSpPr>
            <a:spLocks noGrp="1"/>
          </p:cNvSpPr>
          <p:nvPr>
            <p:ph type="title"/>
          </p:nvPr>
        </p:nvSpPr>
        <p:spPr>
          <a:xfrm>
            <a:off x="263525" y="442800"/>
            <a:ext cx="11661776" cy="646225"/>
          </a:xfrm>
          <a:prstGeom prst="rect">
            <a:avLst/>
          </a:prstGeom>
        </p:spPr>
        <p:txBody>
          <a:bodyPr lIns="0" tIns="0" rIns="0" bIns="0"/>
          <a:lstStyle>
            <a:lvl1pPr>
              <a:defRPr lang="en-US" sz="2500" b="1" i="0" kern="1200" dirty="0">
                <a:solidFill>
                  <a:schemeClr val="tx1"/>
                </a:solidFill>
                <a:latin typeface="Arial" panose="020B0604020202020204" pitchFamily="34" charset="0"/>
                <a:ea typeface="AECOM Sans Light" panose="020B0404020202020204" pitchFamily="34" charset="0"/>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itle style</a:t>
            </a:r>
          </a:p>
        </p:txBody>
      </p:sp>
      <p:grpSp>
        <p:nvGrpSpPr>
          <p:cNvPr id="10" name="Group 9">
            <a:extLst>
              <a:ext uri="{FF2B5EF4-FFF2-40B4-BE49-F238E27FC236}">
                <a16:creationId xmlns:a16="http://schemas.microsoft.com/office/drawing/2014/main" id="{9FD5E74C-2EF5-EC45-8183-8BA534B8D110}"/>
              </a:ext>
            </a:extLst>
          </p:cNvPr>
          <p:cNvGrpSpPr/>
          <p:nvPr userDrawn="1"/>
        </p:nvGrpSpPr>
        <p:grpSpPr>
          <a:xfrm>
            <a:off x="10814051" y="6438651"/>
            <a:ext cx="1111250" cy="225425"/>
            <a:chOff x="292100" y="6413250"/>
            <a:chExt cx="1111250" cy="225425"/>
          </a:xfrm>
        </p:grpSpPr>
        <p:sp>
          <p:nvSpPr>
            <p:cNvPr id="11" name="Freeform: Shape 12">
              <a:extLst>
                <a:ext uri="{FF2B5EF4-FFF2-40B4-BE49-F238E27FC236}">
                  <a16:creationId xmlns:a16="http://schemas.microsoft.com/office/drawing/2014/main" id="{4B6E2FF8-4350-4047-8DED-0620671F25CD}"/>
                </a:ext>
              </a:extLst>
            </p:cNvPr>
            <p:cNvSpPr/>
            <p:nvPr userDrawn="1"/>
          </p:nvSpPr>
          <p:spPr>
            <a:xfrm>
              <a:off x="292100" y="6413250"/>
              <a:ext cx="225425" cy="225425"/>
            </a:xfrm>
            <a:custGeom>
              <a:avLst/>
              <a:gdLst>
                <a:gd name="connsiteX0" fmla="*/ 329565 w 342900"/>
                <a:gd name="connsiteY0" fmla="*/ 104775 h 342900"/>
                <a:gd name="connsiteX1" fmla="*/ 292418 w 342900"/>
                <a:gd name="connsiteY1" fmla="*/ 50483 h 342900"/>
                <a:gd name="connsiteX2" fmla="*/ 238125 w 342900"/>
                <a:gd name="connsiteY2" fmla="*/ 13335 h 342900"/>
                <a:gd name="connsiteX3" fmla="*/ 171450 w 342900"/>
                <a:gd name="connsiteY3" fmla="*/ 0 h 342900"/>
                <a:gd name="connsiteX4" fmla="*/ 104775 w 342900"/>
                <a:gd name="connsiteY4" fmla="*/ 13335 h 342900"/>
                <a:gd name="connsiteX5" fmla="*/ 50483 w 342900"/>
                <a:gd name="connsiteY5" fmla="*/ 50483 h 342900"/>
                <a:gd name="connsiteX6" fmla="*/ 13335 w 342900"/>
                <a:gd name="connsiteY6" fmla="*/ 104775 h 342900"/>
                <a:gd name="connsiteX7" fmla="*/ 0 w 342900"/>
                <a:gd name="connsiteY7" fmla="*/ 171450 h 342900"/>
                <a:gd name="connsiteX8" fmla="*/ 13335 w 342900"/>
                <a:gd name="connsiteY8" fmla="*/ 238125 h 342900"/>
                <a:gd name="connsiteX9" fmla="*/ 50483 w 342900"/>
                <a:gd name="connsiteY9" fmla="*/ 292418 h 342900"/>
                <a:gd name="connsiteX10" fmla="*/ 104775 w 342900"/>
                <a:gd name="connsiteY10" fmla="*/ 329565 h 342900"/>
                <a:gd name="connsiteX11" fmla="*/ 171450 w 342900"/>
                <a:gd name="connsiteY11" fmla="*/ 342900 h 342900"/>
                <a:gd name="connsiteX12" fmla="*/ 171450 w 342900"/>
                <a:gd name="connsiteY12" fmla="*/ 308610 h 342900"/>
                <a:gd name="connsiteX13" fmla="*/ 74295 w 342900"/>
                <a:gd name="connsiteY13" fmla="*/ 268605 h 342900"/>
                <a:gd name="connsiteX14" fmla="*/ 35243 w 342900"/>
                <a:gd name="connsiteY14" fmla="*/ 188595 h 342900"/>
                <a:gd name="connsiteX15" fmla="*/ 180975 w 342900"/>
                <a:gd name="connsiteY15" fmla="*/ 188595 h 342900"/>
                <a:gd name="connsiteX16" fmla="*/ 141923 w 342900"/>
                <a:gd name="connsiteY16" fmla="*/ 227648 h 342900"/>
                <a:gd name="connsiteX17" fmla="*/ 165735 w 342900"/>
                <a:gd name="connsiteY17" fmla="*/ 251460 h 342900"/>
                <a:gd name="connsiteX18" fmla="*/ 246698 w 342900"/>
                <a:gd name="connsiteY18" fmla="*/ 170498 h 342900"/>
                <a:gd name="connsiteX19" fmla="*/ 165735 w 342900"/>
                <a:gd name="connsiteY19" fmla="*/ 89535 h 342900"/>
                <a:gd name="connsiteX20" fmla="*/ 141923 w 342900"/>
                <a:gd name="connsiteY20" fmla="*/ 113348 h 342900"/>
                <a:gd name="connsiteX21" fmla="*/ 180975 w 342900"/>
                <a:gd name="connsiteY21" fmla="*/ 152400 h 342900"/>
                <a:gd name="connsiteX22" fmla="*/ 35243 w 342900"/>
                <a:gd name="connsiteY22" fmla="*/ 152400 h 342900"/>
                <a:gd name="connsiteX23" fmla="*/ 74295 w 342900"/>
                <a:gd name="connsiteY23" fmla="*/ 72390 h 342900"/>
                <a:gd name="connsiteX24" fmla="*/ 171450 w 342900"/>
                <a:gd name="connsiteY24" fmla="*/ 32385 h 342900"/>
                <a:gd name="connsiteX25" fmla="*/ 268605 w 342900"/>
                <a:gd name="connsiteY25" fmla="*/ 72390 h 342900"/>
                <a:gd name="connsiteX26" fmla="*/ 308610 w 342900"/>
                <a:gd name="connsiteY26" fmla="*/ 169545 h 342900"/>
                <a:gd name="connsiteX27" fmla="*/ 342900 w 342900"/>
                <a:gd name="connsiteY27" fmla="*/ 169545 h 342900"/>
                <a:gd name="connsiteX28" fmla="*/ 329565 w 342900"/>
                <a:gd name="connsiteY28" fmla="*/ 1047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342900">
                  <a:moveTo>
                    <a:pt x="329565" y="104775"/>
                  </a:moveTo>
                  <a:cubicBezTo>
                    <a:pt x="320993" y="84773"/>
                    <a:pt x="308610" y="65723"/>
                    <a:pt x="292418" y="50483"/>
                  </a:cubicBezTo>
                  <a:cubicBezTo>
                    <a:pt x="276225" y="34290"/>
                    <a:pt x="258128" y="21908"/>
                    <a:pt x="238125" y="13335"/>
                  </a:cubicBezTo>
                  <a:cubicBezTo>
                    <a:pt x="217170" y="4763"/>
                    <a:pt x="194310" y="0"/>
                    <a:pt x="171450" y="0"/>
                  </a:cubicBezTo>
                  <a:cubicBezTo>
                    <a:pt x="148590" y="0"/>
                    <a:pt x="125730" y="4763"/>
                    <a:pt x="104775" y="13335"/>
                  </a:cubicBezTo>
                  <a:cubicBezTo>
                    <a:pt x="83820" y="21908"/>
                    <a:pt x="65723" y="34290"/>
                    <a:pt x="50483" y="50483"/>
                  </a:cubicBezTo>
                  <a:cubicBezTo>
                    <a:pt x="34290" y="66675"/>
                    <a:pt x="21908" y="84773"/>
                    <a:pt x="13335" y="104775"/>
                  </a:cubicBezTo>
                  <a:cubicBezTo>
                    <a:pt x="4763" y="125730"/>
                    <a:pt x="0" y="148590"/>
                    <a:pt x="0" y="171450"/>
                  </a:cubicBezTo>
                  <a:cubicBezTo>
                    <a:pt x="0" y="194310"/>
                    <a:pt x="4763" y="217170"/>
                    <a:pt x="13335" y="238125"/>
                  </a:cubicBezTo>
                  <a:cubicBezTo>
                    <a:pt x="21908" y="258128"/>
                    <a:pt x="34290" y="277178"/>
                    <a:pt x="50483" y="292418"/>
                  </a:cubicBezTo>
                  <a:cubicBezTo>
                    <a:pt x="66675" y="308610"/>
                    <a:pt x="84773" y="320993"/>
                    <a:pt x="104775" y="329565"/>
                  </a:cubicBezTo>
                  <a:cubicBezTo>
                    <a:pt x="125730" y="338138"/>
                    <a:pt x="148590" y="342900"/>
                    <a:pt x="171450" y="342900"/>
                  </a:cubicBezTo>
                  <a:lnTo>
                    <a:pt x="171450" y="308610"/>
                  </a:lnTo>
                  <a:cubicBezTo>
                    <a:pt x="135255" y="308610"/>
                    <a:pt x="100013" y="294323"/>
                    <a:pt x="74295" y="268605"/>
                  </a:cubicBezTo>
                  <a:cubicBezTo>
                    <a:pt x="52388" y="246698"/>
                    <a:pt x="39053" y="219075"/>
                    <a:pt x="35243" y="188595"/>
                  </a:cubicBezTo>
                  <a:lnTo>
                    <a:pt x="180975" y="188595"/>
                  </a:lnTo>
                  <a:lnTo>
                    <a:pt x="141923" y="227648"/>
                  </a:lnTo>
                  <a:lnTo>
                    <a:pt x="165735" y="251460"/>
                  </a:lnTo>
                  <a:lnTo>
                    <a:pt x="246698" y="170498"/>
                  </a:lnTo>
                  <a:lnTo>
                    <a:pt x="165735" y="89535"/>
                  </a:lnTo>
                  <a:lnTo>
                    <a:pt x="141923" y="113348"/>
                  </a:lnTo>
                  <a:lnTo>
                    <a:pt x="180975" y="152400"/>
                  </a:lnTo>
                  <a:lnTo>
                    <a:pt x="35243" y="152400"/>
                  </a:lnTo>
                  <a:cubicBezTo>
                    <a:pt x="39053" y="121920"/>
                    <a:pt x="52388" y="94298"/>
                    <a:pt x="74295" y="72390"/>
                  </a:cubicBezTo>
                  <a:cubicBezTo>
                    <a:pt x="100013" y="46673"/>
                    <a:pt x="134303" y="32385"/>
                    <a:pt x="171450" y="32385"/>
                  </a:cubicBezTo>
                  <a:cubicBezTo>
                    <a:pt x="207645" y="32385"/>
                    <a:pt x="242888" y="46673"/>
                    <a:pt x="268605" y="72390"/>
                  </a:cubicBezTo>
                  <a:cubicBezTo>
                    <a:pt x="294323" y="98108"/>
                    <a:pt x="308610" y="132398"/>
                    <a:pt x="308610" y="169545"/>
                  </a:cubicBezTo>
                  <a:lnTo>
                    <a:pt x="342900" y="169545"/>
                  </a:lnTo>
                  <a:cubicBezTo>
                    <a:pt x="342900" y="148590"/>
                    <a:pt x="338138" y="125730"/>
                    <a:pt x="329565" y="104775"/>
                  </a:cubicBezTo>
                </a:path>
              </a:pathLst>
            </a:custGeom>
            <a:solidFill>
              <a:schemeClr val="accent1"/>
            </a:solidFill>
            <a:ln w="9525" cap="flat">
              <a:noFill/>
              <a:prstDash val="solid"/>
              <a:miter/>
            </a:ln>
          </p:spPr>
          <p:txBody>
            <a:bodyPr rtlCol="0" anchor="ctr"/>
            <a:lstStyle/>
            <a:p>
              <a:endParaRPr lang="en-US"/>
            </a:p>
          </p:txBody>
        </p:sp>
        <p:sp>
          <p:nvSpPr>
            <p:cNvPr id="15" name="Freeform: Shape 13">
              <a:extLst>
                <a:ext uri="{FF2B5EF4-FFF2-40B4-BE49-F238E27FC236}">
                  <a16:creationId xmlns:a16="http://schemas.microsoft.com/office/drawing/2014/main" id="{DF863911-60F3-A740-BF4B-76AC1B0FD967}"/>
                </a:ext>
              </a:extLst>
            </p:cNvPr>
            <p:cNvSpPr/>
            <p:nvPr userDrawn="1"/>
          </p:nvSpPr>
          <p:spPr>
            <a:xfrm>
              <a:off x="590579" y="6484379"/>
              <a:ext cx="812771" cy="84028"/>
            </a:xfrm>
            <a:custGeom>
              <a:avLst/>
              <a:gdLst>
                <a:gd name="connsiteX0" fmla="*/ 1329690 w 1547812"/>
                <a:gd name="connsiteY0" fmla="*/ 155258 h 160020"/>
                <a:gd name="connsiteX1" fmla="*/ 1369695 w 1547812"/>
                <a:gd name="connsiteY1" fmla="*/ 155258 h 160020"/>
                <a:gd name="connsiteX2" fmla="*/ 1369695 w 1547812"/>
                <a:gd name="connsiteY2" fmla="*/ 65723 h 160020"/>
                <a:gd name="connsiteX3" fmla="*/ 1372553 w 1547812"/>
                <a:gd name="connsiteY3" fmla="*/ 53340 h 160020"/>
                <a:gd name="connsiteX4" fmla="*/ 1379220 w 1547812"/>
                <a:gd name="connsiteY4" fmla="*/ 43815 h 160020"/>
                <a:gd name="connsiteX5" fmla="*/ 1388745 w 1547812"/>
                <a:gd name="connsiteY5" fmla="*/ 37147 h 160020"/>
                <a:gd name="connsiteX6" fmla="*/ 1400175 w 1547812"/>
                <a:gd name="connsiteY6" fmla="*/ 35243 h 160020"/>
                <a:gd name="connsiteX7" fmla="*/ 1407795 w 1547812"/>
                <a:gd name="connsiteY7" fmla="*/ 36195 h 160020"/>
                <a:gd name="connsiteX8" fmla="*/ 1413510 w 1547812"/>
                <a:gd name="connsiteY8" fmla="*/ 40005 h 160020"/>
                <a:gd name="connsiteX9" fmla="*/ 1417320 w 1547812"/>
                <a:gd name="connsiteY9" fmla="*/ 47625 h 160020"/>
                <a:gd name="connsiteX10" fmla="*/ 1419225 w 1547812"/>
                <a:gd name="connsiteY10" fmla="*/ 60960 h 160020"/>
                <a:gd name="connsiteX11" fmla="*/ 1419225 w 1547812"/>
                <a:gd name="connsiteY11" fmla="*/ 155258 h 160020"/>
                <a:gd name="connsiteX12" fmla="*/ 1459230 w 1547812"/>
                <a:gd name="connsiteY12" fmla="*/ 155258 h 160020"/>
                <a:gd name="connsiteX13" fmla="*/ 1459230 w 1547812"/>
                <a:gd name="connsiteY13" fmla="*/ 63818 h 160020"/>
                <a:gd name="connsiteX14" fmla="*/ 1462088 w 1547812"/>
                <a:gd name="connsiteY14" fmla="*/ 53340 h 160020"/>
                <a:gd name="connsiteX15" fmla="*/ 1468755 w 1547812"/>
                <a:gd name="connsiteY15" fmla="*/ 43815 h 160020"/>
                <a:gd name="connsiteX16" fmla="*/ 1478280 w 1547812"/>
                <a:gd name="connsiteY16" fmla="*/ 37147 h 160020"/>
                <a:gd name="connsiteX17" fmla="*/ 1489710 w 1547812"/>
                <a:gd name="connsiteY17" fmla="*/ 35243 h 160020"/>
                <a:gd name="connsiteX18" fmla="*/ 1497330 w 1547812"/>
                <a:gd name="connsiteY18" fmla="*/ 36195 h 160020"/>
                <a:gd name="connsiteX19" fmla="*/ 1503045 w 1547812"/>
                <a:gd name="connsiteY19" fmla="*/ 40005 h 160020"/>
                <a:gd name="connsiteX20" fmla="*/ 1506855 w 1547812"/>
                <a:gd name="connsiteY20" fmla="*/ 47625 h 160020"/>
                <a:gd name="connsiteX21" fmla="*/ 1507808 w 1547812"/>
                <a:gd name="connsiteY21" fmla="*/ 60960 h 160020"/>
                <a:gd name="connsiteX22" fmla="*/ 1507808 w 1547812"/>
                <a:gd name="connsiteY22" fmla="*/ 155258 h 160020"/>
                <a:gd name="connsiteX23" fmla="*/ 1547813 w 1547812"/>
                <a:gd name="connsiteY23" fmla="*/ 155258 h 160020"/>
                <a:gd name="connsiteX24" fmla="*/ 1547813 w 1547812"/>
                <a:gd name="connsiteY24" fmla="*/ 55245 h 160020"/>
                <a:gd name="connsiteX25" fmla="*/ 1536383 w 1547812"/>
                <a:gd name="connsiteY25" fmla="*/ 14288 h 160020"/>
                <a:gd name="connsiteX26" fmla="*/ 1502093 w 1547812"/>
                <a:gd name="connsiteY26" fmla="*/ 1905 h 160020"/>
                <a:gd name="connsiteX27" fmla="*/ 1477328 w 1547812"/>
                <a:gd name="connsiteY27" fmla="*/ 7620 h 160020"/>
                <a:gd name="connsiteX28" fmla="*/ 1455420 w 1547812"/>
                <a:gd name="connsiteY28" fmla="*/ 27623 h 160020"/>
                <a:gd name="connsiteX29" fmla="*/ 1441133 w 1547812"/>
                <a:gd name="connsiteY29" fmla="*/ 8573 h 160020"/>
                <a:gd name="connsiteX30" fmla="*/ 1414463 w 1547812"/>
                <a:gd name="connsiteY30" fmla="*/ 1905 h 160020"/>
                <a:gd name="connsiteX31" fmla="*/ 1390650 w 1547812"/>
                <a:gd name="connsiteY31" fmla="*/ 7620 h 160020"/>
                <a:gd name="connsiteX32" fmla="*/ 1371600 w 1547812"/>
                <a:gd name="connsiteY32" fmla="*/ 25718 h 160020"/>
                <a:gd name="connsiteX33" fmla="*/ 1371600 w 1547812"/>
                <a:gd name="connsiteY33" fmla="*/ 5715 h 160020"/>
                <a:gd name="connsiteX34" fmla="*/ 1332548 w 1547812"/>
                <a:gd name="connsiteY34" fmla="*/ 5715 h 160020"/>
                <a:gd name="connsiteX35" fmla="*/ 1332548 w 1547812"/>
                <a:gd name="connsiteY35" fmla="*/ 155258 h 160020"/>
                <a:gd name="connsiteX36" fmla="*/ 1199198 w 1547812"/>
                <a:gd name="connsiteY36" fmla="*/ 116205 h 160020"/>
                <a:gd name="connsiteX37" fmla="*/ 1190625 w 1547812"/>
                <a:gd name="connsiteY37" fmla="*/ 80963 h 160020"/>
                <a:gd name="connsiteX38" fmla="*/ 1199198 w 1547812"/>
                <a:gd name="connsiteY38" fmla="*/ 45720 h 160020"/>
                <a:gd name="connsiteX39" fmla="*/ 1224915 w 1547812"/>
                <a:gd name="connsiteY39" fmla="*/ 33338 h 160020"/>
                <a:gd name="connsiteX40" fmla="*/ 1250633 w 1547812"/>
                <a:gd name="connsiteY40" fmla="*/ 45720 h 160020"/>
                <a:gd name="connsiteX41" fmla="*/ 1259205 w 1547812"/>
                <a:gd name="connsiteY41" fmla="*/ 80963 h 160020"/>
                <a:gd name="connsiteX42" fmla="*/ 1250633 w 1547812"/>
                <a:gd name="connsiteY42" fmla="*/ 116205 h 160020"/>
                <a:gd name="connsiteX43" fmla="*/ 1224915 w 1547812"/>
                <a:gd name="connsiteY43" fmla="*/ 128588 h 160020"/>
                <a:gd name="connsiteX44" fmla="*/ 1199198 w 1547812"/>
                <a:gd name="connsiteY44" fmla="*/ 116205 h 160020"/>
                <a:gd name="connsiteX45" fmla="*/ 1256348 w 1547812"/>
                <a:gd name="connsiteY45" fmla="*/ 154305 h 160020"/>
                <a:gd name="connsiteX46" fmla="*/ 1280160 w 1547812"/>
                <a:gd name="connsiteY46" fmla="*/ 138113 h 160020"/>
                <a:gd name="connsiteX47" fmla="*/ 1295400 w 1547812"/>
                <a:gd name="connsiteY47" fmla="*/ 113348 h 160020"/>
                <a:gd name="connsiteX48" fmla="*/ 1301115 w 1547812"/>
                <a:gd name="connsiteY48" fmla="*/ 80010 h 160020"/>
                <a:gd name="connsiteX49" fmla="*/ 1296353 w 1547812"/>
                <a:gd name="connsiteY49" fmla="*/ 46672 h 160020"/>
                <a:gd name="connsiteX50" fmla="*/ 1281113 w 1547812"/>
                <a:gd name="connsiteY50" fmla="*/ 21908 h 160020"/>
                <a:gd name="connsiteX51" fmla="*/ 1257300 w 1547812"/>
                <a:gd name="connsiteY51" fmla="*/ 6668 h 160020"/>
                <a:gd name="connsiteX52" fmla="*/ 1225868 w 1547812"/>
                <a:gd name="connsiteY52" fmla="*/ 953 h 160020"/>
                <a:gd name="connsiteX53" fmla="*/ 1194435 w 1547812"/>
                <a:gd name="connsiteY53" fmla="*/ 6668 h 160020"/>
                <a:gd name="connsiteX54" fmla="*/ 1170623 w 1547812"/>
                <a:gd name="connsiteY54" fmla="*/ 21908 h 160020"/>
                <a:gd name="connsiteX55" fmla="*/ 1155383 w 1547812"/>
                <a:gd name="connsiteY55" fmla="*/ 46672 h 160020"/>
                <a:gd name="connsiteX56" fmla="*/ 1149668 w 1547812"/>
                <a:gd name="connsiteY56" fmla="*/ 80010 h 160020"/>
                <a:gd name="connsiteX57" fmla="*/ 1169670 w 1547812"/>
                <a:gd name="connsiteY57" fmla="*/ 139065 h 160020"/>
                <a:gd name="connsiteX58" fmla="*/ 1225868 w 1547812"/>
                <a:gd name="connsiteY58" fmla="*/ 160020 h 160020"/>
                <a:gd name="connsiteX59" fmla="*/ 1256348 w 1547812"/>
                <a:gd name="connsiteY59" fmla="*/ 154305 h 160020"/>
                <a:gd name="connsiteX60" fmla="*/ 1086803 w 1547812"/>
                <a:gd name="connsiteY60" fmla="*/ 100965 h 160020"/>
                <a:gd name="connsiteX61" fmla="*/ 1079183 w 1547812"/>
                <a:gd name="connsiteY61" fmla="*/ 120968 h 160020"/>
                <a:gd name="connsiteX62" fmla="*/ 1061085 w 1547812"/>
                <a:gd name="connsiteY62" fmla="*/ 127635 h 160020"/>
                <a:gd name="connsiteX63" fmla="*/ 1045845 w 1547812"/>
                <a:gd name="connsiteY63" fmla="*/ 123825 h 160020"/>
                <a:gd name="connsiteX64" fmla="*/ 1036320 w 1547812"/>
                <a:gd name="connsiteY64" fmla="*/ 113348 h 160020"/>
                <a:gd name="connsiteX65" fmla="*/ 1031558 w 1547812"/>
                <a:gd name="connsiteY65" fmla="*/ 98108 h 160020"/>
                <a:gd name="connsiteX66" fmla="*/ 1029653 w 1547812"/>
                <a:gd name="connsiteY66" fmla="*/ 80010 h 160020"/>
                <a:gd name="connsiteX67" fmla="*/ 1031558 w 1547812"/>
                <a:gd name="connsiteY67" fmla="*/ 62865 h 160020"/>
                <a:gd name="connsiteX68" fmla="*/ 1036320 w 1547812"/>
                <a:gd name="connsiteY68" fmla="*/ 47625 h 160020"/>
                <a:gd name="connsiteX69" fmla="*/ 1045845 w 1547812"/>
                <a:gd name="connsiteY69" fmla="*/ 37147 h 160020"/>
                <a:gd name="connsiteX70" fmla="*/ 1061085 w 1547812"/>
                <a:gd name="connsiteY70" fmla="*/ 33338 h 160020"/>
                <a:gd name="connsiteX71" fmla="*/ 1079183 w 1547812"/>
                <a:gd name="connsiteY71" fmla="*/ 40005 h 160020"/>
                <a:gd name="connsiteX72" fmla="*/ 1085850 w 1547812"/>
                <a:gd name="connsiteY72" fmla="*/ 58103 h 160020"/>
                <a:gd name="connsiteX73" fmla="*/ 1125855 w 1547812"/>
                <a:gd name="connsiteY73" fmla="*/ 52388 h 160020"/>
                <a:gd name="connsiteX74" fmla="*/ 1120140 w 1547812"/>
                <a:gd name="connsiteY74" fmla="*/ 31433 h 160020"/>
                <a:gd name="connsiteX75" fmla="*/ 1107758 w 1547812"/>
                <a:gd name="connsiteY75" fmla="*/ 15240 h 160020"/>
                <a:gd name="connsiteX76" fmla="*/ 1088708 w 1547812"/>
                <a:gd name="connsiteY76" fmla="*/ 4763 h 160020"/>
                <a:gd name="connsiteX77" fmla="*/ 1062038 w 1547812"/>
                <a:gd name="connsiteY77" fmla="*/ 953 h 160020"/>
                <a:gd name="connsiteX78" fmla="*/ 1030605 w 1547812"/>
                <a:gd name="connsiteY78" fmla="*/ 6668 h 160020"/>
                <a:gd name="connsiteX79" fmla="*/ 1007745 w 1547812"/>
                <a:gd name="connsiteY79" fmla="*/ 22860 h 160020"/>
                <a:gd name="connsiteX80" fmla="*/ 993458 w 1547812"/>
                <a:gd name="connsiteY80" fmla="*/ 47625 h 160020"/>
                <a:gd name="connsiteX81" fmla="*/ 988695 w 1547812"/>
                <a:gd name="connsiteY81" fmla="*/ 80010 h 160020"/>
                <a:gd name="connsiteX82" fmla="*/ 992505 w 1547812"/>
                <a:gd name="connsiteY82" fmla="*/ 112395 h 160020"/>
                <a:gd name="connsiteX83" fmla="*/ 1005840 w 1547812"/>
                <a:gd name="connsiteY83" fmla="*/ 137160 h 160020"/>
                <a:gd name="connsiteX84" fmla="*/ 1028700 w 1547812"/>
                <a:gd name="connsiteY84" fmla="*/ 153353 h 160020"/>
                <a:gd name="connsiteX85" fmla="*/ 1061085 w 1547812"/>
                <a:gd name="connsiteY85" fmla="*/ 159068 h 160020"/>
                <a:gd name="connsiteX86" fmla="*/ 1109663 w 1547812"/>
                <a:gd name="connsiteY86" fmla="*/ 142875 h 160020"/>
                <a:gd name="connsiteX87" fmla="*/ 1127760 w 1547812"/>
                <a:gd name="connsiteY87" fmla="*/ 100013 h 160020"/>
                <a:gd name="connsiteX88" fmla="*/ 1086803 w 1547812"/>
                <a:gd name="connsiteY88" fmla="*/ 100013 h 160020"/>
                <a:gd name="connsiteX89" fmla="*/ 921068 w 1547812"/>
                <a:gd name="connsiteY89" fmla="*/ 155258 h 160020"/>
                <a:gd name="connsiteX90" fmla="*/ 962025 w 1547812"/>
                <a:gd name="connsiteY90" fmla="*/ 155258 h 160020"/>
                <a:gd name="connsiteX91" fmla="*/ 962025 w 1547812"/>
                <a:gd name="connsiteY91" fmla="*/ 109538 h 160020"/>
                <a:gd name="connsiteX92" fmla="*/ 921068 w 1547812"/>
                <a:gd name="connsiteY92" fmla="*/ 109538 h 160020"/>
                <a:gd name="connsiteX93" fmla="*/ 921068 w 1547812"/>
                <a:gd name="connsiteY93" fmla="*/ 155258 h 160020"/>
                <a:gd name="connsiteX94" fmla="*/ 671513 w 1547812"/>
                <a:gd name="connsiteY94" fmla="*/ 155258 h 160020"/>
                <a:gd name="connsiteX95" fmla="*/ 711518 w 1547812"/>
                <a:gd name="connsiteY95" fmla="*/ 155258 h 160020"/>
                <a:gd name="connsiteX96" fmla="*/ 711518 w 1547812"/>
                <a:gd name="connsiteY96" fmla="*/ 65723 h 160020"/>
                <a:gd name="connsiteX97" fmla="*/ 714375 w 1547812"/>
                <a:gd name="connsiteY97" fmla="*/ 53340 h 160020"/>
                <a:gd name="connsiteX98" fmla="*/ 721043 w 1547812"/>
                <a:gd name="connsiteY98" fmla="*/ 43815 h 160020"/>
                <a:gd name="connsiteX99" fmla="*/ 730568 w 1547812"/>
                <a:gd name="connsiteY99" fmla="*/ 37147 h 160020"/>
                <a:gd name="connsiteX100" fmla="*/ 741998 w 1547812"/>
                <a:gd name="connsiteY100" fmla="*/ 35243 h 160020"/>
                <a:gd name="connsiteX101" fmla="*/ 749618 w 1547812"/>
                <a:gd name="connsiteY101" fmla="*/ 36195 h 160020"/>
                <a:gd name="connsiteX102" fmla="*/ 755333 w 1547812"/>
                <a:gd name="connsiteY102" fmla="*/ 40005 h 160020"/>
                <a:gd name="connsiteX103" fmla="*/ 759143 w 1547812"/>
                <a:gd name="connsiteY103" fmla="*/ 47625 h 160020"/>
                <a:gd name="connsiteX104" fmla="*/ 761048 w 1547812"/>
                <a:gd name="connsiteY104" fmla="*/ 60960 h 160020"/>
                <a:gd name="connsiteX105" fmla="*/ 761048 w 1547812"/>
                <a:gd name="connsiteY105" fmla="*/ 155258 h 160020"/>
                <a:gd name="connsiteX106" fmla="*/ 801053 w 1547812"/>
                <a:gd name="connsiteY106" fmla="*/ 155258 h 160020"/>
                <a:gd name="connsiteX107" fmla="*/ 801053 w 1547812"/>
                <a:gd name="connsiteY107" fmla="*/ 63818 h 160020"/>
                <a:gd name="connsiteX108" fmla="*/ 803910 w 1547812"/>
                <a:gd name="connsiteY108" fmla="*/ 53340 h 160020"/>
                <a:gd name="connsiteX109" fmla="*/ 810578 w 1547812"/>
                <a:gd name="connsiteY109" fmla="*/ 43815 h 160020"/>
                <a:gd name="connsiteX110" fmla="*/ 820103 w 1547812"/>
                <a:gd name="connsiteY110" fmla="*/ 37147 h 160020"/>
                <a:gd name="connsiteX111" fmla="*/ 831533 w 1547812"/>
                <a:gd name="connsiteY111" fmla="*/ 35243 h 160020"/>
                <a:gd name="connsiteX112" fmla="*/ 839153 w 1547812"/>
                <a:gd name="connsiteY112" fmla="*/ 36195 h 160020"/>
                <a:gd name="connsiteX113" fmla="*/ 844868 w 1547812"/>
                <a:gd name="connsiteY113" fmla="*/ 40005 h 160020"/>
                <a:gd name="connsiteX114" fmla="*/ 848678 w 1547812"/>
                <a:gd name="connsiteY114" fmla="*/ 47625 h 160020"/>
                <a:gd name="connsiteX115" fmla="*/ 849630 w 1547812"/>
                <a:gd name="connsiteY115" fmla="*/ 60960 h 160020"/>
                <a:gd name="connsiteX116" fmla="*/ 849630 w 1547812"/>
                <a:gd name="connsiteY116" fmla="*/ 155258 h 160020"/>
                <a:gd name="connsiteX117" fmla="*/ 889635 w 1547812"/>
                <a:gd name="connsiteY117" fmla="*/ 155258 h 160020"/>
                <a:gd name="connsiteX118" fmla="*/ 889635 w 1547812"/>
                <a:gd name="connsiteY118" fmla="*/ 55245 h 160020"/>
                <a:gd name="connsiteX119" fmla="*/ 878205 w 1547812"/>
                <a:gd name="connsiteY119" fmla="*/ 14288 h 160020"/>
                <a:gd name="connsiteX120" fmla="*/ 843915 w 1547812"/>
                <a:gd name="connsiteY120" fmla="*/ 1905 h 160020"/>
                <a:gd name="connsiteX121" fmla="*/ 819150 w 1547812"/>
                <a:gd name="connsiteY121" fmla="*/ 7620 h 160020"/>
                <a:gd name="connsiteX122" fmla="*/ 797243 w 1547812"/>
                <a:gd name="connsiteY122" fmla="*/ 27623 h 160020"/>
                <a:gd name="connsiteX123" fmla="*/ 782955 w 1547812"/>
                <a:gd name="connsiteY123" fmla="*/ 8573 h 160020"/>
                <a:gd name="connsiteX124" fmla="*/ 756285 w 1547812"/>
                <a:gd name="connsiteY124" fmla="*/ 1905 h 160020"/>
                <a:gd name="connsiteX125" fmla="*/ 732473 w 1547812"/>
                <a:gd name="connsiteY125" fmla="*/ 7620 h 160020"/>
                <a:gd name="connsiteX126" fmla="*/ 713423 w 1547812"/>
                <a:gd name="connsiteY126" fmla="*/ 25718 h 160020"/>
                <a:gd name="connsiteX127" fmla="*/ 713423 w 1547812"/>
                <a:gd name="connsiteY127" fmla="*/ 5715 h 160020"/>
                <a:gd name="connsiteX128" fmla="*/ 674370 w 1547812"/>
                <a:gd name="connsiteY128" fmla="*/ 5715 h 160020"/>
                <a:gd name="connsiteX129" fmla="*/ 674370 w 1547812"/>
                <a:gd name="connsiteY129" fmla="*/ 155258 h 160020"/>
                <a:gd name="connsiteX130" fmla="*/ 541973 w 1547812"/>
                <a:gd name="connsiteY130" fmla="*/ 116205 h 160020"/>
                <a:gd name="connsiteX131" fmla="*/ 533400 w 1547812"/>
                <a:gd name="connsiteY131" fmla="*/ 80963 h 160020"/>
                <a:gd name="connsiteX132" fmla="*/ 541973 w 1547812"/>
                <a:gd name="connsiteY132" fmla="*/ 45720 h 160020"/>
                <a:gd name="connsiteX133" fmla="*/ 567690 w 1547812"/>
                <a:gd name="connsiteY133" fmla="*/ 33338 h 160020"/>
                <a:gd name="connsiteX134" fmla="*/ 593408 w 1547812"/>
                <a:gd name="connsiteY134" fmla="*/ 45720 h 160020"/>
                <a:gd name="connsiteX135" fmla="*/ 601980 w 1547812"/>
                <a:gd name="connsiteY135" fmla="*/ 80963 h 160020"/>
                <a:gd name="connsiteX136" fmla="*/ 593408 w 1547812"/>
                <a:gd name="connsiteY136" fmla="*/ 116205 h 160020"/>
                <a:gd name="connsiteX137" fmla="*/ 567690 w 1547812"/>
                <a:gd name="connsiteY137" fmla="*/ 128588 h 160020"/>
                <a:gd name="connsiteX138" fmla="*/ 541973 w 1547812"/>
                <a:gd name="connsiteY138" fmla="*/ 116205 h 160020"/>
                <a:gd name="connsiteX139" fmla="*/ 598170 w 1547812"/>
                <a:gd name="connsiteY139" fmla="*/ 154305 h 160020"/>
                <a:gd name="connsiteX140" fmla="*/ 621983 w 1547812"/>
                <a:gd name="connsiteY140" fmla="*/ 138113 h 160020"/>
                <a:gd name="connsiteX141" fmla="*/ 637223 w 1547812"/>
                <a:gd name="connsiteY141" fmla="*/ 113348 h 160020"/>
                <a:gd name="connsiteX142" fmla="*/ 642938 w 1547812"/>
                <a:gd name="connsiteY142" fmla="*/ 80010 h 160020"/>
                <a:gd name="connsiteX143" fmla="*/ 638175 w 1547812"/>
                <a:gd name="connsiteY143" fmla="*/ 46672 h 160020"/>
                <a:gd name="connsiteX144" fmla="*/ 622935 w 1547812"/>
                <a:gd name="connsiteY144" fmla="*/ 21908 h 160020"/>
                <a:gd name="connsiteX145" fmla="*/ 599123 w 1547812"/>
                <a:gd name="connsiteY145" fmla="*/ 6668 h 160020"/>
                <a:gd name="connsiteX146" fmla="*/ 567690 w 1547812"/>
                <a:gd name="connsiteY146" fmla="*/ 953 h 160020"/>
                <a:gd name="connsiteX147" fmla="*/ 536258 w 1547812"/>
                <a:gd name="connsiteY147" fmla="*/ 6668 h 160020"/>
                <a:gd name="connsiteX148" fmla="*/ 512445 w 1547812"/>
                <a:gd name="connsiteY148" fmla="*/ 21908 h 160020"/>
                <a:gd name="connsiteX149" fmla="*/ 497205 w 1547812"/>
                <a:gd name="connsiteY149" fmla="*/ 46672 h 160020"/>
                <a:gd name="connsiteX150" fmla="*/ 491490 w 1547812"/>
                <a:gd name="connsiteY150" fmla="*/ 80010 h 160020"/>
                <a:gd name="connsiteX151" fmla="*/ 511492 w 1547812"/>
                <a:gd name="connsiteY151" fmla="*/ 139065 h 160020"/>
                <a:gd name="connsiteX152" fmla="*/ 566738 w 1547812"/>
                <a:gd name="connsiteY152" fmla="*/ 160020 h 160020"/>
                <a:gd name="connsiteX153" fmla="*/ 598170 w 1547812"/>
                <a:gd name="connsiteY153" fmla="*/ 154305 h 160020"/>
                <a:gd name="connsiteX154" fmla="*/ 429578 w 1547812"/>
                <a:gd name="connsiteY154" fmla="*/ 100965 h 160020"/>
                <a:gd name="connsiteX155" fmla="*/ 421958 w 1547812"/>
                <a:gd name="connsiteY155" fmla="*/ 120968 h 160020"/>
                <a:gd name="connsiteX156" fmla="*/ 403860 w 1547812"/>
                <a:gd name="connsiteY156" fmla="*/ 127635 h 160020"/>
                <a:gd name="connsiteX157" fmla="*/ 388620 w 1547812"/>
                <a:gd name="connsiteY157" fmla="*/ 123825 h 160020"/>
                <a:gd name="connsiteX158" fmla="*/ 379095 w 1547812"/>
                <a:gd name="connsiteY158" fmla="*/ 113348 h 160020"/>
                <a:gd name="connsiteX159" fmla="*/ 374333 w 1547812"/>
                <a:gd name="connsiteY159" fmla="*/ 98108 h 160020"/>
                <a:gd name="connsiteX160" fmla="*/ 372428 w 1547812"/>
                <a:gd name="connsiteY160" fmla="*/ 80010 h 160020"/>
                <a:gd name="connsiteX161" fmla="*/ 374333 w 1547812"/>
                <a:gd name="connsiteY161" fmla="*/ 62865 h 160020"/>
                <a:gd name="connsiteX162" fmla="*/ 379095 w 1547812"/>
                <a:gd name="connsiteY162" fmla="*/ 47625 h 160020"/>
                <a:gd name="connsiteX163" fmla="*/ 388620 w 1547812"/>
                <a:gd name="connsiteY163" fmla="*/ 37147 h 160020"/>
                <a:gd name="connsiteX164" fmla="*/ 403860 w 1547812"/>
                <a:gd name="connsiteY164" fmla="*/ 33338 h 160020"/>
                <a:gd name="connsiteX165" fmla="*/ 421958 w 1547812"/>
                <a:gd name="connsiteY165" fmla="*/ 40005 h 160020"/>
                <a:gd name="connsiteX166" fmla="*/ 428625 w 1547812"/>
                <a:gd name="connsiteY166" fmla="*/ 58103 h 160020"/>
                <a:gd name="connsiteX167" fmla="*/ 468630 w 1547812"/>
                <a:gd name="connsiteY167" fmla="*/ 52388 h 160020"/>
                <a:gd name="connsiteX168" fmla="*/ 462915 w 1547812"/>
                <a:gd name="connsiteY168" fmla="*/ 31433 h 160020"/>
                <a:gd name="connsiteX169" fmla="*/ 450533 w 1547812"/>
                <a:gd name="connsiteY169" fmla="*/ 15240 h 160020"/>
                <a:gd name="connsiteX170" fmla="*/ 431483 w 1547812"/>
                <a:gd name="connsiteY170" fmla="*/ 4763 h 160020"/>
                <a:gd name="connsiteX171" fmla="*/ 404813 w 1547812"/>
                <a:gd name="connsiteY171" fmla="*/ 953 h 160020"/>
                <a:gd name="connsiteX172" fmla="*/ 373380 w 1547812"/>
                <a:gd name="connsiteY172" fmla="*/ 6668 h 160020"/>
                <a:gd name="connsiteX173" fmla="*/ 350520 w 1547812"/>
                <a:gd name="connsiteY173" fmla="*/ 22860 h 160020"/>
                <a:gd name="connsiteX174" fmla="*/ 336233 w 1547812"/>
                <a:gd name="connsiteY174" fmla="*/ 47625 h 160020"/>
                <a:gd name="connsiteX175" fmla="*/ 331470 w 1547812"/>
                <a:gd name="connsiteY175" fmla="*/ 80010 h 160020"/>
                <a:gd name="connsiteX176" fmla="*/ 336233 w 1547812"/>
                <a:gd name="connsiteY176" fmla="*/ 112395 h 160020"/>
                <a:gd name="connsiteX177" fmla="*/ 349567 w 1547812"/>
                <a:gd name="connsiteY177" fmla="*/ 137160 h 160020"/>
                <a:gd name="connsiteX178" fmla="*/ 372428 w 1547812"/>
                <a:gd name="connsiteY178" fmla="*/ 153353 h 160020"/>
                <a:gd name="connsiteX179" fmla="*/ 404813 w 1547812"/>
                <a:gd name="connsiteY179" fmla="*/ 159068 h 160020"/>
                <a:gd name="connsiteX180" fmla="*/ 453390 w 1547812"/>
                <a:gd name="connsiteY180" fmla="*/ 142875 h 160020"/>
                <a:gd name="connsiteX181" fmla="*/ 471488 w 1547812"/>
                <a:gd name="connsiteY181" fmla="*/ 100013 h 160020"/>
                <a:gd name="connsiteX182" fmla="*/ 429578 w 1547812"/>
                <a:gd name="connsiteY182" fmla="*/ 100013 h 160020"/>
                <a:gd name="connsiteX183" fmla="*/ 203835 w 1547812"/>
                <a:gd name="connsiteY183" fmla="*/ 63818 h 160020"/>
                <a:gd name="connsiteX184" fmla="*/ 206692 w 1547812"/>
                <a:gd name="connsiteY184" fmla="*/ 51435 h 160020"/>
                <a:gd name="connsiteX185" fmla="*/ 213360 w 1547812"/>
                <a:gd name="connsiteY185" fmla="*/ 40958 h 160020"/>
                <a:gd name="connsiteX186" fmla="*/ 223838 w 1547812"/>
                <a:gd name="connsiteY186" fmla="*/ 34290 h 160020"/>
                <a:gd name="connsiteX187" fmla="*/ 238125 w 1547812"/>
                <a:gd name="connsiteY187" fmla="*/ 31433 h 160020"/>
                <a:gd name="connsiteX188" fmla="*/ 261938 w 1547812"/>
                <a:gd name="connsiteY188" fmla="*/ 40005 h 160020"/>
                <a:gd name="connsiteX189" fmla="*/ 269558 w 1547812"/>
                <a:gd name="connsiteY189" fmla="*/ 63818 h 160020"/>
                <a:gd name="connsiteX190" fmla="*/ 203835 w 1547812"/>
                <a:gd name="connsiteY190" fmla="*/ 63818 h 160020"/>
                <a:gd name="connsiteX191" fmla="*/ 266700 w 1547812"/>
                <a:gd name="connsiteY191" fmla="*/ 108585 h 160020"/>
                <a:gd name="connsiteX192" fmla="*/ 239077 w 1547812"/>
                <a:gd name="connsiteY192" fmla="*/ 128588 h 160020"/>
                <a:gd name="connsiteX193" fmla="*/ 213360 w 1547812"/>
                <a:gd name="connsiteY193" fmla="*/ 118110 h 160020"/>
                <a:gd name="connsiteX194" fmla="*/ 203835 w 1547812"/>
                <a:gd name="connsiteY194" fmla="*/ 89535 h 160020"/>
                <a:gd name="connsiteX195" fmla="*/ 307658 w 1547812"/>
                <a:gd name="connsiteY195" fmla="*/ 89535 h 160020"/>
                <a:gd name="connsiteX196" fmla="*/ 307658 w 1547812"/>
                <a:gd name="connsiteY196" fmla="*/ 73343 h 160020"/>
                <a:gd name="connsiteX197" fmla="*/ 290513 w 1547812"/>
                <a:gd name="connsiteY197" fmla="*/ 20003 h 160020"/>
                <a:gd name="connsiteX198" fmla="*/ 239077 w 1547812"/>
                <a:gd name="connsiteY198" fmla="*/ 0 h 160020"/>
                <a:gd name="connsiteX199" fmla="*/ 208598 w 1547812"/>
                <a:gd name="connsiteY199" fmla="*/ 5715 h 160020"/>
                <a:gd name="connsiteX200" fmla="*/ 184785 w 1547812"/>
                <a:gd name="connsiteY200" fmla="*/ 20955 h 160020"/>
                <a:gd name="connsiteX201" fmla="*/ 169545 w 1547812"/>
                <a:gd name="connsiteY201" fmla="*/ 45720 h 160020"/>
                <a:gd name="connsiteX202" fmla="*/ 163830 w 1547812"/>
                <a:gd name="connsiteY202" fmla="*/ 79058 h 160020"/>
                <a:gd name="connsiteX203" fmla="*/ 182880 w 1547812"/>
                <a:gd name="connsiteY203" fmla="*/ 137160 h 160020"/>
                <a:gd name="connsiteX204" fmla="*/ 239077 w 1547812"/>
                <a:gd name="connsiteY204" fmla="*/ 158115 h 160020"/>
                <a:gd name="connsiteX205" fmla="*/ 285750 w 1547812"/>
                <a:gd name="connsiteY205" fmla="*/ 144780 h 160020"/>
                <a:gd name="connsiteX206" fmla="*/ 305753 w 1547812"/>
                <a:gd name="connsiteY206" fmla="*/ 106680 h 160020"/>
                <a:gd name="connsiteX207" fmla="*/ 266700 w 1547812"/>
                <a:gd name="connsiteY207" fmla="*/ 106680 h 160020"/>
                <a:gd name="connsiteX208" fmla="*/ 97155 w 1547812"/>
                <a:gd name="connsiteY208" fmla="*/ 96203 h 160020"/>
                <a:gd name="connsiteX209" fmla="*/ 93345 w 1547812"/>
                <a:gd name="connsiteY209" fmla="*/ 111443 h 160020"/>
                <a:gd name="connsiteX210" fmla="*/ 84773 w 1547812"/>
                <a:gd name="connsiteY210" fmla="*/ 121920 h 160020"/>
                <a:gd name="connsiteX211" fmla="*/ 60007 w 1547812"/>
                <a:gd name="connsiteY211" fmla="*/ 129540 h 160020"/>
                <a:gd name="connsiteX212" fmla="*/ 45720 w 1547812"/>
                <a:gd name="connsiteY212" fmla="*/ 124778 h 160020"/>
                <a:gd name="connsiteX213" fmla="*/ 40957 w 1547812"/>
                <a:gd name="connsiteY213" fmla="*/ 113348 h 160020"/>
                <a:gd name="connsiteX214" fmla="*/ 42863 w 1547812"/>
                <a:gd name="connsiteY214" fmla="*/ 104775 h 160020"/>
                <a:gd name="connsiteX215" fmla="*/ 48577 w 1547812"/>
                <a:gd name="connsiteY215" fmla="*/ 98108 h 160020"/>
                <a:gd name="connsiteX216" fmla="*/ 60007 w 1547812"/>
                <a:gd name="connsiteY216" fmla="*/ 93345 h 160020"/>
                <a:gd name="connsiteX217" fmla="*/ 80010 w 1547812"/>
                <a:gd name="connsiteY217" fmla="*/ 90488 h 160020"/>
                <a:gd name="connsiteX218" fmla="*/ 98107 w 1547812"/>
                <a:gd name="connsiteY218" fmla="*/ 89535 h 160020"/>
                <a:gd name="connsiteX219" fmla="*/ 98107 w 1547812"/>
                <a:gd name="connsiteY219" fmla="*/ 96203 h 160020"/>
                <a:gd name="connsiteX220" fmla="*/ 98107 w 1547812"/>
                <a:gd name="connsiteY220" fmla="*/ 155258 h 160020"/>
                <a:gd name="connsiteX221" fmla="*/ 136208 w 1547812"/>
                <a:gd name="connsiteY221" fmla="*/ 155258 h 160020"/>
                <a:gd name="connsiteX222" fmla="*/ 136208 w 1547812"/>
                <a:gd name="connsiteY222" fmla="*/ 60960 h 160020"/>
                <a:gd name="connsiteX223" fmla="*/ 133350 w 1547812"/>
                <a:gd name="connsiteY223" fmla="*/ 36195 h 160020"/>
                <a:gd name="connsiteX224" fmla="*/ 122873 w 1547812"/>
                <a:gd name="connsiteY224" fmla="*/ 17145 h 160020"/>
                <a:gd name="connsiteX225" fmla="*/ 103823 w 1547812"/>
                <a:gd name="connsiteY225" fmla="*/ 5715 h 160020"/>
                <a:gd name="connsiteX226" fmla="*/ 74295 w 1547812"/>
                <a:gd name="connsiteY226" fmla="*/ 1905 h 160020"/>
                <a:gd name="connsiteX227" fmla="*/ 29527 w 1547812"/>
                <a:gd name="connsiteY227" fmla="*/ 12383 h 160020"/>
                <a:gd name="connsiteX228" fmla="*/ 8573 w 1547812"/>
                <a:gd name="connsiteY228" fmla="*/ 46672 h 160020"/>
                <a:gd name="connsiteX229" fmla="*/ 44768 w 1547812"/>
                <a:gd name="connsiteY229" fmla="*/ 50483 h 160020"/>
                <a:gd name="connsiteX230" fmla="*/ 71438 w 1547812"/>
                <a:gd name="connsiteY230" fmla="*/ 32385 h 160020"/>
                <a:gd name="connsiteX231" fmla="*/ 89535 w 1547812"/>
                <a:gd name="connsiteY231" fmla="*/ 37147 h 160020"/>
                <a:gd name="connsiteX232" fmla="*/ 97155 w 1547812"/>
                <a:gd name="connsiteY232" fmla="*/ 56197 h 160020"/>
                <a:gd name="connsiteX233" fmla="*/ 97155 w 1547812"/>
                <a:gd name="connsiteY233" fmla="*/ 62865 h 160020"/>
                <a:gd name="connsiteX234" fmla="*/ 78105 w 1547812"/>
                <a:gd name="connsiteY234" fmla="*/ 63818 h 160020"/>
                <a:gd name="connsiteX235" fmla="*/ 49530 w 1547812"/>
                <a:gd name="connsiteY235" fmla="*/ 66675 h 160020"/>
                <a:gd name="connsiteX236" fmla="*/ 24765 w 1547812"/>
                <a:gd name="connsiteY236" fmla="*/ 74295 h 160020"/>
                <a:gd name="connsiteX237" fmla="*/ 6668 w 1547812"/>
                <a:gd name="connsiteY237" fmla="*/ 89535 h 160020"/>
                <a:gd name="connsiteX238" fmla="*/ 0 w 1547812"/>
                <a:gd name="connsiteY238" fmla="*/ 114300 h 160020"/>
                <a:gd name="connsiteX239" fmla="*/ 3810 w 1547812"/>
                <a:gd name="connsiteY239" fmla="*/ 134303 h 160020"/>
                <a:gd name="connsiteX240" fmla="*/ 14288 w 1547812"/>
                <a:gd name="connsiteY240" fmla="*/ 148590 h 160020"/>
                <a:gd name="connsiteX241" fmla="*/ 29527 w 1547812"/>
                <a:gd name="connsiteY241" fmla="*/ 156210 h 160020"/>
                <a:gd name="connsiteX242" fmla="*/ 48577 w 1547812"/>
                <a:gd name="connsiteY242" fmla="*/ 159068 h 160020"/>
                <a:gd name="connsiteX243" fmla="*/ 77152 w 1547812"/>
                <a:gd name="connsiteY243" fmla="*/ 152400 h 160020"/>
                <a:gd name="connsiteX244" fmla="*/ 97155 w 1547812"/>
                <a:gd name="connsiteY244" fmla="*/ 136208 h 160020"/>
                <a:gd name="connsiteX245" fmla="*/ 97155 w 1547812"/>
                <a:gd name="connsiteY245" fmla="*/ 155258 h 1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47812" h="160020">
                  <a:moveTo>
                    <a:pt x="1329690" y="155258"/>
                  </a:moveTo>
                  <a:lnTo>
                    <a:pt x="1369695" y="155258"/>
                  </a:lnTo>
                  <a:lnTo>
                    <a:pt x="1369695" y="65723"/>
                  </a:lnTo>
                  <a:cubicBezTo>
                    <a:pt x="1369695" y="60960"/>
                    <a:pt x="1370648" y="57150"/>
                    <a:pt x="1372553" y="53340"/>
                  </a:cubicBezTo>
                  <a:cubicBezTo>
                    <a:pt x="1374458" y="49530"/>
                    <a:pt x="1376363" y="46672"/>
                    <a:pt x="1379220" y="43815"/>
                  </a:cubicBezTo>
                  <a:cubicBezTo>
                    <a:pt x="1382078" y="40958"/>
                    <a:pt x="1385888" y="38100"/>
                    <a:pt x="1388745" y="37147"/>
                  </a:cubicBezTo>
                  <a:cubicBezTo>
                    <a:pt x="1392555" y="36195"/>
                    <a:pt x="1395413" y="35243"/>
                    <a:pt x="1400175" y="35243"/>
                  </a:cubicBezTo>
                  <a:cubicBezTo>
                    <a:pt x="1403033" y="35243"/>
                    <a:pt x="1404938" y="35243"/>
                    <a:pt x="1407795" y="36195"/>
                  </a:cubicBezTo>
                  <a:cubicBezTo>
                    <a:pt x="1409700" y="37147"/>
                    <a:pt x="1411605" y="38100"/>
                    <a:pt x="1413510" y="40005"/>
                  </a:cubicBezTo>
                  <a:cubicBezTo>
                    <a:pt x="1415415" y="41910"/>
                    <a:pt x="1416368" y="44768"/>
                    <a:pt x="1417320" y="47625"/>
                  </a:cubicBezTo>
                  <a:cubicBezTo>
                    <a:pt x="1418273" y="51435"/>
                    <a:pt x="1419225" y="55245"/>
                    <a:pt x="1419225" y="60960"/>
                  </a:cubicBezTo>
                  <a:lnTo>
                    <a:pt x="1419225" y="155258"/>
                  </a:lnTo>
                  <a:lnTo>
                    <a:pt x="1459230" y="155258"/>
                  </a:lnTo>
                  <a:lnTo>
                    <a:pt x="1459230" y="63818"/>
                  </a:lnTo>
                  <a:cubicBezTo>
                    <a:pt x="1459230" y="60008"/>
                    <a:pt x="1460183" y="56197"/>
                    <a:pt x="1462088" y="53340"/>
                  </a:cubicBezTo>
                  <a:cubicBezTo>
                    <a:pt x="1463993" y="49530"/>
                    <a:pt x="1465898" y="46672"/>
                    <a:pt x="1468755" y="43815"/>
                  </a:cubicBezTo>
                  <a:cubicBezTo>
                    <a:pt x="1471613" y="40958"/>
                    <a:pt x="1475423" y="38100"/>
                    <a:pt x="1478280" y="37147"/>
                  </a:cubicBezTo>
                  <a:cubicBezTo>
                    <a:pt x="1481138" y="36195"/>
                    <a:pt x="1484948" y="35243"/>
                    <a:pt x="1489710" y="35243"/>
                  </a:cubicBezTo>
                  <a:cubicBezTo>
                    <a:pt x="1492568" y="35243"/>
                    <a:pt x="1494473" y="35243"/>
                    <a:pt x="1497330" y="36195"/>
                  </a:cubicBezTo>
                  <a:cubicBezTo>
                    <a:pt x="1499235" y="37147"/>
                    <a:pt x="1501140" y="38100"/>
                    <a:pt x="1503045" y="40005"/>
                  </a:cubicBezTo>
                  <a:cubicBezTo>
                    <a:pt x="1504950" y="41910"/>
                    <a:pt x="1505903" y="44768"/>
                    <a:pt x="1506855" y="47625"/>
                  </a:cubicBezTo>
                  <a:cubicBezTo>
                    <a:pt x="1507808" y="51435"/>
                    <a:pt x="1507808" y="55245"/>
                    <a:pt x="1507808" y="60960"/>
                  </a:cubicBezTo>
                  <a:lnTo>
                    <a:pt x="1507808" y="155258"/>
                  </a:lnTo>
                  <a:lnTo>
                    <a:pt x="1547813" y="155258"/>
                  </a:lnTo>
                  <a:lnTo>
                    <a:pt x="1547813" y="55245"/>
                  </a:lnTo>
                  <a:cubicBezTo>
                    <a:pt x="1547813" y="36195"/>
                    <a:pt x="1544003" y="22860"/>
                    <a:pt x="1536383" y="14288"/>
                  </a:cubicBezTo>
                  <a:cubicBezTo>
                    <a:pt x="1528763" y="5715"/>
                    <a:pt x="1517333" y="1905"/>
                    <a:pt x="1502093" y="1905"/>
                  </a:cubicBezTo>
                  <a:cubicBezTo>
                    <a:pt x="1492568" y="1905"/>
                    <a:pt x="1484948" y="3810"/>
                    <a:pt x="1477328" y="7620"/>
                  </a:cubicBezTo>
                  <a:cubicBezTo>
                    <a:pt x="1469708" y="11430"/>
                    <a:pt x="1462088" y="18098"/>
                    <a:pt x="1455420" y="27623"/>
                  </a:cubicBezTo>
                  <a:cubicBezTo>
                    <a:pt x="1452563" y="19050"/>
                    <a:pt x="1447800" y="12383"/>
                    <a:pt x="1441133" y="8573"/>
                  </a:cubicBezTo>
                  <a:cubicBezTo>
                    <a:pt x="1434465" y="4763"/>
                    <a:pt x="1425893" y="1905"/>
                    <a:pt x="1414463" y="1905"/>
                  </a:cubicBezTo>
                  <a:cubicBezTo>
                    <a:pt x="1405890" y="1905"/>
                    <a:pt x="1398270" y="3810"/>
                    <a:pt x="1390650" y="7620"/>
                  </a:cubicBezTo>
                  <a:cubicBezTo>
                    <a:pt x="1383030" y="11430"/>
                    <a:pt x="1376363" y="18098"/>
                    <a:pt x="1371600" y="25718"/>
                  </a:cubicBezTo>
                  <a:lnTo>
                    <a:pt x="1371600" y="5715"/>
                  </a:lnTo>
                  <a:lnTo>
                    <a:pt x="1332548" y="5715"/>
                  </a:lnTo>
                  <a:lnTo>
                    <a:pt x="1332548" y="155258"/>
                  </a:lnTo>
                  <a:close/>
                  <a:moveTo>
                    <a:pt x="1199198" y="116205"/>
                  </a:moveTo>
                  <a:cubicBezTo>
                    <a:pt x="1193483" y="108585"/>
                    <a:pt x="1190625" y="96203"/>
                    <a:pt x="1190625" y="80963"/>
                  </a:cubicBezTo>
                  <a:cubicBezTo>
                    <a:pt x="1190625" y="65723"/>
                    <a:pt x="1193483" y="54293"/>
                    <a:pt x="1199198" y="45720"/>
                  </a:cubicBezTo>
                  <a:cubicBezTo>
                    <a:pt x="1204913" y="37147"/>
                    <a:pt x="1213485" y="33338"/>
                    <a:pt x="1224915" y="33338"/>
                  </a:cubicBezTo>
                  <a:cubicBezTo>
                    <a:pt x="1236345" y="33338"/>
                    <a:pt x="1244918" y="37147"/>
                    <a:pt x="1250633" y="45720"/>
                  </a:cubicBezTo>
                  <a:cubicBezTo>
                    <a:pt x="1256348" y="54293"/>
                    <a:pt x="1259205" y="65723"/>
                    <a:pt x="1259205" y="80963"/>
                  </a:cubicBezTo>
                  <a:cubicBezTo>
                    <a:pt x="1259205" y="96203"/>
                    <a:pt x="1256348" y="107633"/>
                    <a:pt x="1250633" y="116205"/>
                  </a:cubicBezTo>
                  <a:cubicBezTo>
                    <a:pt x="1244918" y="124778"/>
                    <a:pt x="1236345" y="128588"/>
                    <a:pt x="1224915" y="128588"/>
                  </a:cubicBezTo>
                  <a:cubicBezTo>
                    <a:pt x="1213485" y="127635"/>
                    <a:pt x="1204913" y="123825"/>
                    <a:pt x="1199198" y="116205"/>
                  </a:cubicBezTo>
                  <a:moveTo>
                    <a:pt x="1256348" y="154305"/>
                  </a:moveTo>
                  <a:cubicBezTo>
                    <a:pt x="1265873" y="150495"/>
                    <a:pt x="1273493" y="145733"/>
                    <a:pt x="1280160" y="138113"/>
                  </a:cubicBezTo>
                  <a:cubicBezTo>
                    <a:pt x="1286828" y="131445"/>
                    <a:pt x="1291590" y="122873"/>
                    <a:pt x="1295400" y="113348"/>
                  </a:cubicBezTo>
                  <a:cubicBezTo>
                    <a:pt x="1299210" y="103823"/>
                    <a:pt x="1301115" y="92393"/>
                    <a:pt x="1301115" y="80010"/>
                  </a:cubicBezTo>
                  <a:cubicBezTo>
                    <a:pt x="1301115" y="67628"/>
                    <a:pt x="1299210" y="57150"/>
                    <a:pt x="1296353" y="46672"/>
                  </a:cubicBezTo>
                  <a:cubicBezTo>
                    <a:pt x="1293495" y="36195"/>
                    <a:pt x="1287780" y="28575"/>
                    <a:pt x="1281113" y="21908"/>
                  </a:cubicBezTo>
                  <a:cubicBezTo>
                    <a:pt x="1274445" y="15240"/>
                    <a:pt x="1266825" y="9525"/>
                    <a:pt x="1257300" y="6668"/>
                  </a:cubicBezTo>
                  <a:cubicBezTo>
                    <a:pt x="1247775" y="2858"/>
                    <a:pt x="1237298" y="953"/>
                    <a:pt x="1225868" y="953"/>
                  </a:cubicBezTo>
                  <a:cubicBezTo>
                    <a:pt x="1214438" y="953"/>
                    <a:pt x="1203960" y="2858"/>
                    <a:pt x="1194435" y="6668"/>
                  </a:cubicBezTo>
                  <a:cubicBezTo>
                    <a:pt x="1184910" y="10478"/>
                    <a:pt x="1177290" y="15240"/>
                    <a:pt x="1170623" y="21908"/>
                  </a:cubicBezTo>
                  <a:cubicBezTo>
                    <a:pt x="1163955" y="28575"/>
                    <a:pt x="1159193" y="37147"/>
                    <a:pt x="1155383" y="46672"/>
                  </a:cubicBezTo>
                  <a:cubicBezTo>
                    <a:pt x="1151573" y="56197"/>
                    <a:pt x="1149668" y="67628"/>
                    <a:pt x="1149668" y="80010"/>
                  </a:cubicBezTo>
                  <a:cubicBezTo>
                    <a:pt x="1149668" y="105728"/>
                    <a:pt x="1156335" y="124778"/>
                    <a:pt x="1169670" y="139065"/>
                  </a:cubicBezTo>
                  <a:cubicBezTo>
                    <a:pt x="1183005" y="152400"/>
                    <a:pt x="1201103" y="160020"/>
                    <a:pt x="1225868" y="160020"/>
                  </a:cubicBezTo>
                  <a:cubicBezTo>
                    <a:pt x="1236345" y="160020"/>
                    <a:pt x="1246823" y="158115"/>
                    <a:pt x="1256348" y="154305"/>
                  </a:cubicBezTo>
                  <a:moveTo>
                    <a:pt x="1086803" y="100965"/>
                  </a:moveTo>
                  <a:cubicBezTo>
                    <a:pt x="1085850" y="109538"/>
                    <a:pt x="1083945" y="116205"/>
                    <a:pt x="1079183" y="120968"/>
                  </a:cubicBezTo>
                  <a:cubicBezTo>
                    <a:pt x="1074420" y="125730"/>
                    <a:pt x="1068705" y="127635"/>
                    <a:pt x="1061085" y="127635"/>
                  </a:cubicBezTo>
                  <a:cubicBezTo>
                    <a:pt x="1055370" y="127635"/>
                    <a:pt x="1049655" y="126683"/>
                    <a:pt x="1045845" y="123825"/>
                  </a:cubicBezTo>
                  <a:cubicBezTo>
                    <a:pt x="1042035" y="120968"/>
                    <a:pt x="1038225" y="118110"/>
                    <a:pt x="1036320" y="113348"/>
                  </a:cubicBezTo>
                  <a:cubicBezTo>
                    <a:pt x="1034415" y="108585"/>
                    <a:pt x="1032510" y="103823"/>
                    <a:pt x="1031558" y="98108"/>
                  </a:cubicBezTo>
                  <a:cubicBezTo>
                    <a:pt x="1030605" y="92393"/>
                    <a:pt x="1029653" y="86678"/>
                    <a:pt x="1029653" y="80010"/>
                  </a:cubicBezTo>
                  <a:cubicBezTo>
                    <a:pt x="1029653" y="74295"/>
                    <a:pt x="1030605" y="67628"/>
                    <a:pt x="1031558" y="62865"/>
                  </a:cubicBezTo>
                  <a:cubicBezTo>
                    <a:pt x="1032510" y="57150"/>
                    <a:pt x="1034415" y="52388"/>
                    <a:pt x="1036320" y="47625"/>
                  </a:cubicBezTo>
                  <a:cubicBezTo>
                    <a:pt x="1038225" y="42863"/>
                    <a:pt x="1042035" y="40005"/>
                    <a:pt x="1045845" y="37147"/>
                  </a:cubicBezTo>
                  <a:cubicBezTo>
                    <a:pt x="1049655" y="34290"/>
                    <a:pt x="1054418" y="33338"/>
                    <a:pt x="1061085" y="33338"/>
                  </a:cubicBezTo>
                  <a:cubicBezTo>
                    <a:pt x="1069658" y="33338"/>
                    <a:pt x="1075373" y="35243"/>
                    <a:pt x="1079183" y="40005"/>
                  </a:cubicBezTo>
                  <a:cubicBezTo>
                    <a:pt x="1082993" y="44768"/>
                    <a:pt x="1084898" y="50483"/>
                    <a:pt x="1085850" y="58103"/>
                  </a:cubicBezTo>
                  <a:lnTo>
                    <a:pt x="1125855" y="52388"/>
                  </a:lnTo>
                  <a:cubicBezTo>
                    <a:pt x="1124903" y="44768"/>
                    <a:pt x="1122998" y="38100"/>
                    <a:pt x="1120140" y="31433"/>
                  </a:cubicBezTo>
                  <a:cubicBezTo>
                    <a:pt x="1117283" y="24765"/>
                    <a:pt x="1113473" y="20003"/>
                    <a:pt x="1107758" y="15240"/>
                  </a:cubicBezTo>
                  <a:cubicBezTo>
                    <a:pt x="1102995" y="10478"/>
                    <a:pt x="1096328" y="6668"/>
                    <a:pt x="1088708" y="4763"/>
                  </a:cubicBezTo>
                  <a:cubicBezTo>
                    <a:pt x="1081088" y="1905"/>
                    <a:pt x="1072515" y="953"/>
                    <a:pt x="1062038" y="953"/>
                  </a:cubicBezTo>
                  <a:cubicBezTo>
                    <a:pt x="1050608" y="953"/>
                    <a:pt x="1040130" y="2858"/>
                    <a:pt x="1030605" y="6668"/>
                  </a:cubicBezTo>
                  <a:cubicBezTo>
                    <a:pt x="1021080" y="10478"/>
                    <a:pt x="1013460" y="16193"/>
                    <a:pt x="1007745" y="22860"/>
                  </a:cubicBezTo>
                  <a:cubicBezTo>
                    <a:pt x="1001078" y="29528"/>
                    <a:pt x="996315" y="38100"/>
                    <a:pt x="993458" y="47625"/>
                  </a:cubicBezTo>
                  <a:cubicBezTo>
                    <a:pt x="990600" y="57150"/>
                    <a:pt x="988695" y="68580"/>
                    <a:pt x="988695" y="80010"/>
                  </a:cubicBezTo>
                  <a:cubicBezTo>
                    <a:pt x="988695" y="91440"/>
                    <a:pt x="989647" y="102870"/>
                    <a:pt x="992505" y="112395"/>
                  </a:cubicBezTo>
                  <a:cubicBezTo>
                    <a:pt x="995363" y="121920"/>
                    <a:pt x="1000125" y="130493"/>
                    <a:pt x="1005840" y="137160"/>
                  </a:cubicBezTo>
                  <a:cubicBezTo>
                    <a:pt x="1011555" y="143828"/>
                    <a:pt x="1019175" y="149543"/>
                    <a:pt x="1028700" y="153353"/>
                  </a:cubicBezTo>
                  <a:cubicBezTo>
                    <a:pt x="1038225" y="157163"/>
                    <a:pt x="1048703" y="159068"/>
                    <a:pt x="1061085" y="159068"/>
                  </a:cubicBezTo>
                  <a:cubicBezTo>
                    <a:pt x="1082993" y="159068"/>
                    <a:pt x="1099185" y="153353"/>
                    <a:pt x="1109663" y="142875"/>
                  </a:cubicBezTo>
                  <a:cubicBezTo>
                    <a:pt x="1120140" y="132398"/>
                    <a:pt x="1126808" y="118110"/>
                    <a:pt x="1127760" y="100013"/>
                  </a:cubicBezTo>
                  <a:lnTo>
                    <a:pt x="1086803" y="100013"/>
                  </a:lnTo>
                  <a:close/>
                  <a:moveTo>
                    <a:pt x="921068" y="155258"/>
                  </a:moveTo>
                  <a:lnTo>
                    <a:pt x="962025" y="155258"/>
                  </a:lnTo>
                  <a:lnTo>
                    <a:pt x="962025" y="109538"/>
                  </a:lnTo>
                  <a:lnTo>
                    <a:pt x="921068" y="109538"/>
                  </a:lnTo>
                  <a:lnTo>
                    <a:pt x="921068" y="155258"/>
                  </a:lnTo>
                  <a:close/>
                  <a:moveTo>
                    <a:pt x="671513" y="155258"/>
                  </a:moveTo>
                  <a:lnTo>
                    <a:pt x="711518" y="155258"/>
                  </a:lnTo>
                  <a:lnTo>
                    <a:pt x="711518" y="65723"/>
                  </a:lnTo>
                  <a:cubicBezTo>
                    <a:pt x="711518" y="60960"/>
                    <a:pt x="712470" y="57150"/>
                    <a:pt x="714375" y="53340"/>
                  </a:cubicBezTo>
                  <a:cubicBezTo>
                    <a:pt x="716280" y="49530"/>
                    <a:pt x="718185" y="46672"/>
                    <a:pt x="721043" y="43815"/>
                  </a:cubicBezTo>
                  <a:cubicBezTo>
                    <a:pt x="723900" y="40958"/>
                    <a:pt x="727710" y="38100"/>
                    <a:pt x="730568" y="37147"/>
                  </a:cubicBezTo>
                  <a:cubicBezTo>
                    <a:pt x="734378" y="36195"/>
                    <a:pt x="737235" y="35243"/>
                    <a:pt x="741998" y="35243"/>
                  </a:cubicBezTo>
                  <a:cubicBezTo>
                    <a:pt x="744855" y="35243"/>
                    <a:pt x="746760" y="35243"/>
                    <a:pt x="749618" y="36195"/>
                  </a:cubicBezTo>
                  <a:cubicBezTo>
                    <a:pt x="751523" y="37147"/>
                    <a:pt x="753428" y="38100"/>
                    <a:pt x="755333" y="40005"/>
                  </a:cubicBezTo>
                  <a:cubicBezTo>
                    <a:pt x="757238" y="41910"/>
                    <a:pt x="758190" y="44768"/>
                    <a:pt x="759143" y="47625"/>
                  </a:cubicBezTo>
                  <a:cubicBezTo>
                    <a:pt x="760095" y="51435"/>
                    <a:pt x="761048" y="55245"/>
                    <a:pt x="761048" y="60960"/>
                  </a:cubicBezTo>
                  <a:lnTo>
                    <a:pt x="761048" y="155258"/>
                  </a:lnTo>
                  <a:lnTo>
                    <a:pt x="801053" y="155258"/>
                  </a:lnTo>
                  <a:lnTo>
                    <a:pt x="801053" y="63818"/>
                  </a:lnTo>
                  <a:cubicBezTo>
                    <a:pt x="801053" y="60008"/>
                    <a:pt x="802005" y="56197"/>
                    <a:pt x="803910" y="53340"/>
                  </a:cubicBezTo>
                  <a:cubicBezTo>
                    <a:pt x="805815" y="49530"/>
                    <a:pt x="807720" y="46672"/>
                    <a:pt x="810578" y="43815"/>
                  </a:cubicBezTo>
                  <a:cubicBezTo>
                    <a:pt x="813435" y="40958"/>
                    <a:pt x="817245" y="38100"/>
                    <a:pt x="820103" y="37147"/>
                  </a:cubicBezTo>
                  <a:cubicBezTo>
                    <a:pt x="822960" y="36195"/>
                    <a:pt x="826770" y="35243"/>
                    <a:pt x="831533" y="35243"/>
                  </a:cubicBezTo>
                  <a:cubicBezTo>
                    <a:pt x="834390" y="35243"/>
                    <a:pt x="836295" y="35243"/>
                    <a:pt x="839153" y="36195"/>
                  </a:cubicBezTo>
                  <a:cubicBezTo>
                    <a:pt x="841058" y="37147"/>
                    <a:pt x="842963" y="38100"/>
                    <a:pt x="844868" y="40005"/>
                  </a:cubicBezTo>
                  <a:cubicBezTo>
                    <a:pt x="846772" y="41910"/>
                    <a:pt x="847725" y="44768"/>
                    <a:pt x="848678" y="47625"/>
                  </a:cubicBezTo>
                  <a:cubicBezTo>
                    <a:pt x="849630" y="51435"/>
                    <a:pt x="849630" y="55245"/>
                    <a:pt x="849630" y="60960"/>
                  </a:cubicBezTo>
                  <a:lnTo>
                    <a:pt x="849630" y="155258"/>
                  </a:lnTo>
                  <a:lnTo>
                    <a:pt x="889635" y="155258"/>
                  </a:lnTo>
                  <a:lnTo>
                    <a:pt x="889635" y="55245"/>
                  </a:lnTo>
                  <a:cubicBezTo>
                    <a:pt x="889635" y="36195"/>
                    <a:pt x="885825" y="22860"/>
                    <a:pt x="878205" y="14288"/>
                  </a:cubicBezTo>
                  <a:cubicBezTo>
                    <a:pt x="870585" y="5715"/>
                    <a:pt x="859155" y="1905"/>
                    <a:pt x="843915" y="1905"/>
                  </a:cubicBezTo>
                  <a:cubicBezTo>
                    <a:pt x="834390" y="1905"/>
                    <a:pt x="826770" y="3810"/>
                    <a:pt x="819150" y="7620"/>
                  </a:cubicBezTo>
                  <a:cubicBezTo>
                    <a:pt x="811530" y="11430"/>
                    <a:pt x="803910" y="18098"/>
                    <a:pt x="797243" y="27623"/>
                  </a:cubicBezTo>
                  <a:cubicBezTo>
                    <a:pt x="794385" y="19050"/>
                    <a:pt x="789623" y="12383"/>
                    <a:pt x="782955" y="8573"/>
                  </a:cubicBezTo>
                  <a:cubicBezTo>
                    <a:pt x="776288" y="4763"/>
                    <a:pt x="766763" y="1905"/>
                    <a:pt x="756285" y="1905"/>
                  </a:cubicBezTo>
                  <a:cubicBezTo>
                    <a:pt x="747713" y="1905"/>
                    <a:pt x="740093" y="3810"/>
                    <a:pt x="732473" y="7620"/>
                  </a:cubicBezTo>
                  <a:cubicBezTo>
                    <a:pt x="724853" y="11430"/>
                    <a:pt x="718185" y="18098"/>
                    <a:pt x="713423" y="25718"/>
                  </a:cubicBezTo>
                  <a:lnTo>
                    <a:pt x="713423" y="5715"/>
                  </a:lnTo>
                  <a:lnTo>
                    <a:pt x="674370" y="5715"/>
                  </a:lnTo>
                  <a:lnTo>
                    <a:pt x="674370" y="155258"/>
                  </a:lnTo>
                  <a:close/>
                  <a:moveTo>
                    <a:pt x="541973" y="116205"/>
                  </a:moveTo>
                  <a:cubicBezTo>
                    <a:pt x="536258" y="108585"/>
                    <a:pt x="533400" y="96203"/>
                    <a:pt x="533400" y="80963"/>
                  </a:cubicBezTo>
                  <a:cubicBezTo>
                    <a:pt x="533400" y="65723"/>
                    <a:pt x="536258" y="54293"/>
                    <a:pt x="541973" y="45720"/>
                  </a:cubicBezTo>
                  <a:cubicBezTo>
                    <a:pt x="547688" y="38100"/>
                    <a:pt x="556260" y="33338"/>
                    <a:pt x="567690" y="33338"/>
                  </a:cubicBezTo>
                  <a:cubicBezTo>
                    <a:pt x="579120" y="33338"/>
                    <a:pt x="587693" y="37147"/>
                    <a:pt x="593408" y="45720"/>
                  </a:cubicBezTo>
                  <a:cubicBezTo>
                    <a:pt x="599123" y="53340"/>
                    <a:pt x="601980" y="65723"/>
                    <a:pt x="601980" y="80963"/>
                  </a:cubicBezTo>
                  <a:cubicBezTo>
                    <a:pt x="601980" y="96203"/>
                    <a:pt x="599123" y="107633"/>
                    <a:pt x="593408" y="116205"/>
                  </a:cubicBezTo>
                  <a:cubicBezTo>
                    <a:pt x="587693" y="124778"/>
                    <a:pt x="579120" y="128588"/>
                    <a:pt x="567690" y="128588"/>
                  </a:cubicBezTo>
                  <a:cubicBezTo>
                    <a:pt x="555308" y="127635"/>
                    <a:pt x="546735" y="123825"/>
                    <a:pt x="541973" y="116205"/>
                  </a:cubicBezTo>
                  <a:moveTo>
                    <a:pt x="598170" y="154305"/>
                  </a:moveTo>
                  <a:cubicBezTo>
                    <a:pt x="607695" y="150495"/>
                    <a:pt x="615315" y="145733"/>
                    <a:pt x="621983" y="138113"/>
                  </a:cubicBezTo>
                  <a:cubicBezTo>
                    <a:pt x="628650" y="131445"/>
                    <a:pt x="633413" y="122873"/>
                    <a:pt x="637223" y="113348"/>
                  </a:cubicBezTo>
                  <a:cubicBezTo>
                    <a:pt x="641033" y="103823"/>
                    <a:pt x="642938" y="92393"/>
                    <a:pt x="642938" y="80010"/>
                  </a:cubicBezTo>
                  <a:cubicBezTo>
                    <a:pt x="642938" y="67628"/>
                    <a:pt x="641033" y="57150"/>
                    <a:pt x="638175" y="46672"/>
                  </a:cubicBezTo>
                  <a:cubicBezTo>
                    <a:pt x="635318" y="36195"/>
                    <a:pt x="629603" y="28575"/>
                    <a:pt x="622935" y="21908"/>
                  </a:cubicBezTo>
                  <a:cubicBezTo>
                    <a:pt x="616268" y="15240"/>
                    <a:pt x="608648" y="9525"/>
                    <a:pt x="599123" y="6668"/>
                  </a:cubicBezTo>
                  <a:cubicBezTo>
                    <a:pt x="589598" y="2858"/>
                    <a:pt x="579120" y="953"/>
                    <a:pt x="567690" y="953"/>
                  </a:cubicBezTo>
                  <a:cubicBezTo>
                    <a:pt x="556260" y="953"/>
                    <a:pt x="545783" y="2858"/>
                    <a:pt x="536258" y="6668"/>
                  </a:cubicBezTo>
                  <a:cubicBezTo>
                    <a:pt x="526733" y="10478"/>
                    <a:pt x="519113" y="15240"/>
                    <a:pt x="512445" y="21908"/>
                  </a:cubicBezTo>
                  <a:cubicBezTo>
                    <a:pt x="505778" y="28575"/>
                    <a:pt x="501015" y="37147"/>
                    <a:pt x="497205" y="46672"/>
                  </a:cubicBezTo>
                  <a:cubicBezTo>
                    <a:pt x="493395" y="56197"/>
                    <a:pt x="491490" y="67628"/>
                    <a:pt x="491490" y="80010"/>
                  </a:cubicBezTo>
                  <a:cubicBezTo>
                    <a:pt x="491490" y="105728"/>
                    <a:pt x="498158" y="124778"/>
                    <a:pt x="511492" y="139065"/>
                  </a:cubicBezTo>
                  <a:cubicBezTo>
                    <a:pt x="524828" y="152400"/>
                    <a:pt x="542925" y="160020"/>
                    <a:pt x="566738" y="160020"/>
                  </a:cubicBezTo>
                  <a:cubicBezTo>
                    <a:pt x="579120" y="160020"/>
                    <a:pt x="589598" y="158115"/>
                    <a:pt x="598170" y="154305"/>
                  </a:cubicBezTo>
                  <a:moveTo>
                    <a:pt x="429578" y="100965"/>
                  </a:moveTo>
                  <a:cubicBezTo>
                    <a:pt x="428625" y="109538"/>
                    <a:pt x="425767" y="116205"/>
                    <a:pt x="421958" y="120968"/>
                  </a:cubicBezTo>
                  <a:cubicBezTo>
                    <a:pt x="417195" y="125730"/>
                    <a:pt x="411480" y="127635"/>
                    <a:pt x="403860" y="127635"/>
                  </a:cubicBezTo>
                  <a:cubicBezTo>
                    <a:pt x="398145" y="127635"/>
                    <a:pt x="392430" y="126683"/>
                    <a:pt x="388620" y="123825"/>
                  </a:cubicBezTo>
                  <a:cubicBezTo>
                    <a:pt x="384810" y="120968"/>
                    <a:pt x="381000" y="118110"/>
                    <a:pt x="379095" y="113348"/>
                  </a:cubicBezTo>
                  <a:cubicBezTo>
                    <a:pt x="377190" y="108585"/>
                    <a:pt x="375285" y="103823"/>
                    <a:pt x="374333" y="98108"/>
                  </a:cubicBezTo>
                  <a:cubicBezTo>
                    <a:pt x="373380" y="92393"/>
                    <a:pt x="372428" y="86678"/>
                    <a:pt x="372428" y="80010"/>
                  </a:cubicBezTo>
                  <a:cubicBezTo>
                    <a:pt x="372428" y="74295"/>
                    <a:pt x="373380" y="67628"/>
                    <a:pt x="374333" y="62865"/>
                  </a:cubicBezTo>
                  <a:cubicBezTo>
                    <a:pt x="375285" y="57150"/>
                    <a:pt x="377190" y="52388"/>
                    <a:pt x="379095" y="47625"/>
                  </a:cubicBezTo>
                  <a:cubicBezTo>
                    <a:pt x="381000" y="42863"/>
                    <a:pt x="384810" y="40005"/>
                    <a:pt x="388620" y="37147"/>
                  </a:cubicBezTo>
                  <a:cubicBezTo>
                    <a:pt x="392430" y="34290"/>
                    <a:pt x="398145" y="33338"/>
                    <a:pt x="403860" y="33338"/>
                  </a:cubicBezTo>
                  <a:cubicBezTo>
                    <a:pt x="412433" y="33338"/>
                    <a:pt x="418148" y="35243"/>
                    <a:pt x="421958" y="40005"/>
                  </a:cubicBezTo>
                  <a:cubicBezTo>
                    <a:pt x="425767" y="44768"/>
                    <a:pt x="427673" y="50483"/>
                    <a:pt x="428625" y="58103"/>
                  </a:cubicBezTo>
                  <a:lnTo>
                    <a:pt x="468630" y="52388"/>
                  </a:lnTo>
                  <a:cubicBezTo>
                    <a:pt x="467678" y="44768"/>
                    <a:pt x="465773" y="38100"/>
                    <a:pt x="462915" y="31433"/>
                  </a:cubicBezTo>
                  <a:cubicBezTo>
                    <a:pt x="460058" y="24765"/>
                    <a:pt x="456248" y="20003"/>
                    <a:pt x="450533" y="15240"/>
                  </a:cubicBezTo>
                  <a:cubicBezTo>
                    <a:pt x="445770" y="10478"/>
                    <a:pt x="439103" y="6668"/>
                    <a:pt x="431483" y="4763"/>
                  </a:cubicBezTo>
                  <a:cubicBezTo>
                    <a:pt x="423863" y="1905"/>
                    <a:pt x="415290" y="953"/>
                    <a:pt x="404813" y="953"/>
                  </a:cubicBezTo>
                  <a:cubicBezTo>
                    <a:pt x="393383" y="953"/>
                    <a:pt x="382905" y="2858"/>
                    <a:pt x="373380" y="6668"/>
                  </a:cubicBezTo>
                  <a:cubicBezTo>
                    <a:pt x="363855" y="10478"/>
                    <a:pt x="356235" y="16193"/>
                    <a:pt x="350520" y="22860"/>
                  </a:cubicBezTo>
                  <a:cubicBezTo>
                    <a:pt x="343853" y="29528"/>
                    <a:pt x="339090" y="38100"/>
                    <a:pt x="336233" y="47625"/>
                  </a:cubicBezTo>
                  <a:cubicBezTo>
                    <a:pt x="333375" y="57150"/>
                    <a:pt x="331470" y="68580"/>
                    <a:pt x="331470" y="80010"/>
                  </a:cubicBezTo>
                  <a:cubicBezTo>
                    <a:pt x="331470" y="91440"/>
                    <a:pt x="333375" y="102870"/>
                    <a:pt x="336233" y="112395"/>
                  </a:cubicBezTo>
                  <a:cubicBezTo>
                    <a:pt x="339090" y="121920"/>
                    <a:pt x="343853" y="130493"/>
                    <a:pt x="349567" y="137160"/>
                  </a:cubicBezTo>
                  <a:cubicBezTo>
                    <a:pt x="355283" y="143828"/>
                    <a:pt x="362903" y="149543"/>
                    <a:pt x="372428" y="153353"/>
                  </a:cubicBezTo>
                  <a:cubicBezTo>
                    <a:pt x="381953" y="157163"/>
                    <a:pt x="392430" y="159068"/>
                    <a:pt x="404813" y="159068"/>
                  </a:cubicBezTo>
                  <a:cubicBezTo>
                    <a:pt x="426720" y="159068"/>
                    <a:pt x="442913" y="153353"/>
                    <a:pt x="453390" y="142875"/>
                  </a:cubicBezTo>
                  <a:cubicBezTo>
                    <a:pt x="463867" y="132398"/>
                    <a:pt x="470535" y="118110"/>
                    <a:pt x="471488" y="100013"/>
                  </a:cubicBezTo>
                  <a:lnTo>
                    <a:pt x="429578" y="100013"/>
                  </a:lnTo>
                  <a:close/>
                  <a:moveTo>
                    <a:pt x="203835" y="63818"/>
                  </a:moveTo>
                  <a:cubicBezTo>
                    <a:pt x="203835" y="59055"/>
                    <a:pt x="204788" y="55245"/>
                    <a:pt x="206692" y="51435"/>
                  </a:cubicBezTo>
                  <a:cubicBezTo>
                    <a:pt x="208598" y="47625"/>
                    <a:pt x="210502" y="43815"/>
                    <a:pt x="213360" y="40958"/>
                  </a:cubicBezTo>
                  <a:cubicBezTo>
                    <a:pt x="216217" y="38100"/>
                    <a:pt x="219075" y="35243"/>
                    <a:pt x="223838" y="34290"/>
                  </a:cubicBezTo>
                  <a:cubicBezTo>
                    <a:pt x="227648" y="32385"/>
                    <a:pt x="232410" y="31433"/>
                    <a:pt x="238125" y="31433"/>
                  </a:cubicBezTo>
                  <a:cubicBezTo>
                    <a:pt x="248602" y="31433"/>
                    <a:pt x="256223" y="34290"/>
                    <a:pt x="261938" y="40005"/>
                  </a:cubicBezTo>
                  <a:cubicBezTo>
                    <a:pt x="266700" y="45720"/>
                    <a:pt x="269558" y="53340"/>
                    <a:pt x="269558" y="63818"/>
                  </a:cubicBezTo>
                  <a:lnTo>
                    <a:pt x="203835" y="63818"/>
                  </a:lnTo>
                  <a:close/>
                  <a:moveTo>
                    <a:pt x="266700" y="108585"/>
                  </a:moveTo>
                  <a:cubicBezTo>
                    <a:pt x="263842" y="121920"/>
                    <a:pt x="254317" y="128588"/>
                    <a:pt x="239077" y="128588"/>
                  </a:cubicBezTo>
                  <a:cubicBezTo>
                    <a:pt x="227648" y="128588"/>
                    <a:pt x="219075" y="124778"/>
                    <a:pt x="213360" y="118110"/>
                  </a:cubicBezTo>
                  <a:cubicBezTo>
                    <a:pt x="207645" y="111443"/>
                    <a:pt x="204788" y="101918"/>
                    <a:pt x="203835" y="89535"/>
                  </a:cubicBezTo>
                  <a:lnTo>
                    <a:pt x="307658" y="89535"/>
                  </a:lnTo>
                  <a:lnTo>
                    <a:pt x="307658" y="73343"/>
                  </a:lnTo>
                  <a:cubicBezTo>
                    <a:pt x="307658" y="51435"/>
                    <a:pt x="301942" y="33338"/>
                    <a:pt x="290513" y="20003"/>
                  </a:cubicBezTo>
                  <a:cubicBezTo>
                    <a:pt x="279083" y="6668"/>
                    <a:pt x="261938" y="0"/>
                    <a:pt x="239077" y="0"/>
                  </a:cubicBezTo>
                  <a:cubicBezTo>
                    <a:pt x="227648" y="0"/>
                    <a:pt x="218123" y="1905"/>
                    <a:pt x="208598" y="5715"/>
                  </a:cubicBezTo>
                  <a:cubicBezTo>
                    <a:pt x="199073" y="9525"/>
                    <a:pt x="191452" y="14288"/>
                    <a:pt x="184785" y="20955"/>
                  </a:cubicBezTo>
                  <a:cubicBezTo>
                    <a:pt x="178118" y="27623"/>
                    <a:pt x="173355" y="36195"/>
                    <a:pt x="169545" y="45720"/>
                  </a:cubicBezTo>
                  <a:cubicBezTo>
                    <a:pt x="165735" y="55245"/>
                    <a:pt x="163830" y="66675"/>
                    <a:pt x="163830" y="79058"/>
                  </a:cubicBezTo>
                  <a:cubicBezTo>
                    <a:pt x="163830" y="103823"/>
                    <a:pt x="170498" y="123825"/>
                    <a:pt x="182880" y="137160"/>
                  </a:cubicBezTo>
                  <a:cubicBezTo>
                    <a:pt x="195263" y="150495"/>
                    <a:pt x="214313" y="158115"/>
                    <a:pt x="239077" y="158115"/>
                  </a:cubicBezTo>
                  <a:cubicBezTo>
                    <a:pt x="260033" y="158115"/>
                    <a:pt x="275273" y="153353"/>
                    <a:pt x="285750" y="144780"/>
                  </a:cubicBezTo>
                  <a:cubicBezTo>
                    <a:pt x="296228" y="136208"/>
                    <a:pt x="302895" y="123825"/>
                    <a:pt x="305753" y="106680"/>
                  </a:cubicBezTo>
                  <a:lnTo>
                    <a:pt x="266700" y="106680"/>
                  </a:lnTo>
                  <a:close/>
                  <a:moveTo>
                    <a:pt x="97155" y="96203"/>
                  </a:moveTo>
                  <a:cubicBezTo>
                    <a:pt x="97155" y="101918"/>
                    <a:pt x="96202" y="107633"/>
                    <a:pt x="93345" y="111443"/>
                  </a:cubicBezTo>
                  <a:cubicBezTo>
                    <a:pt x="91440" y="115253"/>
                    <a:pt x="88582" y="119063"/>
                    <a:pt x="84773" y="121920"/>
                  </a:cubicBezTo>
                  <a:cubicBezTo>
                    <a:pt x="78105" y="126683"/>
                    <a:pt x="69532" y="129540"/>
                    <a:pt x="60007" y="129540"/>
                  </a:cubicBezTo>
                  <a:cubicBezTo>
                    <a:pt x="54293" y="129540"/>
                    <a:pt x="49530" y="127635"/>
                    <a:pt x="45720" y="124778"/>
                  </a:cubicBezTo>
                  <a:cubicBezTo>
                    <a:pt x="41910" y="121920"/>
                    <a:pt x="40957" y="118110"/>
                    <a:pt x="40957" y="113348"/>
                  </a:cubicBezTo>
                  <a:cubicBezTo>
                    <a:pt x="40957" y="110490"/>
                    <a:pt x="40957" y="106680"/>
                    <a:pt x="42863" y="104775"/>
                  </a:cubicBezTo>
                  <a:cubicBezTo>
                    <a:pt x="43815" y="101918"/>
                    <a:pt x="45720" y="100013"/>
                    <a:pt x="48577" y="98108"/>
                  </a:cubicBezTo>
                  <a:cubicBezTo>
                    <a:pt x="51435" y="96203"/>
                    <a:pt x="55245" y="94298"/>
                    <a:pt x="60007" y="93345"/>
                  </a:cubicBezTo>
                  <a:cubicBezTo>
                    <a:pt x="64770" y="92393"/>
                    <a:pt x="72390" y="91440"/>
                    <a:pt x="80010" y="90488"/>
                  </a:cubicBezTo>
                  <a:lnTo>
                    <a:pt x="98107" y="89535"/>
                  </a:lnTo>
                  <a:lnTo>
                    <a:pt x="98107" y="96203"/>
                  </a:lnTo>
                  <a:close/>
                  <a:moveTo>
                    <a:pt x="98107" y="155258"/>
                  </a:moveTo>
                  <a:lnTo>
                    <a:pt x="136208" y="155258"/>
                  </a:lnTo>
                  <a:lnTo>
                    <a:pt x="136208" y="60960"/>
                  </a:lnTo>
                  <a:cubicBezTo>
                    <a:pt x="136208" y="51435"/>
                    <a:pt x="135255" y="43815"/>
                    <a:pt x="133350" y="36195"/>
                  </a:cubicBezTo>
                  <a:cubicBezTo>
                    <a:pt x="131445" y="28575"/>
                    <a:pt x="127635" y="22860"/>
                    <a:pt x="122873" y="17145"/>
                  </a:cubicBezTo>
                  <a:cubicBezTo>
                    <a:pt x="118110" y="12383"/>
                    <a:pt x="111443" y="7620"/>
                    <a:pt x="103823" y="5715"/>
                  </a:cubicBezTo>
                  <a:cubicBezTo>
                    <a:pt x="96202" y="3810"/>
                    <a:pt x="85725" y="1905"/>
                    <a:pt x="74295" y="1905"/>
                  </a:cubicBezTo>
                  <a:cubicBezTo>
                    <a:pt x="55245" y="1905"/>
                    <a:pt x="40957" y="5715"/>
                    <a:pt x="29527" y="12383"/>
                  </a:cubicBezTo>
                  <a:cubicBezTo>
                    <a:pt x="18098" y="19050"/>
                    <a:pt x="11430" y="30480"/>
                    <a:pt x="8573" y="46672"/>
                  </a:cubicBezTo>
                  <a:lnTo>
                    <a:pt x="44768" y="50483"/>
                  </a:lnTo>
                  <a:cubicBezTo>
                    <a:pt x="46673" y="38100"/>
                    <a:pt x="56198" y="32385"/>
                    <a:pt x="71438" y="32385"/>
                  </a:cubicBezTo>
                  <a:cubicBezTo>
                    <a:pt x="78105" y="32385"/>
                    <a:pt x="83820" y="34290"/>
                    <a:pt x="89535" y="37147"/>
                  </a:cubicBezTo>
                  <a:cubicBezTo>
                    <a:pt x="94298" y="40958"/>
                    <a:pt x="97155" y="46672"/>
                    <a:pt x="97155" y="56197"/>
                  </a:cubicBezTo>
                  <a:lnTo>
                    <a:pt x="97155" y="62865"/>
                  </a:lnTo>
                  <a:lnTo>
                    <a:pt x="78105" y="63818"/>
                  </a:lnTo>
                  <a:cubicBezTo>
                    <a:pt x="68580" y="63818"/>
                    <a:pt x="59055" y="64770"/>
                    <a:pt x="49530" y="66675"/>
                  </a:cubicBezTo>
                  <a:cubicBezTo>
                    <a:pt x="40005" y="68580"/>
                    <a:pt x="32385" y="70485"/>
                    <a:pt x="24765" y="74295"/>
                  </a:cubicBezTo>
                  <a:cubicBezTo>
                    <a:pt x="17145" y="78105"/>
                    <a:pt x="11430" y="82868"/>
                    <a:pt x="6668" y="89535"/>
                  </a:cubicBezTo>
                  <a:cubicBezTo>
                    <a:pt x="1905" y="96203"/>
                    <a:pt x="0" y="104775"/>
                    <a:pt x="0" y="114300"/>
                  </a:cubicBezTo>
                  <a:cubicBezTo>
                    <a:pt x="0" y="121920"/>
                    <a:pt x="952" y="128588"/>
                    <a:pt x="3810" y="134303"/>
                  </a:cubicBezTo>
                  <a:cubicBezTo>
                    <a:pt x="6668" y="140018"/>
                    <a:pt x="10477" y="144780"/>
                    <a:pt x="14288" y="148590"/>
                  </a:cubicBezTo>
                  <a:cubicBezTo>
                    <a:pt x="19050" y="152400"/>
                    <a:pt x="23813" y="155258"/>
                    <a:pt x="29527" y="156210"/>
                  </a:cubicBezTo>
                  <a:cubicBezTo>
                    <a:pt x="35243" y="157163"/>
                    <a:pt x="41910" y="159068"/>
                    <a:pt x="48577" y="159068"/>
                  </a:cubicBezTo>
                  <a:cubicBezTo>
                    <a:pt x="60007" y="159068"/>
                    <a:pt x="69532" y="157163"/>
                    <a:pt x="77152" y="152400"/>
                  </a:cubicBezTo>
                  <a:cubicBezTo>
                    <a:pt x="84773" y="147638"/>
                    <a:pt x="91440" y="142875"/>
                    <a:pt x="97155" y="136208"/>
                  </a:cubicBezTo>
                  <a:lnTo>
                    <a:pt x="97155" y="155258"/>
                  </a:lnTo>
                  <a:close/>
                </a:path>
              </a:pathLst>
            </a:custGeom>
            <a:solidFill>
              <a:schemeClr val="tx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35187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2_Title Slid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A07EBC5-4080-1670-4BA3-EC5161A2746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401" y="343694"/>
            <a:ext cx="1344688" cy="638116"/>
          </a:xfrm>
          <a:prstGeom prst="rect">
            <a:avLst/>
          </a:prstGeom>
        </p:spPr>
      </p:pic>
      <p:sp>
        <p:nvSpPr>
          <p:cNvPr id="2" name="Title 1"/>
          <p:cNvSpPr>
            <a:spLocks noGrp="1"/>
          </p:cNvSpPr>
          <p:nvPr>
            <p:ph type="ctrTitle" hasCustomPrompt="1"/>
          </p:nvPr>
        </p:nvSpPr>
        <p:spPr>
          <a:xfrm>
            <a:off x="340283" y="2886513"/>
            <a:ext cx="5476695" cy="1248291"/>
          </a:xfrm>
        </p:spPr>
        <p:txBody>
          <a:bodyPr anchor="ctr"/>
          <a:lstStyle>
            <a:lvl1pPr algn="l">
              <a:lnSpc>
                <a:spcPct val="75000"/>
              </a:lnSpc>
              <a:defRPr sz="5250" cap="all" spc="0" baseline="0">
                <a:solidFill>
                  <a:schemeClr val="tx1"/>
                </a:solidFill>
              </a:defRPr>
            </a:lvl1pPr>
          </a:lstStyle>
          <a:p>
            <a:r>
              <a:rPr lang="en-AU" noProof="0"/>
              <a:t>Click to edit title style</a:t>
            </a:r>
          </a:p>
        </p:txBody>
      </p:sp>
      <p:sp>
        <p:nvSpPr>
          <p:cNvPr id="9" name="Text Placeholder 8">
            <a:extLst>
              <a:ext uri="{FF2B5EF4-FFF2-40B4-BE49-F238E27FC236}">
                <a16:creationId xmlns:a16="http://schemas.microsoft.com/office/drawing/2014/main" id="{905E279B-52AE-D647-B85A-157AF4C09E70}"/>
              </a:ext>
            </a:extLst>
          </p:cNvPr>
          <p:cNvSpPr>
            <a:spLocks noGrp="1"/>
          </p:cNvSpPr>
          <p:nvPr>
            <p:ph type="body" sz="quarter" idx="14" hasCustomPrompt="1"/>
          </p:nvPr>
        </p:nvSpPr>
        <p:spPr>
          <a:xfrm>
            <a:off x="344489" y="5827712"/>
            <a:ext cx="5472490" cy="324000"/>
          </a:xfrm>
        </p:spPr>
        <p:txBody>
          <a:bodyPr anchor="b"/>
          <a:lstStyle>
            <a:lvl1pPr marL="0" indent="0">
              <a:lnSpc>
                <a:spcPct val="95000"/>
              </a:lnSpc>
              <a:spcBef>
                <a:spcPts val="0"/>
              </a:spcBef>
              <a:spcAft>
                <a:spcPts val="0"/>
              </a:spcAft>
              <a:buNone/>
              <a:defRPr sz="1800" b="1" cap="all" baseline="0">
                <a:solidFill>
                  <a:schemeClr val="tx1"/>
                </a:solidFill>
                <a:latin typeface="+mn-lt"/>
              </a:defRPr>
            </a:lvl1pPr>
            <a:lvl2pPr marL="0" indent="0">
              <a:lnSpc>
                <a:spcPct val="95000"/>
              </a:lnSpc>
              <a:spcBef>
                <a:spcPts val="0"/>
              </a:spcBef>
              <a:spcAft>
                <a:spcPts val="0"/>
              </a:spcAft>
              <a:buNone/>
              <a:defRPr sz="1800" b="1">
                <a:solidFill>
                  <a:schemeClr val="bg1"/>
                </a:solidFill>
                <a:latin typeface="+mn-lt"/>
              </a:defRPr>
            </a:lvl2pPr>
            <a:lvl3pPr marL="0" indent="0">
              <a:lnSpc>
                <a:spcPct val="95000"/>
              </a:lnSpc>
              <a:spcBef>
                <a:spcPts val="0"/>
              </a:spcBef>
              <a:spcAft>
                <a:spcPts val="0"/>
              </a:spcAft>
              <a:buNone/>
              <a:defRPr sz="1800" b="1">
                <a:solidFill>
                  <a:schemeClr val="bg1"/>
                </a:solidFill>
                <a:latin typeface="+mn-lt"/>
              </a:defRPr>
            </a:lvl3pPr>
            <a:lvl4pPr marL="0" indent="0">
              <a:lnSpc>
                <a:spcPct val="95000"/>
              </a:lnSpc>
              <a:spcBef>
                <a:spcPts val="0"/>
              </a:spcBef>
              <a:spcAft>
                <a:spcPts val="0"/>
              </a:spcAft>
              <a:buNone/>
              <a:defRPr sz="1800" b="1">
                <a:solidFill>
                  <a:schemeClr val="bg1"/>
                </a:solidFill>
                <a:latin typeface="+mn-lt"/>
              </a:defRPr>
            </a:lvl4pPr>
            <a:lvl5pPr marL="0" indent="0">
              <a:lnSpc>
                <a:spcPct val="95000"/>
              </a:lnSpc>
              <a:spcBef>
                <a:spcPts val="0"/>
              </a:spcBef>
              <a:spcAft>
                <a:spcPts val="0"/>
              </a:spcAft>
              <a:buFont typeface="Arial" panose="020B0604020202020204" pitchFamily="34" charset="0"/>
              <a:buNone/>
              <a:defRPr sz="1800" b="1">
                <a:solidFill>
                  <a:schemeClr val="bg1"/>
                </a:solidFill>
                <a:latin typeface="+mn-lt"/>
              </a:defRPr>
            </a:lvl5pPr>
            <a:lvl6pPr marL="0" indent="0">
              <a:lnSpc>
                <a:spcPct val="95000"/>
              </a:lnSpc>
              <a:spcBef>
                <a:spcPts val="0"/>
              </a:spcBef>
              <a:spcAft>
                <a:spcPts val="0"/>
              </a:spcAft>
              <a:buNone/>
              <a:defRPr sz="1800" b="1">
                <a:solidFill>
                  <a:schemeClr val="bg1"/>
                </a:solidFill>
                <a:latin typeface="+mn-lt"/>
              </a:defRPr>
            </a:lvl6pPr>
            <a:lvl7pPr marL="0" indent="0">
              <a:lnSpc>
                <a:spcPct val="95000"/>
              </a:lnSpc>
              <a:spcBef>
                <a:spcPts val="0"/>
              </a:spcBef>
              <a:spcAft>
                <a:spcPts val="0"/>
              </a:spcAft>
              <a:buNone/>
              <a:defRPr sz="1800" b="1">
                <a:solidFill>
                  <a:schemeClr val="bg1"/>
                </a:solidFill>
                <a:latin typeface="+mn-lt"/>
              </a:defRPr>
            </a:lvl7pPr>
            <a:lvl8pPr marL="0" indent="0">
              <a:lnSpc>
                <a:spcPct val="95000"/>
              </a:lnSpc>
              <a:spcBef>
                <a:spcPts val="0"/>
              </a:spcBef>
              <a:spcAft>
                <a:spcPts val="0"/>
              </a:spcAft>
              <a:buNone/>
              <a:defRPr sz="1800" b="1">
                <a:solidFill>
                  <a:schemeClr val="bg1"/>
                </a:solidFill>
                <a:latin typeface="+mn-lt"/>
              </a:defRPr>
            </a:lvl8pPr>
            <a:lvl9pPr marL="0" indent="0">
              <a:lnSpc>
                <a:spcPct val="95000"/>
              </a:lnSpc>
              <a:spcBef>
                <a:spcPts val="0"/>
              </a:spcBef>
              <a:spcAft>
                <a:spcPts val="0"/>
              </a:spcAft>
              <a:buNone/>
              <a:defRPr sz="1800" b="1">
                <a:solidFill>
                  <a:schemeClr val="bg1"/>
                </a:solidFill>
                <a:latin typeface="+mn-lt"/>
              </a:defRPr>
            </a:lvl9pPr>
          </a:lstStyle>
          <a:p>
            <a:pPr lvl="0"/>
            <a:r>
              <a:rPr lang="en-AU" noProof="0"/>
              <a:t>CLICK TO EDIT MASTER TEXT STYLES</a:t>
            </a:r>
          </a:p>
        </p:txBody>
      </p:sp>
      <p:sp>
        <p:nvSpPr>
          <p:cNvPr id="6" name="Text Placeholder 5">
            <a:extLst>
              <a:ext uri="{FF2B5EF4-FFF2-40B4-BE49-F238E27FC236}">
                <a16:creationId xmlns:a16="http://schemas.microsoft.com/office/drawing/2014/main" id="{C5350722-5A38-70CC-6633-DA75790A586E}"/>
              </a:ext>
            </a:extLst>
          </p:cNvPr>
          <p:cNvSpPr>
            <a:spLocks noGrp="1"/>
          </p:cNvSpPr>
          <p:nvPr>
            <p:ph type="body" sz="quarter" idx="13"/>
          </p:nvPr>
        </p:nvSpPr>
        <p:spPr>
          <a:xfrm>
            <a:off x="332345" y="6191100"/>
            <a:ext cx="5484634" cy="324000"/>
          </a:xfrm>
          <a:noFill/>
        </p:spPr>
        <p:txBody>
          <a:bodyPr/>
          <a:lstStyle>
            <a:lvl1pPr marL="0" indent="0">
              <a:lnSpc>
                <a:spcPct val="95000"/>
              </a:lnSpc>
              <a:spcBef>
                <a:spcPts val="0"/>
              </a:spcBef>
              <a:spcAft>
                <a:spcPts val="0"/>
              </a:spcAft>
              <a:buNone/>
              <a:defRPr sz="1500" b="0">
                <a:solidFill>
                  <a:schemeClr val="tx1"/>
                </a:solidFill>
              </a:defRPr>
            </a:lvl1pPr>
            <a:lvl2pPr marL="0" indent="0">
              <a:lnSpc>
                <a:spcPct val="95000"/>
              </a:lnSpc>
              <a:spcBef>
                <a:spcPts val="0"/>
              </a:spcBef>
              <a:spcAft>
                <a:spcPts val="0"/>
              </a:spcAft>
              <a:buNone/>
              <a:defRPr sz="1500" b="0">
                <a:solidFill>
                  <a:schemeClr val="bg1"/>
                </a:solidFill>
              </a:defRPr>
            </a:lvl2pPr>
            <a:lvl3pPr marL="0" indent="0">
              <a:lnSpc>
                <a:spcPct val="95000"/>
              </a:lnSpc>
              <a:spcBef>
                <a:spcPts val="0"/>
              </a:spcBef>
              <a:spcAft>
                <a:spcPts val="0"/>
              </a:spcAft>
              <a:buNone/>
              <a:defRPr sz="1500" b="0">
                <a:solidFill>
                  <a:schemeClr val="bg1"/>
                </a:solidFill>
              </a:defRPr>
            </a:lvl3pPr>
            <a:lvl4pPr marL="0" indent="0">
              <a:lnSpc>
                <a:spcPct val="95000"/>
              </a:lnSpc>
              <a:spcBef>
                <a:spcPts val="0"/>
              </a:spcBef>
              <a:spcAft>
                <a:spcPts val="0"/>
              </a:spcAft>
              <a:buNone/>
              <a:defRPr sz="1500" b="0">
                <a:solidFill>
                  <a:schemeClr val="bg1"/>
                </a:solidFill>
              </a:defRPr>
            </a:lvl4pPr>
            <a:lvl5pPr marL="0" indent="0">
              <a:lnSpc>
                <a:spcPct val="95000"/>
              </a:lnSpc>
              <a:spcBef>
                <a:spcPts val="0"/>
              </a:spcBef>
              <a:spcAft>
                <a:spcPts val="0"/>
              </a:spcAft>
              <a:buNone/>
              <a:defRPr sz="1500" b="0">
                <a:solidFill>
                  <a:schemeClr val="bg1"/>
                </a:solidFill>
              </a:defRPr>
            </a:lvl5pPr>
            <a:lvl6pPr marL="0" indent="0">
              <a:lnSpc>
                <a:spcPct val="95000"/>
              </a:lnSpc>
              <a:spcBef>
                <a:spcPts val="0"/>
              </a:spcBef>
              <a:spcAft>
                <a:spcPts val="0"/>
              </a:spcAft>
              <a:buNone/>
              <a:defRPr sz="1500" b="0">
                <a:solidFill>
                  <a:schemeClr val="bg1"/>
                </a:solidFill>
              </a:defRPr>
            </a:lvl6pPr>
            <a:lvl7pPr marL="0" indent="0">
              <a:lnSpc>
                <a:spcPct val="95000"/>
              </a:lnSpc>
              <a:spcBef>
                <a:spcPts val="0"/>
              </a:spcBef>
              <a:spcAft>
                <a:spcPts val="0"/>
              </a:spcAft>
              <a:buNone/>
              <a:defRPr sz="1500" b="0">
                <a:solidFill>
                  <a:schemeClr val="bg1"/>
                </a:solidFill>
              </a:defRPr>
            </a:lvl7pPr>
            <a:lvl8pPr marL="0" indent="0">
              <a:lnSpc>
                <a:spcPct val="95000"/>
              </a:lnSpc>
              <a:spcBef>
                <a:spcPts val="0"/>
              </a:spcBef>
              <a:spcAft>
                <a:spcPts val="0"/>
              </a:spcAft>
              <a:buNone/>
              <a:defRPr sz="1500" b="0">
                <a:solidFill>
                  <a:schemeClr val="bg1"/>
                </a:solidFill>
              </a:defRPr>
            </a:lvl8pPr>
            <a:lvl9pPr marL="0" indent="0">
              <a:lnSpc>
                <a:spcPct val="95000"/>
              </a:lnSpc>
              <a:spcBef>
                <a:spcPts val="0"/>
              </a:spcBef>
              <a:spcAft>
                <a:spcPts val="0"/>
              </a:spcAft>
              <a:buNone/>
              <a:defRPr sz="1500" b="0">
                <a:solidFill>
                  <a:schemeClr val="bg1"/>
                </a:solidFill>
              </a:defRPr>
            </a:lvl9pPr>
          </a:lstStyle>
          <a:p>
            <a:pPr lvl="0"/>
            <a:r>
              <a:rPr lang="en-US" noProof="0"/>
              <a:t>Click to edit Master text styles</a:t>
            </a:r>
          </a:p>
        </p:txBody>
      </p:sp>
      <p:sp>
        <p:nvSpPr>
          <p:cNvPr id="10" name="Picture Placeholder 9">
            <a:extLst>
              <a:ext uri="{FF2B5EF4-FFF2-40B4-BE49-F238E27FC236}">
                <a16:creationId xmlns:a16="http://schemas.microsoft.com/office/drawing/2014/main" id="{8F41D3CF-A8B4-C9A7-5124-83BBE4C3E786}"/>
              </a:ext>
            </a:extLst>
          </p:cNvPr>
          <p:cNvSpPr>
            <a:spLocks noGrp="1"/>
          </p:cNvSpPr>
          <p:nvPr>
            <p:ph type="pic" sz="quarter" idx="11"/>
          </p:nvPr>
        </p:nvSpPr>
        <p:spPr>
          <a:xfrm>
            <a:off x="6096000" y="0"/>
            <a:ext cx="6096000" cy="6858000"/>
          </a:xfrm>
          <a:noFill/>
        </p:spPr>
        <p:txBody>
          <a:bodyPr anchor="ctr"/>
          <a:lstStyle>
            <a:lvl1pPr algn="ctr">
              <a:defRPr>
                <a:solidFill>
                  <a:schemeClr val="tx1"/>
                </a:solidFill>
              </a:defRPr>
            </a:lvl1pPr>
          </a:lstStyle>
          <a:p>
            <a:r>
              <a:rPr lang="en-US" noProof="0"/>
              <a:t>Click icon to add picture</a:t>
            </a:r>
            <a:endParaRPr lang="en-AU" noProof="0"/>
          </a:p>
        </p:txBody>
      </p:sp>
      <p:pic>
        <p:nvPicPr>
          <p:cNvPr id="3" name="Graphic 2" descr="WSP logo">
            <a:extLst>
              <a:ext uri="{FF2B5EF4-FFF2-40B4-BE49-F238E27FC236}">
                <a16:creationId xmlns:a16="http://schemas.microsoft.com/office/drawing/2014/main" id="{433455B9-E010-53C8-0D32-5BE419E93AFE}"/>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344688" cy="638116"/>
          </a:xfrm>
          <a:prstGeom prst="rect">
            <a:avLst/>
          </a:prstGeom>
        </p:spPr>
      </p:pic>
    </p:spTree>
    <p:extLst>
      <p:ext uri="{BB962C8B-B14F-4D97-AF65-F5344CB8AC3E}">
        <p14:creationId xmlns:p14="http://schemas.microsoft.com/office/powerpoint/2010/main" val="2362837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p15:clr>
            <a:srgbClr val="646464"/>
          </p15:clr>
        </p15:guide>
        <p15:guide id="10" pos="7680">
          <p15:clr>
            <a:srgbClr val="646464"/>
          </p15:clr>
        </p15:guide>
        <p15:guide id="11" pos="217">
          <p15:clr>
            <a:srgbClr val="646464"/>
          </p15:clr>
        </p15:guide>
        <p15:guide id="12" pos="7462">
          <p15:clr>
            <a:srgbClr val="646464"/>
          </p15:clr>
        </p15:guide>
        <p15:guide id="13" orient="horz">
          <p15:clr>
            <a:srgbClr val="646464"/>
          </p15:clr>
        </p15:guide>
        <p15:guide id="14" orient="horz" pos="4320">
          <p15:clr>
            <a:srgbClr val="646464"/>
          </p15:clr>
        </p15:guide>
        <p15:guide id="15" orient="horz" pos="217">
          <p15:clr>
            <a:srgbClr val="646464"/>
          </p15:clr>
        </p15:guide>
        <p15:guide id="16" orient="horz" pos="4102">
          <p15:clr>
            <a:srgbClr val="64646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Slide 2">
    <p:bg>
      <p:bgRef idx="1001">
        <a:schemeClr val="bg1"/>
      </p:bgRef>
    </p:bg>
    <p:spTree>
      <p:nvGrpSpPr>
        <p:cNvPr id="1" name=""/>
        <p:cNvGrpSpPr/>
        <p:nvPr/>
      </p:nvGrpSpPr>
      <p:grpSpPr>
        <a:xfrm>
          <a:off x="0" y="0"/>
          <a:ext cx="0" cy="0"/>
          <a:chOff x="0" y="0"/>
          <a:chExt cx="0" cy="0"/>
        </a:xfrm>
      </p:grpSpPr>
      <p:sp>
        <p:nvSpPr>
          <p:cNvPr id="18" name="Text Placeholder 7">
            <a:extLst>
              <a:ext uri="{FF2B5EF4-FFF2-40B4-BE49-F238E27FC236}">
                <a16:creationId xmlns:a16="http://schemas.microsoft.com/office/drawing/2014/main" id="{9AAA0281-F474-80E6-3C0C-23138CEDCFC1}"/>
              </a:ext>
            </a:extLst>
          </p:cNvPr>
          <p:cNvSpPr>
            <a:spLocks noGrp="1"/>
          </p:cNvSpPr>
          <p:nvPr>
            <p:ph type="body" sz="quarter" idx="12" hasCustomPrompt="1"/>
            <p:custDataLst>
              <p:tags r:id="rId1"/>
            </p:custDataLst>
          </p:nvPr>
        </p:nvSpPr>
        <p:spPr>
          <a:xfrm>
            <a:off x="7084896" y="32688"/>
            <a:ext cx="4818577" cy="1213666"/>
          </a:xfrm>
        </p:spPr>
        <p:txBody>
          <a:bodyPr wrap="square">
            <a:spAutoFit/>
          </a:bodyPr>
          <a:lstStyle>
            <a:lvl1pPr marL="0" indent="0">
              <a:lnSpc>
                <a:spcPct val="75000"/>
              </a:lnSpc>
              <a:spcBef>
                <a:spcPts val="0"/>
              </a:spcBef>
              <a:spcAft>
                <a:spcPts val="0"/>
              </a:spcAft>
              <a:buNone/>
              <a:defRPr sz="5250" b="1" cap="all" spc="-75" baseline="0">
                <a:solidFill>
                  <a:schemeClr val="tx1"/>
                </a:solidFill>
              </a:defRPr>
            </a:lvl1pPr>
            <a:lvl2pPr marL="0" indent="0">
              <a:lnSpc>
                <a:spcPct val="75000"/>
              </a:lnSpc>
              <a:spcBef>
                <a:spcPts val="0"/>
              </a:spcBef>
              <a:spcAft>
                <a:spcPts val="0"/>
              </a:spcAft>
              <a:buFont typeface="Arial" panose="020B0604020202020204" pitchFamily="34" charset="0"/>
              <a:buNone/>
              <a:defRPr sz="5250" b="1" cap="all" spc="-75" baseline="0">
                <a:solidFill>
                  <a:schemeClr val="accent1"/>
                </a:solidFill>
              </a:defRPr>
            </a:lvl2pPr>
            <a:lvl3pPr>
              <a:lnSpc>
                <a:spcPct val="97000"/>
              </a:lnSpc>
              <a:spcBef>
                <a:spcPts val="0"/>
              </a:spcBef>
              <a:spcAft>
                <a:spcPts val="0"/>
              </a:spcAft>
              <a:defRPr sz="1500">
                <a:solidFill>
                  <a:schemeClr val="bg1"/>
                </a:solidFill>
              </a:defRPr>
            </a:lvl3pPr>
            <a:lvl4pPr>
              <a:lnSpc>
                <a:spcPct val="97000"/>
              </a:lnSpc>
              <a:spcBef>
                <a:spcPts val="0"/>
              </a:spcBef>
              <a:spcAft>
                <a:spcPts val="0"/>
              </a:spcAft>
              <a:defRPr sz="1500">
                <a:solidFill>
                  <a:schemeClr val="bg1"/>
                </a:solidFill>
              </a:defRPr>
            </a:lvl4pPr>
            <a:lvl5pPr>
              <a:lnSpc>
                <a:spcPct val="97000"/>
              </a:lnSpc>
              <a:spcBef>
                <a:spcPts val="0"/>
              </a:spcBef>
              <a:spcAft>
                <a:spcPts val="0"/>
              </a:spcAft>
              <a:defRPr sz="1500">
                <a:solidFill>
                  <a:schemeClr val="bg1"/>
                </a:solidFill>
              </a:defRPr>
            </a:lvl5pPr>
          </a:lstStyle>
          <a:p>
            <a:pPr lvl="0"/>
            <a:r>
              <a:rPr lang="en-AU" noProof="0"/>
              <a:t>Level 1 text</a:t>
            </a:r>
          </a:p>
          <a:p>
            <a:pPr lvl="1"/>
            <a:r>
              <a:rPr lang="en-AU" noProof="0"/>
              <a:t>Level 2 text</a:t>
            </a:r>
          </a:p>
        </p:txBody>
      </p:sp>
      <p:sp>
        <p:nvSpPr>
          <p:cNvPr id="8" name="Picture Placeholder 7">
            <a:extLst>
              <a:ext uri="{FF2B5EF4-FFF2-40B4-BE49-F238E27FC236}">
                <a16:creationId xmlns:a16="http://schemas.microsoft.com/office/drawing/2014/main" id="{AA153A70-D027-2663-C177-298A71E6B573}"/>
              </a:ext>
            </a:extLst>
          </p:cNvPr>
          <p:cNvSpPr>
            <a:spLocks noGrp="1"/>
          </p:cNvSpPr>
          <p:nvPr>
            <p:ph type="pic" sz="quarter" idx="25"/>
          </p:nvPr>
        </p:nvSpPr>
        <p:spPr>
          <a:xfrm>
            <a:off x="0" y="0"/>
            <a:ext cx="6096000" cy="6848416"/>
          </a:xfrm>
        </p:spPr>
        <p:txBody>
          <a:bodyPr bIns="2808000" anchor="b"/>
          <a:lstStyle>
            <a:lvl1pPr algn="ctr">
              <a:defRPr/>
            </a:lvl1pPr>
          </a:lstStyle>
          <a:p>
            <a:r>
              <a:rPr lang="en-US" noProof="0"/>
              <a:t>Click icon to add picture</a:t>
            </a:r>
            <a:endParaRPr lang="en-AU" noProof="0"/>
          </a:p>
        </p:txBody>
      </p:sp>
      <p:sp>
        <p:nvSpPr>
          <p:cNvPr id="10" name="Text Placeholder 24">
            <a:extLst>
              <a:ext uri="{FF2B5EF4-FFF2-40B4-BE49-F238E27FC236}">
                <a16:creationId xmlns:a16="http://schemas.microsoft.com/office/drawing/2014/main" id="{5D326B1D-29CB-7092-8DA7-97156A5A3CBA}"/>
              </a:ext>
              <a:ext uri="{C183D7F6-B498-43B3-948B-1728B52AA6E4}">
                <adec:decorative xmlns:adec="http://schemas.microsoft.com/office/drawing/2017/decorative" val="1"/>
              </a:ext>
            </a:extLst>
          </p:cNvPr>
          <p:cNvSpPr>
            <a:spLocks noGrp="1"/>
          </p:cNvSpPr>
          <p:nvPr>
            <p:ph type="body" sz="quarter" idx="24" hasCustomPrompt="1"/>
          </p:nvPr>
        </p:nvSpPr>
        <p:spPr>
          <a:xfrm>
            <a:off x="344401" y="343693"/>
            <a:ext cx="1359250" cy="638115"/>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lvl1pPr>
          </a:lstStyle>
          <a:p>
            <a:pPr lvl="0"/>
            <a:r>
              <a:rPr lang="en-AU" noProof="0"/>
              <a:t>  </a:t>
            </a:r>
          </a:p>
        </p:txBody>
      </p:sp>
      <p:sp>
        <p:nvSpPr>
          <p:cNvPr id="4" name="Text Placeholder 8">
            <a:extLst>
              <a:ext uri="{FF2B5EF4-FFF2-40B4-BE49-F238E27FC236}">
                <a16:creationId xmlns:a16="http://schemas.microsoft.com/office/drawing/2014/main" id="{E0394D99-CBE8-1F34-3C20-31ABE2227F4A}"/>
              </a:ext>
            </a:extLst>
          </p:cNvPr>
          <p:cNvSpPr>
            <a:spLocks noGrp="1"/>
          </p:cNvSpPr>
          <p:nvPr>
            <p:ph type="body" sz="quarter" idx="14" hasCustomPrompt="1"/>
          </p:nvPr>
        </p:nvSpPr>
        <p:spPr>
          <a:xfrm>
            <a:off x="344489" y="5827712"/>
            <a:ext cx="5472490" cy="324000"/>
          </a:xfrm>
        </p:spPr>
        <p:txBody>
          <a:bodyPr anchor="b"/>
          <a:lstStyle>
            <a:lvl1pPr marL="0" indent="0">
              <a:lnSpc>
                <a:spcPct val="95000"/>
              </a:lnSpc>
              <a:spcBef>
                <a:spcPts val="0"/>
              </a:spcBef>
              <a:spcAft>
                <a:spcPts val="0"/>
              </a:spcAft>
              <a:buNone/>
              <a:defRPr sz="1800" b="1" cap="all" baseline="0">
                <a:solidFill>
                  <a:schemeClr val="tx1"/>
                </a:solidFill>
                <a:latin typeface="+mn-lt"/>
              </a:defRPr>
            </a:lvl1pPr>
            <a:lvl2pPr marL="0" indent="0">
              <a:lnSpc>
                <a:spcPct val="95000"/>
              </a:lnSpc>
              <a:spcBef>
                <a:spcPts val="0"/>
              </a:spcBef>
              <a:spcAft>
                <a:spcPts val="0"/>
              </a:spcAft>
              <a:buNone/>
              <a:defRPr sz="1800" b="1">
                <a:solidFill>
                  <a:schemeClr val="bg1"/>
                </a:solidFill>
                <a:latin typeface="+mn-lt"/>
              </a:defRPr>
            </a:lvl2pPr>
            <a:lvl3pPr marL="0" indent="0">
              <a:lnSpc>
                <a:spcPct val="95000"/>
              </a:lnSpc>
              <a:spcBef>
                <a:spcPts val="0"/>
              </a:spcBef>
              <a:spcAft>
                <a:spcPts val="0"/>
              </a:spcAft>
              <a:buNone/>
              <a:defRPr sz="1800" b="1">
                <a:solidFill>
                  <a:schemeClr val="bg1"/>
                </a:solidFill>
                <a:latin typeface="+mn-lt"/>
              </a:defRPr>
            </a:lvl3pPr>
            <a:lvl4pPr marL="0" indent="0">
              <a:lnSpc>
                <a:spcPct val="95000"/>
              </a:lnSpc>
              <a:spcBef>
                <a:spcPts val="0"/>
              </a:spcBef>
              <a:spcAft>
                <a:spcPts val="0"/>
              </a:spcAft>
              <a:buNone/>
              <a:defRPr sz="1800" b="1">
                <a:solidFill>
                  <a:schemeClr val="bg1"/>
                </a:solidFill>
                <a:latin typeface="+mn-lt"/>
              </a:defRPr>
            </a:lvl4pPr>
            <a:lvl5pPr marL="0" indent="0">
              <a:lnSpc>
                <a:spcPct val="95000"/>
              </a:lnSpc>
              <a:spcBef>
                <a:spcPts val="0"/>
              </a:spcBef>
              <a:spcAft>
                <a:spcPts val="0"/>
              </a:spcAft>
              <a:buFont typeface="Arial" panose="020B0604020202020204" pitchFamily="34" charset="0"/>
              <a:buNone/>
              <a:defRPr sz="1800" b="1">
                <a:solidFill>
                  <a:schemeClr val="bg1"/>
                </a:solidFill>
                <a:latin typeface="+mn-lt"/>
              </a:defRPr>
            </a:lvl5pPr>
            <a:lvl6pPr marL="0" indent="0">
              <a:lnSpc>
                <a:spcPct val="95000"/>
              </a:lnSpc>
              <a:spcBef>
                <a:spcPts val="0"/>
              </a:spcBef>
              <a:spcAft>
                <a:spcPts val="0"/>
              </a:spcAft>
              <a:buNone/>
              <a:defRPr sz="1800" b="1">
                <a:solidFill>
                  <a:schemeClr val="bg1"/>
                </a:solidFill>
                <a:latin typeface="+mn-lt"/>
              </a:defRPr>
            </a:lvl6pPr>
            <a:lvl7pPr marL="0" indent="0">
              <a:lnSpc>
                <a:spcPct val="95000"/>
              </a:lnSpc>
              <a:spcBef>
                <a:spcPts val="0"/>
              </a:spcBef>
              <a:spcAft>
                <a:spcPts val="0"/>
              </a:spcAft>
              <a:buNone/>
              <a:defRPr sz="1800" b="1">
                <a:solidFill>
                  <a:schemeClr val="bg1"/>
                </a:solidFill>
                <a:latin typeface="+mn-lt"/>
              </a:defRPr>
            </a:lvl7pPr>
            <a:lvl8pPr marL="0" indent="0">
              <a:lnSpc>
                <a:spcPct val="95000"/>
              </a:lnSpc>
              <a:spcBef>
                <a:spcPts val="0"/>
              </a:spcBef>
              <a:spcAft>
                <a:spcPts val="0"/>
              </a:spcAft>
              <a:buNone/>
              <a:defRPr sz="1800" b="1">
                <a:solidFill>
                  <a:schemeClr val="bg1"/>
                </a:solidFill>
                <a:latin typeface="+mn-lt"/>
              </a:defRPr>
            </a:lvl8pPr>
            <a:lvl9pPr marL="0" indent="0">
              <a:lnSpc>
                <a:spcPct val="95000"/>
              </a:lnSpc>
              <a:spcBef>
                <a:spcPts val="0"/>
              </a:spcBef>
              <a:spcAft>
                <a:spcPts val="0"/>
              </a:spcAft>
              <a:buNone/>
              <a:defRPr sz="1800" b="1">
                <a:solidFill>
                  <a:schemeClr val="bg1"/>
                </a:solidFill>
                <a:latin typeface="+mn-lt"/>
              </a:defRPr>
            </a:lvl9pPr>
          </a:lstStyle>
          <a:p>
            <a:pPr lvl="0"/>
            <a:r>
              <a:rPr lang="en-AU" noProof="0"/>
              <a:t>CLICK TO EDIT MASTER TEXT STYLES</a:t>
            </a:r>
          </a:p>
        </p:txBody>
      </p:sp>
      <p:sp>
        <p:nvSpPr>
          <p:cNvPr id="3" name="Text Placeholder 5">
            <a:extLst>
              <a:ext uri="{FF2B5EF4-FFF2-40B4-BE49-F238E27FC236}">
                <a16:creationId xmlns:a16="http://schemas.microsoft.com/office/drawing/2014/main" id="{CB3874C6-B4DF-BE1A-7681-7CD6889A4571}"/>
              </a:ext>
            </a:extLst>
          </p:cNvPr>
          <p:cNvSpPr>
            <a:spLocks noGrp="1"/>
          </p:cNvSpPr>
          <p:nvPr>
            <p:ph type="body" sz="quarter" idx="13"/>
          </p:nvPr>
        </p:nvSpPr>
        <p:spPr>
          <a:xfrm>
            <a:off x="332345" y="6192000"/>
            <a:ext cx="5484634" cy="324000"/>
          </a:xfrm>
        </p:spPr>
        <p:txBody>
          <a:bodyPr/>
          <a:lstStyle>
            <a:lvl1pPr marL="0" indent="0">
              <a:lnSpc>
                <a:spcPct val="95000"/>
              </a:lnSpc>
              <a:spcBef>
                <a:spcPts val="0"/>
              </a:spcBef>
              <a:spcAft>
                <a:spcPts val="0"/>
              </a:spcAft>
              <a:buNone/>
              <a:defRPr sz="1500" b="0">
                <a:solidFill>
                  <a:schemeClr val="tx1"/>
                </a:solidFill>
              </a:defRPr>
            </a:lvl1pPr>
            <a:lvl2pPr marL="0" indent="0">
              <a:lnSpc>
                <a:spcPct val="95000"/>
              </a:lnSpc>
              <a:spcBef>
                <a:spcPts val="0"/>
              </a:spcBef>
              <a:spcAft>
                <a:spcPts val="0"/>
              </a:spcAft>
              <a:buNone/>
              <a:defRPr sz="1500" b="0">
                <a:solidFill>
                  <a:schemeClr val="bg1"/>
                </a:solidFill>
              </a:defRPr>
            </a:lvl2pPr>
            <a:lvl3pPr marL="0" indent="0">
              <a:lnSpc>
                <a:spcPct val="95000"/>
              </a:lnSpc>
              <a:spcBef>
                <a:spcPts val="0"/>
              </a:spcBef>
              <a:spcAft>
                <a:spcPts val="0"/>
              </a:spcAft>
              <a:buNone/>
              <a:defRPr sz="1500" b="0">
                <a:solidFill>
                  <a:schemeClr val="bg1"/>
                </a:solidFill>
              </a:defRPr>
            </a:lvl3pPr>
            <a:lvl4pPr marL="0" indent="0">
              <a:lnSpc>
                <a:spcPct val="95000"/>
              </a:lnSpc>
              <a:spcBef>
                <a:spcPts val="0"/>
              </a:spcBef>
              <a:spcAft>
                <a:spcPts val="0"/>
              </a:spcAft>
              <a:buNone/>
              <a:defRPr sz="1500" b="0">
                <a:solidFill>
                  <a:schemeClr val="bg1"/>
                </a:solidFill>
              </a:defRPr>
            </a:lvl4pPr>
            <a:lvl5pPr marL="0" indent="0">
              <a:lnSpc>
                <a:spcPct val="95000"/>
              </a:lnSpc>
              <a:spcBef>
                <a:spcPts val="0"/>
              </a:spcBef>
              <a:spcAft>
                <a:spcPts val="0"/>
              </a:spcAft>
              <a:buNone/>
              <a:defRPr sz="1500" b="0">
                <a:solidFill>
                  <a:schemeClr val="bg1"/>
                </a:solidFill>
              </a:defRPr>
            </a:lvl5pPr>
            <a:lvl6pPr marL="0" indent="0">
              <a:lnSpc>
                <a:spcPct val="95000"/>
              </a:lnSpc>
              <a:spcBef>
                <a:spcPts val="0"/>
              </a:spcBef>
              <a:spcAft>
                <a:spcPts val="0"/>
              </a:spcAft>
              <a:buNone/>
              <a:defRPr sz="1500" b="0">
                <a:solidFill>
                  <a:schemeClr val="bg1"/>
                </a:solidFill>
              </a:defRPr>
            </a:lvl6pPr>
            <a:lvl7pPr marL="0" indent="0">
              <a:lnSpc>
                <a:spcPct val="95000"/>
              </a:lnSpc>
              <a:spcBef>
                <a:spcPts val="0"/>
              </a:spcBef>
              <a:spcAft>
                <a:spcPts val="0"/>
              </a:spcAft>
              <a:buNone/>
              <a:defRPr sz="1500" b="0">
                <a:solidFill>
                  <a:schemeClr val="bg1"/>
                </a:solidFill>
              </a:defRPr>
            </a:lvl7pPr>
            <a:lvl8pPr marL="0" indent="0">
              <a:lnSpc>
                <a:spcPct val="95000"/>
              </a:lnSpc>
              <a:spcBef>
                <a:spcPts val="0"/>
              </a:spcBef>
              <a:spcAft>
                <a:spcPts val="0"/>
              </a:spcAft>
              <a:buNone/>
              <a:defRPr sz="1500" b="0">
                <a:solidFill>
                  <a:schemeClr val="bg1"/>
                </a:solidFill>
              </a:defRPr>
            </a:lvl8pPr>
            <a:lvl9pPr marL="0" indent="0">
              <a:lnSpc>
                <a:spcPct val="95000"/>
              </a:lnSpc>
              <a:spcBef>
                <a:spcPts val="0"/>
              </a:spcBef>
              <a:spcAft>
                <a:spcPts val="0"/>
              </a:spcAft>
              <a:buNone/>
              <a:defRPr sz="1500" b="0">
                <a:solidFill>
                  <a:schemeClr val="bg1"/>
                </a:solidFill>
              </a:defRPr>
            </a:lvl9pPr>
          </a:lstStyle>
          <a:p>
            <a:pPr lvl="0"/>
            <a:r>
              <a:rPr lang="en-US" noProof="0"/>
              <a:t>Click to edit Master text styles</a:t>
            </a:r>
          </a:p>
        </p:txBody>
      </p:sp>
    </p:spTree>
    <p:extLst>
      <p:ext uri="{BB962C8B-B14F-4D97-AF65-F5344CB8AC3E}">
        <p14:creationId xmlns:p14="http://schemas.microsoft.com/office/powerpoint/2010/main" val="1204596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p15:clr>
            <a:srgbClr val="646464"/>
          </p15:clr>
        </p15:guide>
        <p15:guide id="10" pos="7680">
          <p15:clr>
            <a:srgbClr val="646464"/>
          </p15:clr>
        </p15:guide>
        <p15:guide id="11" pos="217">
          <p15:clr>
            <a:srgbClr val="646464"/>
          </p15:clr>
        </p15:guide>
        <p15:guide id="12" pos="7462">
          <p15:clr>
            <a:srgbClr val="646464"/>
          </p15:clr>
        </p15:guide>
        <p15:guide id="13" orient="horz">
          <p15:clr>
            <a:srgbClr val="646464"/>
          </p15:clr>
        </p15:guide>
        <p15:guide id="14" orient="horz" pos="4320">
          <p15:clr>
            <a:srgbClr val="646464"/>
          </p15:clr>
        </p15:guide>
        <p15:guide id="15" orient="horz" pos="217">
          <p15:clr>
            <a:srgbClr val="646464"/>
          </p15:clr>
        </p15:guide>
        <p15:guide id="16" orient="horz" pos="4102">
          <p15:clr>
            <a:srgbClr val="64646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Project 2_Dark">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3F7784C-DEBA-3468-B59B-5DAD73E6AE80}"/>
              </a:ext>
            </a:extLst>
          </p:cNvPr>
          <p:cNvSpPr>
            <a:spLocks noGrp="1"/>
          </p:cNvSpPr>
          <p:nvPr>
            <p:ph type="pic" sz="quarter" idx="17"/>
          </p:nvPr>
        </p:nvSpPr>
        <p:spPr>
          <a:xfrm>
            <a:off x="0" y="1030288"/>
            <a:ext cx="3947576" cy="4452937"/>
          </a:xfrm>
        </p:spPr>
        <p:txBody>
          <a:bodyPr/>
          <a:lstStyle>
            <a:lvl1pPr algn="ctr">
              <a:defRPr>
                <a:solidFill>
                  <a:schemeClr val="tx1"/>
                </a:solidFill>
              </a:defRPr>
            </a:lvl1pPr>
          </a:lstStyle>
          <a:p>
            <a:r>
              <a:rPr lang="en-US"/>
              <a:t>Click icon to add picture</a:t>
            </a:r>
            <a:endParaRPr lang="en-GB"/>
          </a:p>
        </p:txBody>
      </p:sp>
      <p:sp>
        <p:nvSpPr>
          <p:cNvPr id="2" name="Text Placeholder 9">
            <a:extLst>
              <a:ext uri="{FF2B5EF4-FFF2-40B4-BE49-F238E27FC236}">
                <a16:creationId xmlns:a16="http://schemas.microsoft.com/office/drawing/2014/main" id="{4A56565E-D28B-6BA5-8D1F-DD8A4381EEBB}"/>
              </a:ext>
            </a:extLst>
          </p:cNvPr>
          <p:cNvSpPr>
            <a:spLocks noGrp="1"/>
          </p:cNvSpPr>
          <p:nvPr>
            <p:ph type="body" sz="quarter" idx="16"/>
          </p:nvPr>
        </p:nvSpPr>
        <p:spPr>
          <a:xfrm>
            <a:off x="3401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noProof="0"/>
              <a:t>Click to edit Master text styles</a:t>
            </a:r>
          </a:p>
          <a:p>
            <a:pPr lvl="1"/>
            <a:r>
              <a:rPr lang="en-US" noProof="0"/>
              <a:t>Second level</a:t>
            </a:r>
          </a:p>
        </p:txBody>
      </p:sp>
      <p:sp>
        <p:nvSpPr>
          <p:cNvPr id="14" name="Picture Placeholder 11">
            <a:extLst>
              <a:ext uri="{FF2B5EF4-FFF2-40B4-BE49-F238E27FC236}">
                <a16:creationId xmlns:a16="http://schemas.microsoft.com/office/drawing/2014/main" id="{D5C224D8-52CC-92CA-83E8-7FD1E0C473EE}"/>
              </a:ext>
            </a:extLst>
          </p:cNvPr>
          <p:cNvSpPr>
            <a:spLocks noGrp="1"/>
          </p:cNvSpPr>
          <p:nvPr>
            <p:ph type="pic" sz="quarter" idx="18"/>
          </p:nvPr>
        </p:nvSpPr>
        <p:spPr>
          <a:xfrm>
            <a:off x="4294187" y="1030288"/>
            <a:ext cx="3602563" cy="4452937"/>
          </a:xfrm>
        </p:spPr>
        <p:txBody>
          <a:bodyPr/>
          <a:lstStyle>
            <a:lvl1pPr algn="ctr">
              <a:defRPr>
                <a:solidFill>
                  <a:schemeClr val="tx1"/>
                </a:solidFill>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FC23AFCB-BF0A-06E9-AD94-1AB0286FF4B9}"/>
              </a:ext>
            </a:extLst>
          </p:cNvPr>
          <p:cNvSpPr>
            <a:spLocks noGrp="1"/>
          </p:cNvSpPr>
          <p:nvPr>
            <p:ph type="body" sz="quarter" idx="20"/>
          </p:nvPr>
        </p:nvSpPr>
        <p:spPr>
          <a:xfrm>
            <a:off x="4295777"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15" name="Picture Placeholder 11">
            <a:extLst>
              <a:ext uri="{FF2B5EF4-FFF2-40B4-BE49-F238E27FC236}">
                <a16:creationId xmlns:a16="http://schemas.microsoft.com/office/drawing/2014/main" id="{62FA86A3-D1F8-CE2E-F4A5-36C597192293}"/>
              </a:ext>
            </a:extLst>
          </p:cNvPr>
          <p:cNvSpPr>
            <a:spLocks noGrp="1"/>
          </p:cNvSpPr>
          <p:nvPr>
            <p:ph type="pic" sz="quarter" idx="19"/>
          </p:nvPr>
        </p:nvSpPr>
        <p:spPr>
          <a:xfrm>
            <a:off x="8242300" y="1030288"/>
            <a:ext cx="3949699" cy="4452937"/>
          </a:xfrm>
        </p:spPr>
        <p:txBody>
          <a:bodyPr/>
          <a:lstStyle>
            <a:lvl1pPr algn="ctr">
              <a:defRPr>
                <a:solidFill>
                  <a:schemeClr val="tx1"/>
                </a:solidFill>
              </a:defRPr>
            </a:lvl1pPr>
          </a:lstStyle>
          <a:p>
            <a:r>
              <a:rPr lang="en-US"/>
              <a:t>Click icon to add picture</a:t>
            </a:r>
            <a:endParaRPr lang="en-GB"/>
          </a:p>
        </p:txBody>
      </p:sp>
      <p:sp>
        <p:nvSpPr>
          <p:cNvPr id="17" name="Text Placeholder 9">
            <a:extLst>
              <a:ext uri="{FF2B5EF4-FFF2-40B4-BE49-F238E27FC236}">
                <a16:creationId xmlns:a16="http://schemas.microsoft.com/office/drawing/2014/main" id="{29E8C645-5B5A-8FDD-A499-22A85E9BCE91}"/>
              </a:ext>
            </a:extLst>
          </p:cNvPr>
          <p:cNvSpPr>
            <a:spLocks noGrp="1"/>
          </p:cNvSpPr>
          <p:nvPr>
            <p:ph type="body" sz="quarter" idx="21"/>
          </p:nvPr>
        </p:nvSpPr>
        <p:spPr>
          <a:xfrm>
            <a:off x="82433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Arial" panose="020B0604020202020204"/>
                <a:ea typeface="+mn-ea"/>
                <a:cs typeface="+mn-cs"/>
              </a:rPr>
              <a:t>WSP | Footer goes here | Date</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91D568E7-61F5-D04E-995D-81EF41C01A2A}" type="slidenum">
              <a:rPr kumimoji="0" lang="en-GB" sz="7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a:t>
            </a:fld>
            <a:endParaRPr kumimoji="0" lang="en-GB" sz="7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21301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hree Content_Dark">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304780-B4E2-870D-699B-166F117834E4}"/>
              </a:ext>
            </a:extLst>
          </p:cNvPr>
          <p:cNvSpPr>
            <a:spLocks noGrp="1"/>
          </p:cNvSpPr>
          <p:nvPr>
            <p:ph type="title"/>
          </p:nvPr>
        </p:nvSpPr>
        <p:spPr/>
        <p:txBody>
          <a:bodyPr/>
          <a:lstStyle/>
          <a:p>
            <a:r>
              <a:rPr lang="en-US" noProof="0"/>
              <a:t>Click to edit Master title style</a:t>
            </a:r>
            <a:endParaRPr lang="en-AU" noProof="0"/>
          </a:p>
        </p:txBody>
      </p:sp>
      <p:sp>
        <p:nvSpPr>
          <p:cNvPr id="10" name="Content Placeholder 9">
            <a:extLst>
              <a:ext uri="{FF2B5EF4-FFF2-40B4-BE49-F238E27FC236}">
                <a16:creationId xmlns:a16="http://schemas.microsoft.com/office/drawing/2014/main" id="{D68276A0-4AE3-3D53-58E7-A8E5CB46FDE8}"/>
              </a:ext>
            </a:extLst>
          </p:cNvPr>
          <p:cNvSpPr>
            <a:spLocks noGrp="1"/>
          </p:cNvSpPr>
          <p:nvPr>
            <p:ph sz="quarter" idx="13"/>
          </p:nvPr>
        </p:nvSpPr>
        <p:spPr>
          <a:xfrm>
            <a:off x="342899" y="2400299"/>
            <a:ext cx="3605213" cy="3768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1" name="Content Placeholder 9">
            <a:extLst>
              <a:ext uri="{FF2B5EF4-FFF2-40B4-BE49-F238E27FC236}">
                <a16:creationId xmlns:a16="http://schemas.microsoft.com/office/drawing/2014/main" id="{77B7F741-53CE-FBAF-E825-D6A8278A5191}"/>
              </a:ext>
            </a:extLst>
          </p:cNvPr>
          <p:cNvSpPr>
            <a:spLocks noGrp="1"/>
          </p:cNvSpPr>
          <p:nvPr>
            <p:ph sz="quarter" idx="14"/>
          </p:nvPr>
        </p:nvSpPr>
        <p:spPr>
          <a:xfrm>
            <a:off x="4292600" y="2400299"/>
            <a:ext cx="3605212" cy="3768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9">
            <a:extLst>
              <a:ext uri="{FF2B5EF4-FFF2-40B4-BE49-F238E27FC236}">
                <a16:creationId xmlns:a16="http://schemas.microsoft.com/office/drawing/2014/main" id="{05DEABA2-AF10-F11F-FE17-BBEDB4599C34}"/>
              </a:ext>
            </a:extLst>
          </p:cNvPr>
          <p:cNvSpPr>
            <a:spLocks noGrp="1"/>
          </p:cNvSpPr>
          <p:nvPr>
            <p:ph sz="quarter" idx="15"/>
          </p:nvPr>
        </p:nvSpPr>
        <p:spPr>
          <a:xfrm>
            <a:off x="8242299" y="2400299"/>
            <a:ext cx="3605213" cy="3768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91D568E7-61F5-D04E-995D-81EF41C01A2A}" type="slidenum">
              <a:rPr kumimoji="0" lang="en-AU" sz="7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a:t>
            </a:fld>
            <a:endParaRPr kumimoji="0" lang="en-AU" sz="7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FFFFFF"/>
                </a:solidFill>
                <a:effectLst/>
                <a:uLnTx/>
                <a:uFillTx/>
                <a:latin typeface="Arial" panose="020B0604020202020204"/>
                <a:ea typeface="+mn-ea"/>
                <a:cs typeface="+mn-cs"/>
              </a:rPr>
              <a:t>WSP | Footer goes here | Date</a:t>
            </a:r>
          </a:p>
        </p:txBody>
      </p:sp>
    </p:spTree>
    <p:extLst>
      <p:ext uri="{BB962C8B-B14F-4D97-AF65-F5344CB8AC3E}">
        <p14:creationId xmlns:p14="http://schemas.microsoft.com/office/powerpoint/2010/main" val="23437231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Blu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4347328-B70C-4751-BC8D-491CF38D14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666"/>
          <a:stretch/>
        </p:blipFill>
        <p:spPr>
          <a:xfrm>
            <a:off x="308180" y="958788"/>
            <a:ext cx="9048465" cy="5899212"/>
          </a:xfrm>
          <a:prstGeom prst="rect">
            <a:avLst/>
          </a:prstGeom>
        </p:spPr>
      </p:pic>
      <p:sp>
        <p:nvSpPr>
          <p:cNvPr id="10" name="Rectangle 9">
            <a:extLst>
              <a:ext uri="{FF2B5EF4-FFF2-40B4-BE49-F238E27FC236}">
                <a16:creationId xmlns:a16="http://schemas.microsoft.com/office/drawing/2014/main" id="{A74B344C-1059-441A-B5F4-30CA532C3801}"/>
              </a:ext>
            </a:extLst>
          </p:cNvPr>
          <p:cNvSpPr/>
          <p:nvPr userDrawn="1"/>
        </p:nvSpPr>
        <p:spPr>
          <a:xfrm>
            <a:off x="9298080" y="958788"/>
            <a:ext cx="1325880" cy="5899212"/>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CF0A7FE-E40F-488B-8AB6-3CBB07F6A5A6}"/>
              </a:ext>
            </a:extLst>
          </p:cNvPr>
          <p:cNvSpPr/>
          <p:nvPr userDrawn="1"/>
        </p:nvSpPr>
        <p:spPr>
          <a:xfrm>
            <a:off x="10591199" y="958788"/>
            <a:ext cx="1005840" cy="5899212"/>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2E59BCD-47C9-4B31-AE87-A4C2C37E1B3F}"/>
              </a:ext>
            </a:extLst>
          </p:cNvPr>
          <p:cNvSpPr/>
          <p:nvPr userDrawn="1"/>
        </p:nvSpPr>
        <p:spPr>
          <a:xfrm>
            <a:off x="11541545" y="958788"/>
            <a:ext cx="320040" cy="5899212"/>
          </a:xfrm>
          <a:prstGeom prst="rect">
            <a:avLst/>
          </a:prstGeom>
          <a:solidFill>
            <a:srgbClr val="001E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1E20A46A-74ED-4819-86EC-E38A31E5BF86}"/>
              </a:ext>
            </a:extLst>
          </p:cNvPr>
          <p:cNvSpPr>
            <a:spLocks noGrp="1"/>
          </p:cNvSpPr>
          <p:nvPr userDrawn="1">
            <p:ph type="ctrTitle" hasCustomPrompt="1"/>
          </p:nvPr>
        </p:nvSpPr>
        <p:spPr>
          <a:xfrm>
            <a:off x="640080" y="2104056"/>
            <a:ext cx="8686800" cy="1463040"/>
          </a:xfrm>
          <a:prstGeom prst="rect">
            <a:avLst/>
          </a:prstGeom>
          <a:noFill/>
        </p:spPr>
        <p:txBody>
          <a:bodyPr anchor="b">
            <a:noAutofit/>
          </a:bodyPr>
          <a:lstStyle>
            <a:lvl1pPr algn="l">
              <a:defRPr sz="4800" b="1">
                <a:solidFill>
                  <a:schemeClr val="bg1"/>
                </a:solidFill>
              </a:defRPr>
            </a:lvl1pPr>
          </a:lstStyle>
          <a:p>
            <a:r>
              <a:rPr lang="en-US"/>
              <a:t>Presentation title, 48pt bold</a:t>
            </a:r>
            <a:br>
              <a:rPr lang="en-US"/>
            </a:br>
            <a:r>
              <a:rPr lang="en-US"/>
              <a:t>Two line limit</a:t>
            </a:r>
          </a:p>
        </p:txBody>
      </p:sp>
      <p:pic>
        <p:nvPicPr>
          <p:cNvPr id="15" name="Picture 14">
            <a:extLst>
              <a:ext uri="{FF2B5EF4-FFF2-40B4-BE49-F238E27FC236}">
                <a16:creationId xmlns:a16="http://schemas.microsoft.com/office/drawing/2014/main" id="{0E04C589-FE67-4806-80C9-D3EEA7897CF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6357" y="261203"/>
            <a:ext cx="3769325" cy="420656"/>
          </a:xfrm>
          <a:prstGeom prst="rect">
            <a:avLst/>
          </a:prstGeom>
        </p:spPr>
      </p:pic>
      <p:sp>
        <p:nvSpPr>
          <p:cNvPr id="16" name="Text Placeholder 5">
            <a:extLst>
              <a:ext uri="{FF2B5EF4-FFF2-40B4-BE49-F238E27FC236}">
                <a16:creationId xmlns:a16="http://schemas.microsoft.com/office/drawing/2014/main" id="{B2C3EF58-96A4-4465-A795-FFCE070BE62D}"/>
              </a:ext>
            </a:extLst>
          </p:cNvPr>
          <p:cNvSpPr>
            <a:spLocks noGrp="1"/>
          </p:cNvSpPr>
          <p:nvPr userDrawn="1">
            <p:ph type="body" sz="quarter" idx="10" hasCustomPrompt="1"/>
          </p:nvPr>
        </p:nvSpPr>
        <p:spPr>
          <a:xfrm>
            <a:off x="639763" y="3808413"/>
            <a:ext cx="8658225" cy="1776412"/>
          </a:xfrm>
          <a:prstGeom prst="rect">
            <a:avLst/>
          </a:prstGeom>
        </p:spPr>
        <p:txBody>
          <a:bodyPr/>
          <a:lstStyle>
            <a:lvl1pPr marL="0" indent="0">
              <a:buFontTx/>
              <a:buNone/>
              <a:defRPr>
                <a:solidFill>
                  <a:schemeClr val="bg1"/>
                </a:solidFill>
              </a:defRPr>
            </a:lvl1pPr>
          </a:lstStyle>
          <a:p>
            <a:pPr lvl="0"/>
            <a:r>
              <a:rPr lang="en-AU"/>
              <a:t>Other information, 28pt</a:t>
            </a:r>
            <a:endParaRPr lang="en-US"/>
          </a:p>
        </p:txBody>
      </p:sp>
      <p:sp>
        <p:nvSpPr>
          <p:cNvPr id="8" name="Rectangle 7">
            <a:extLst>
              <a:ext uri="{FF2B5EF4-FFF2-40B4-BE49-F238E27FC236}">
                <a16:creationId xmlns:a16="http://schemas.microsoft.com/office/drawing/2014/main" id="{5C68A0A1-DF7B-46D3-8F90-3A8D67F52C74}"/>
              </a:ext>
            </a:extLst>
          </p:cNvPr>
          <p:cNvSpPr/>
          <p:nvPr userDrawn="1"/>
        </p:nvSpPr>
        <p:spPr>
          <a:xfrm>
            <a:off x="-11861" y="958788"/>
            <a:ext cx="331349" cy="5899212"/>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07267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Welcome Blue">
    <p:bg>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a:p>
        </p:txBody>
      </p:sp>
      <p:grpSp>
        <p:nvGrpSpPr>
          <p:cNvPr id="15" name="Group 14">
            <a:extLst>
              <a:ext uri="{FF2B5EF4-FFF2-40B4-BE49-F238E27FC236}">
                <a16:creationId xmlns:a16="http://schemas.microsoft.com/office/drawing/2014/main" id="{55256B78-980D-4477-916F-C18EA383A170}"/>
              </a:ext>
            </a:extLst>
          </p:cNvPr>
          <p:cNvGrpSpPr/>
          <p:nvPr userDrawn="1"/>
        </p:nvGrpSpPr>
        <p:grpSpPr>
          <a:xfrm>
            <a:off x="9059248" y="1134441"/>
            <a:ext cx="3128407" cy="5102887"/>
            <a:chOff x="9059248" y="1134441"/>
            <a:chExt cx="3128407" cy="5102887"/>
          </a:xfrm>
        </p:grpSpPr>
        <p:pic>
          <p:nvPicPr>
            <p:cNvPr id="16" name="Picture 15">
              <a:extLst>
                <a:ext uri="{FF2B5EF4-FFF2-40B4-BE49-F238E27FC236}">
                  <a16:creationId xmlns:a16="http://schemas.microsoft.com/office/drawing/2014/main" id="{6896EF4A-4375-4507-9786-62D2CA2A57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33281" y="1142132"/>
              <a:ext cx="2486315" cy="5095195"/>
            </a:xfrm>
            <a:prstGeom prst="rect">
              <a:avLst/>
            </a:prstGeom>
          </p:spPr>
        </p:pic>
        <p:sp>
          <p:nvSpPr>
            <p:cNvPr id="17" name="Rectangle 16">
              <a:extLst>
                <a:ext uri="{FF2B5EF4-FFF2-40B4-BE49-F238E27FC236}">
                  <a16:creationId xmlns:a16="http://schemas.microsoft.com/office/drawing/2014/main" id="{4E7E7A7B-5F02-451F-9031-9268A740DDD0}"/>
                </a:ext>
              </a:extLst>
            </p:cNvPr>
            <p:cNvSpPr/>
            <p:nvPr userDrawn="1"/>
          </p:nvSpPr>
          <p:spPr>
            <a:xfrm>
              <a:off x="11719596" y="1134441"/>
              <a:ext cx="468059" cy="5102886"/>
            </a:xfrm>
            <a:prstGeom prst="rect">
              <a:avLst/>
            </a:prstGeom>
            <a:solidFill>
              <a:srgbClr val="001E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70F7952-1B28-4A3B-82C4-5E0D25C8E31B}"/>
                </a:ext>
              </a:extLst>
            </p:cNvPr>
            <p:cNvSpPr/>
            <p:nvPr userDrawn="1"/>
          </p:nvSpPr>
          <p:spPr>
            <a:xfrm>
              <a:off x="9059248" y="1142132"/>
              <a:ext cx="178177" cy="5095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7EEC5E88-C8C8-4AB8-96E2-0DF7FD0832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4442" y="1124375"/>
            <a:ext cx="781674" cy="5120640"/>
          </a:xfrm>
          <a:prstGeom prst="rect">
            <a:avLst/>
          </a:prstGeom>
        </p:spPr>
      </p:pic>
      <p:sp>
        <p:nvSpPr>
          <p:cNvPr id="22" name="Rectangle 21">
            <a:extLst>
              <a:ext uri="{FF2B5EF4-FFF2-40B4-BE49-F238E27FC236}">
                <a16:creationId xmlns:a16="http://schemas.microsoft.com/office/drawing/2014/main" id="{DC0439B0-81A4-4695-99C6-6C5C7BC6B38D}"/>
              </a:ext>
            </a:extLst>
          </p:cNvPr>
          <p:cNvSpPr/>
          <p:nvPr userDrawn="1"/>
        </p:nvSpPr>
        <p:spPr>
          <a:xfrm>
            <a:off x="914746" y="1124375"/>
            <a:ext cx="178177" cy="5120641"/>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350040E-A4F4-4722-92FB-C68F977114E5}"/>
              </a:ext>
            </a:extLst>
          </p:cNvPr>
          <p:cNvSpPr/>
          <p:nvPr userDrawn="1"/>
        </p:nvSpPr>
        <p:spPr>
          <a:xfrm>
            <a:off x="0" y="1124375"/>
            <a:ext cx="235199" cy="5120641"/>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Placeholder 1">
            <a:extLst>
              <a:ext uri="{FF2B5EF4-FFF2-40B4-BE49-F238E27FC236}">
                <a16:creationId xmlns:a16="http://schemas.microsoft.com/office/drawing/2014/main" id="{B1E8ADD1-6E5F-4F08-AED3-FF648F071410}"/>
              </a:ext>
            </a:extLst>
          </p:cNvPr>
          <p:cNvSpPr>
            <a:spLocks noGrp="1"/>
          </p:cNvSpPr>
          <p:nvPr>
            <p:ph type="title"/>
          </p:nvPr>
        </p:nvSpPr>
        <p:spPr bwMode="white">
          <a:xfrm>
            <a:off x="320040" y="486795"/>
            <a:ext cx="11521440" cy="640080"/>
          </a:xfrm>
          <a:prstGeom prst="rect">
            <a:avLst/>
          </a:prstGeom>
        </p:spPr>
        <p:txBody>
          <a:bodyPr vert="horz" lIns="0" tIns="0" rIns="0" bIns="0" rtlCol="0" anchor="ctr">
            <a:normAutofit/>
          </a:bodyPr>
          <a:lstStyle/>
          <a:p>
            <a:r>
              <a:rPr lang="en-US"/>
              <a:t>Slide title, 28pt bold</a:t>
            </a:r>
            <a:endParaRPr lang="en-AU"/>
          </a:p>
        </p:txBody>
      </p:sp>
    </p:spTree>
    <p:extLst>
      <p:ext uri="{BB962C8B-B14F-4D97-AF65-F5344CB8AC3E}">
        <p14:creationId xmlns:p14="http://schemas.microsoft.com/office/powerpoint/2010/main" val="383754222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05B62-818A-686A-3CCB-88865DF7F917}"/>
              </a:ext>
            </a:extLst>
          </p:cNvPr>
          <p:cNvSpPr>
            <a:spLocks noGrp="1"/>
          </p:cNvSpPr>
          <p:nvPr>
            <p:ph type="ctrTitle"/>
          </p:nvPr>
        </p:nvSpPr>
        <p:spPr>
          <a:xfrm>
            <a:off x="138546" y="886691"/>
            <a:ext cx="6414654" cy="1277071"/>
          </a:xfrm>
        </p:spPr>
        <p:txBody>
          <a:bodyPr anchor="b"/>
          <a:lstStyle>
            <a:lvl1pPr algn="l">
              <a:defRPr sz="6000">
                <a:solidFill>
                  <a:schemeClr val="bg1"/>
                </a:solidFill>
              </a:defRPr>
            </a:lvl1pPr>
          </a:lstStyle>
          <a:p>
            <a:endParaRPr lang="en-US"/>
          </a:p>
        </p:txBody>
      </p:sp>
      <p:sp>
        <p:nvSpPr>
          <p:cNvPr id="3" name="Subtitle 2">
            <a:extLst>
              <a:ext uri="{FF2B5EF4-FFF2-40B4-BE49-F238E27FC236}">
                <a16:creationId xmlns:a16="http://schemas.microsoft.com/office/drawing/2014/main" id="{8EBD4A33-D770-931F-ED4A-680B56BD01DC}"/>
              </a:ext>
            </a:extLst>
          </p:cNvPr>
          <p:cNvSpPr>
            <a:spLocks noGrp="1"/>
          </p:cNvSpPr>
          <p:nvPr>
            <p:ph type="subTitle" idx="1"/>
          </p:nvPr>
        </p:nvSpPr>
        <p:spPr>
          <a:xfrm>
            <a:off x="138546" y="2366818"/>
            <a:ext cx="6096000" cy="65347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Logo&#10;&#10;Description automatically generated">
            <a:extLst>
              <a:ext uri="{FF2B5EF4-FFF2-40B4-BE49-F238E27FC236}">
                <a16:creationId xmlns:a16="http://schemas.microsoft.com/office/drawing/2014/main" id="{D3AFFB1B-FD73-4BEE-B4C0-E66C936DAC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58566" y="5435023"/>
            <a:ext cx="2568779" cy="1676399"/>
          </a:xfrm>
          <a:prstGeom prst="rect">
            <a:avLst/>
          </a:prstGeom>
        </p:spPr>
      </p:pic>
    </p:spTree>
    <p:extLst>
      <p:ext uri="{BB962C8B-B14F-4D97-AF65-F5344CB8AC3E}">
        <p14:creationId xmlns:p14="http://schemas.microsoft.com/office/powerpoint/2010/main" val="1812020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34CD-4C2E-A2C5-15AF-C932A79495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0F3E12-39E5-45F5-F75B-1998B2FE7C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9653E3F-0729-A0CA-94B2-32453170A1DB}"/>
              </a:ext>
            </a:extLst>
          </p:cNvPr>
          <p:cNvSpPr>
            <a:spLocks noGrp="1"/>
          </p:cNvSpPr>
          <p:nvPr>
            <p:ph type="ftr" sz="quarter" idx="10"/>
          </p:nvPr>
        </p:nvSpPr>
        <p:spPr/>
        <p:txBody>
          <a:bodyPr/>
          <a:lstStyle/>
          <a:p>
            <a:r>
              <a:rPr lang="en-US"/>
              <a:t>Meet the Primes | Denver International Airport</a:t>
            </a:r>
          </a:p>
        </p:txBody>
      </p:sp>
      <p:sp>
        <p:nvSpPr>
          <p:cNvPr id="8" name="Slide Number Placeholder 7">
            <a:extLst>
              <a:ext uri="{FF2B5EF4-FFF2-40B4-BE49-F238E27FC236}">
                <a16:creationId xmlns:a16="http://schemas.microsoft.com/office/drawing/2014/main" id="{130A76BE-2AF4-4E32-9000-331540C99592}"/>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10" name="Straight Connector 9">
            <a:extLst>
              <a:ext uri="{FF2B5EF4-FFF2-40B4-BE49-F238E27FC236}">
                <a16:creationId xmlns:a16="http://schemas.microsoft.com/office/drawing/2014/main" id="{C7384520-850F-95BA-089A-A01D3D062840}"/>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26" descr="HNTB">
            <a:extLst>
              <a:ext uri="{FF2B5EF4-FFF2-40B4-BE49-F238E27FC236}">
                <a16:creationId xmlns:a16="http://schemas.microsoft.com/office/drawing/2014/main" id="{81A01AC3-2D5A-32E0-0CB9-F13CA03BD0F6}"/>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Tree>
    <p:extLst>
      <p:ext uri="{BB962C8B-B14F-4D97-AF65-F5344CB8AC3E}">
        <p14:creationId xmlns:p14="http://schemas.microsoft.com/office/powerpoint/2010/main" val="3576718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D281E-C92B-84C2-7766-64D7E99815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7387253-06F2-343D-E677-995DCD2A58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41F9826B-1334-4D01-FA46-3D7EFA794F02}"/>
              </a:ext>
            </a:extLst>
          </p:cNvPr>
          <p:cNvSpPr>
            <a:spLocks noGrp="1"/>
          </p:cNvSpPr>
          <p:nvPr>
            <p:ph type="ftr" sz="quarter" idx="10"/>
          </p:nvPr>
        </p:nvSpPr>
        <p:spPr/>
        <p:txBody>
          <a:bodyPr/>
          <a:lstStyle/>
          <a:p>
            <a:r>
              <a:rPr lang="en-US"/>
              <a:t>Meet the Primes | Denver International Airport</a:t>
            </a:r>
          </a:p>
        </p:txBody>
      </p:sp>
      <p:sp>
        <p:nvSpPr>
          <p:cNvPr id="8" name="Slide Number Placeholder 7">
            <a:extLst>
              <a:ext uri="{FF2B5EF4-FFF2-40B4-BE49-F238E27FC236}">
                <a16:creationId xmlns:a16="http://schemas.microsoft.com/office/drawing/2014/main" id="{BE707D62-BDCB-ED06-D968-692CE549C7A9}"/>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9" name="Straight Connector 8">
            <a:extLst>
              <a:ext uri="{FF2B5EF4-FFF2-40B4-BE49-F238E27FC236}">
                <a16:creationId xmlns:a16="http://schemas.microsoft.com/office/drawing/2014/main" id="{99C90941-46DF-323A-4412-198AE7DB2FE3}"/>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26" descr="HNTB">
            <a:extLst>
              <a:ext uri="{FF2B5EF4-FFF2-40B4-BE49-F238E27FC236}">
                <a16:creationId xmlns:a16="http://schemas.microsoft.com/office/drawing/2014/main" id="{789955AD-D796-6C4B-B8DA-0D40D6CAD135}"/>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Tree>
    <p:extLst>
      <p:ext uri="{BB962C8B-B14F-4D97-AF65-F5344CB8AC3E}">
        <p14:creationId xmlns:p14="http://schemas.microsoft.com/office/powerpoint/2010/main" val="357613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 green">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C3D8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8530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68A16-BC51-AFE3-E7E3-F3E4EB0F27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FA0115-2BEB-D960-C6FB-726B9B92761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9D472E-A44F-3055-C93E-C236A5947A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F0005E62-3A13-81B7-E394-EF4D523CD94C}"/>
              </a:ext>
            </a:extLst>
          </p:cNvPr>
          <p:cNvSpPr>
            <a:spLocks noGrp="1"/>
          </p:cNvSpPr>
          <p:nvPr>
            <p:ph type="ftr" sz="quarter" idx="10"/>
          </p:nvPr>
        </p:nvSpPr>
        <p:spPr/>
        <p:txBody>
          <a:bodyPr/>
          <a:lstStyle/>
          <a:p>
            <a:r>
              <a:rPr lang="en-US"/>
              <a:t>Meet the Primes | Denver International Airport</a:t>
            </a:r>
          </a:p>
        </p:txBody>
      </p:sp>
      <p:sp>
        <p:nvSpPr>
          <p:cNvPr id="9" name="Slide Number Placeholder 8">
            <a:extLst>
              <a:ext uri="{FF2B5EF4-FFF2-40B4-BE49-F238E27FC236}">
                <a16:creationId xmlns:a16="http://schemas.microsoft.com/office/drawing/2014/main" id="{FDFA83A8-A9DC-1DDC-CBD1-4F214291C39D}"/>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10" name="Straight Connector 9">
            <a:extLst>
              <a:ext uri="{FF2B5EF4-FFF2-40B4-BE49-F238E27FC236}">
                <a16:creationId xmlns:a16="http://schemas.microsoft.com/office/drawing/2014/main" id="{EA75C545-D03F-0408-472F-BF579B3AAAA5}"/>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26" descr="HNTB">
            <a:extLst>
              <a:ext uri="{FF2B5EF4-FFF2-40B4-BE49-F238E27FC236}">
                <a16:creationId xmlns:a16="http://schemas.microsoft.com/office/drawing/2014/main" id="{48AD5852-7529-D80B-3829-4FA1F26F6AA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Tree>
    <p:extLst>
      <p:ext uri="{BB962C8B-B14F-4D97-AF65-F5344CB8AC3E}">
        <p14:creationId xmlns:p14="http://schemas.microsoft.com/office/powerpoint/2010/main" val="36089242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68A16-BC51-AFE3-E7E3-F3E4EB0F27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FA0115-2BEB-D960-C6FB-726B9B92761F}"/>
              </a:ext>
            </a:extLst>
          </p:cNvPr>
          <p:cNvSpPr>
            <a:spLocks noGrp="1"/>
          </p:cNvSpPr>
          <p:nvPr>
            <p:ph sz="half" idx="1"/>
          </p:nvPr>
        </p:nvSpPr>
        <p:spPr>
          <a:xfrm>
            <a:off x="838200" y="1825625"/>
            <a:ext cx="3352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9D472E-A44F-3055-C93E-C236A5947A14}"/>
              </a:ext>
            </a:extLst>
          </p:cNvPr>
          <p:cNvSpPr>
            <a:spLocks noGrp="1"/>
          </p:cNvSpPr>
          <p:nvPr>
            <p:ph sz="half" idx="2"/>
          </p:nvPr>
        </p:nvSpPr>
        <p:spPr>
          <a:xfrm>
            <a:off x="8001000" y="1825625"/>
            <a:ext cx="3352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F0005E62-3A13-81B7-E394-EF4D523CD94C}"/>
              </a:ext>
            </a:extLst>
          </p:cNvPr>
          <p:cNvSpPr>
            <a:spLocks noGrp="1"/>
          </p:cNvSpPr>
          <p:nvPr>
            <p:ph type="ftr" sz="quarter" idx="10"/>
          </p:nvPr>
        </p:nvSpPr>
        <p:spPr/>
        <p:txBody>
          <a:bodyPr/>
          <a:lstStyle/>
          <a:p>
            <a:r>
              <a:rPr lang="en-US"/>
              <a:t>Meet the Primes | Denver International Airport</a:t>
            </a:r>
          </a:p>
        </p:txBody>
      </p:sp>
      <p:sp>
        <p:nvSpPr>
          <p:cNvPr id="9" name="Slide Number Placeholder 8">
            <a:extLst>
              <a:ext uri="{FF2B5EF4-FFF2-40B4-BE49-F238E27FC236}">
                <a16:creationId xmlns:a16="http://schemas.microsoft.com/office/drawing/2014/main" id="{FDFA83A8-A9DC-1DDC-CBD1-4F214291C39D}"/>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10" name="Straight Connector 9">
            <a:extLst>
              <a:ext uri="{FF2B5EF4-FFF2-40B4-BE49-F238E27FC236}">
                <a16:creationId xmlns:a16="http://schemas.microsoft.com/office/drawing/2014/main" id="{EA75C545-D03F-0408-472F-BF579B3AAAA5}"/>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26" descr="HNTB">
            <a:extLst>
              <a:ext uri="{FF2B5EF4-FFF2-40B4-BE49-F238E27FC236}">
                <a16:creationId xmlns:a16="http://schemas.microsoft.com/office/drawing/2014/main" id="{48AD5852-7529-D80B-3829-4FA1F26F6AA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
        <p:nvSpPr>
          <p:cNvPr id="5" name="Content Placeholder 3">
            <a:extLst>
              <a:ext uri="{FF2B5EF4-FFF2-40B4-BE49-F238E27FC236}">
                <a16:creationId xmlns:a16="http://schemas.microsoft.com/office/drawing/2014/main" id="{AC1A4DBD-FC55-3813-AF50-8C6901FF048A}"/>
              </a:ext>
            </a:extLst>
          </p:cNvPr>
          <p:cNvSpPr>
            <a:spLocks noGrp="1"/>
          </p:cNvSpPr>
          <p:nvPr>
            <p:ph sz="half" idx="12"/>
          </p:nvPr>
        </p:nvSpPr>
        <p:spPr>
          <a:xfrm>
            <a:off x="4419600" y="1825625"/>
            <a:ext cx="3352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01208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68A16-BC51-AFE3-E7E3-F3E4EB0F27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FA0115-2BEB-D960-C6FB-726B9B92761F}"/>
              </a:ext>
            </a:extLst>
          </p:cNvPr>
          <p:cNvSpPr>
            <a:spLocks noGrp="1"/>
          </p:cNvSpPr>
          <p:nvPr>
            <p:ph sz="half" idx="1" hasCustomPrompt="1"/>
          </p:nvPr>
        </p:nvSpPr>
        <p:spPr>
          <a:xfrm>
            <a:off x="9654308" y="1825625"/>
            <a:ext cx="1699492" cy="1693430"/>
          </a:xfrm>
        </p:spPr>
        <p:txBody>
          <a:bodyPr/>
          <a:lstStyle>
            <a:lvl1pPr marL="0" indent="0">
              <a:buNone/>
              <a:defRPr/>
            </a:lvl1pPr>
          </a:lstStyle>
          <a:p>
            <a:pPr lvl="0"/>
            <a:r>
              <a:rPr lang="en-US"/>
              <a:t>Role</a:t>
            </a:r>
          </a:p>
          <a:p>
            <a:pPr lvl="0"/>
            <a:r>
              <a:rPr lang="en-US"/>
              <a:t>Name</a:t>
            </a:r>
          </a:p>
          <a:p>
            <a:pPr lvl="0"/>
            <a:r>
              <a:rPr lang="en-US"/>
              <a:t>Title</a:t>
            </a:r>
          </a:p>
        </p:txBody>
      </p:sp>
      <p:sp>
        <p:nvSpPr>
          <p:cNvPr id="4" name="Content Placeholder 3">
            <a:extLst>
              <a:ext uri="{FF2B5EF4-FFF2-40B4-BE49-F238E27FC236}">
                <a16:creationId xmlns:a16="http://schemas.microsoft.com/office/drawing/2014/main" id="{F79D472E-A44F-3055-C93E-C236A5947A14}"/>
              </a:ext>
            </a:extLst>
          </p:cNvPr>
          <p:cNvSpPr>
            <a:spLocks noGrp="1"/>
          </p:cNvSpPr>
          <p:nvPr>
            <p:ph sz="half" idx="2" hasCustomPrompt="1"/>
          </p:nvPr>
        </p:nvSpPr>
        <p:spPr>
          <a:xfrm>
            <a:off x="838200" y="1825625"/>
            <a:ext cx="3870031" cy="1693430"/>
          </a:xfrm>
        </p:spPr>
        <p:txBody>
          <a:bodyPr/>
          <a:lstStyle>
            <a:lvl1pPr marL="0" indent="0">
              <a:buNone/>
              <a:defRPr b="1"/>
            </a:lvl1pPr>
          </a:lstStyle>
          <a:p>
            <a:pPr lvl="0"/>
            <a:r>
              <a:rPr lang="en-US"/>
              <a:t>Text</a:t>
            </a:r>
          </a:p>
        </p:txBody>
      </p:sp>
      <p:sp>
        <p:nvSpPr>
          <p:cNvPr id="8" name="Footer Placeholder 7">
            <a:extLst>
              <a:ext uri="{FF2B5EF4-FFF2-40B4-BE49-F238E27FC236}">
                <a16:creationId xmlns:a16="http://schemas.microsoft.com/office/drawing/2014/main" id="{F0005E62-3A13-81B7-E394-EF4D523CD94C}"/>
              </a:ext>
            </a:extLst>
          </p:cNvPr>
          <p:cNvSpPr>
            <a:spLocks noGrp="1"/>
          </p:cNvSpPr>
          <p:nvPr>
            <p:ph type="ftr" sz="quarter" idx="10"/>
          </p:nvPr>
        </p:nvSpPr>
        <p:spPr/>
        <p:txBody>
          <a:bodyPr/>
          <a:lstStyle/>
          <a:p>
            <a:r>
              <a:rPr lang="en-US"/>
              <a:t>Meet the Primes | Denver International Airport</a:t>
            </a:r>
          </a:p>
        </p:txBody>
      </p:sp>
      <p:sp>
        <p:nvSpPr>
          <p:cNvPr id="9" name="Slide Number Placeholder 8">
            <a:extLst>
              <a:ext uri="{FF2B5EF4-FFF2-40B4-BE49-F238E27FC236}">
                <a16:creationId xmlns:a16="http://schemas.microsoft.com/office/drawing/2014/main" id="{FDFA83A8-A9DC-1DDC-CBD1-4F214291C39D}"/>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10" name="Straight Connector 9">
            <a:extLst>
              <a:ext uri="{FF2B5EF4-FFF2-40B4-BE49-F238E27FC236}">
                <a16:creationId xmlns:a16="http://schemas.microsoft.com/office/drawing/2014/main" id="{EA75C545-D03F-0408-472F-BF579B3AAAA5}"/>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26" descr="HNTB">
            <a:extLst>
              <a:ext uri="{FF2B5EF4-FFF2-40B4-BE49-F238E27FC236}">
                <a16:creationId xmlns:a16="http://schemas.microsoft.com/office/drawing/2014/main" id="{48AD5852-7529-D80B-3829-4FA1F26F6AA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
        <p:nvSpPr>
          <p:cNvPr id="6" name="Content Placeholder 2">
            <a:extLst>
              <a:ext uri="{FF2B5EF4-FFF2-40B4-BE49-F238E27FC236}">
                <a16:creationId xmlns:a16="http://schemas.microsoft.com/office/drawing/2014/main" id="{35913671-8C22-93BB-CFEE-E4BB0C69E924}"/>
              </a:ext>
            </a:extLst>
          </p:cNvPr>
          <p:cNvSpPr>
            <a:spLocks noGrp="1"/>
          </p:cNvSpPr>
          <p:nvPr>
            <p:ph sz="half" idx="13" hasCustomPrompt="1"/>
          </p:nvPr>
        </p:nvSpPr>
        <p:spPr>
          <a:xfrm>
            <a:off x="8183417" y="1825625"/>
            <a:ext cx="1318489" cy="1693430"/>
          </a:xfrm>
        </p:spPr>
        <p:txBody>
          <a:bodyPr/>
          <a:lstStyle>
            <a:lvl1pPr marL="0" indent="0">
              <a:buNone/>
              <a:defRPr/>
            </a:lvl1pPr>
          </a:lstStyle>
          <a:p>
            <a:pPr lvl="0"/>
            <a:r>
              <a:rPr lang="en-US"/>
              <a:t>photo</a:t>
            </a:r>
          </a:p>
        </p:txBody>
      </p:sp>
      <p:sp>
        <p:nvSpPr>
          <p:cNvPr id="7" name="Content Placeholder 2">
            <a:extLst>
              <a:ext uri="{FF2B5EF4-FFF2-40B4-BE49-F238E27FC236}">
                <a16:creationId xmlns:a16="http://schemas.microsoft.com/office/drawing/2014/main" id="{80BB888C-2BDE-3B59-48EA-9F117BF881BB}"/>
              </a:ext>
            </a:extLst>
          </p:cNvPr>
          <p:cNvSpPr>
            <a:spLocks noGrp="1"/>
          </p:cNvSpPr>
          <p:nvPr>
            <p:ph sz="half" idx="14" hasCustomPrompt="1"/>
          </p:nvPr>
        </p:nvSpPr>
        <p:spPr>
          <a:xfrm>
            <a:off x="6331523" y="1825625"/>
            <a:ext cx="1699492" cy="1693430"/>
          </a:xfrm>
        </p:spPr>
        <p:txBody>
          <a:bodyPr/>
          <a:lstStyle>
            <a:lvl1pPr marL="0" indent="0">
              <a:buNone/>
              <a:defRPr/>
            </a:lvl1pPr>
          </a:lstStyle>
          <a:p>
            <a:pPr lvl="0"/>
            <a:r>
              <a:rPr lang="en-US"/>
              <a:t>Role</a:t>
            </a:r>
          </a:p>
          <a:p>
            <a:pPr lvl="0"/>
            <a:r>
              <a:rPr lang="en-US"/>
              <a:t>Name</a:t>
            </a:r>
          </a:p>
          <a:p>
            <a:pPr lvl="0"/>
            <a:r>
              <a:rPr lang="en-US"/>
              <a:t>Title</a:t>
            </a:r>
          </a:p>
        </p:txBody>
      </p:sp>
      <p:sp>
        <p:nvSpPr>
          <p:cNvPr id="12" name="Content Placeholder 2">
            <a:extLst>
              <a:ext uri="{FF2B5EF4-FFF2-40B4-BE49-F238E27FC236}">
                <a16:creationId xmlns:a16="http://schemas.microsoft.com/office/drawing/2014/main" id="{90AF4E2E-EAE7-A35A-2FEF-A034D84899D1}"/>
              </a:ext>
            </a:extLst>
          </p:cNvPr>
          <p:cNvSpPr>
            <a:spLocks noGrp="1"/>
          </p:cNvSpPr>
          <p:nvPr>
            <p:ph sz="half" idx="15" hasCustomPrompt="1"/>
          </p:nvPr>
        </p:nvSpPr>
        <p:spPr>
          <a:xfrm>
            <a:off x="4860632" y="1825625"/>
            <a:ext cx="1318489" cy="1693430"/>
          </a:xfrm>
        </p:spPr>
        <p:txBody>
          <a:bodyPr/>
          <a:lstStyle>
            <a:lvl1pPr marL="0" indent="0">
              <a:buNone/>
              <a:defRPr/>
            </a:lvl1pPr>
          </a:lstStyle>
          <a:p>
            <a:pPr lvl="0"/>
            <a:r>
              <a:rPr lang="en-US"/>
              <a:t>photo</a:t>
            </a:r>
          </a:p>
        </p:txBody>
      </p:sp>
    </p:spTree>
    <p:extLst>
      <p:ext uri="{BB962C8B-B14F-4D97-AF65-F5344CB8AC3E}">
        <p14:creationId xmlns:p14="http://schemas.microsoft.com/office/powerpoint/2010/main" val="25519437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0A97E1-E061-8E0E-982D-3DB3CEE3B697}"/>
              </a:ext>
            </a:extLst>
          </p:cNvPr>
          <p:cNvSpPr>
            <a:spLocks noGrp="1"/>
          </p:cNvSpPr>
          <p:nvPr>
            <p:ph type="body" idx="1"/>
          </p:nvPr>
        </p:nvSpPr>
        <p:spPr>
          <a:xfrm>
            <a:off x="839788" y="1227871"/>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7692945-AADE-FF8F-3325-395D2179DE3D}"/>
              </a:ext>
            </a:extLst>
          </p:cNvPr>
          <p:cNvSpPr>
            <a:spLocks noGrp="1"/>
          </p:cNvSpPr>
          <p:nvPr>
            <p:ph sz="half" idx="2"/>
          </p:nvPr>
        </p:nvSpPr>
        <p:spPr>
          <a:xfrm>
            <a:off x="839788" y="2051783"/>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7A4BD6-D30B-3881-28D3-814A1C4C9D14}"/>
              </a:ext>
            </a:extLst>
          </p:cNvPr>
          <p:cNvSpPr>
            <a:spLocks noGrp="1"/>
          </p:cNvSpPr>
          <p:nvPr>
            <p:ph type="body" sz="quarter" idx="3"/>
          </p:nvPr>
        </p:nvSpPr>
        <p:spPr>
          <a:xfrm>
            <a:off x="6172200" y="1227871"/>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2BBE4B-2162-3957-1A62-7D4FF0AA8385}"/>
              </a:ext>
            </a:extLst>
          </p:cNvPr>
          <p:cNvSpPr>
            <a:spLocks noGrp="1"/>
          </p:cNvSpPr>
          <p:nvPr>
            <p:ph sz="quarter" idx="4"/>
          </p:nvPr>
        </p:nvSpPr>
        <p:spPr>
          <a:xfrm>
            <a:off x="6172200" y="2051783"/>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A83A451-D41D-B5F3-7762-0BAEC8E4D2E2}"/>
              </a:ext>
            </a:extLst>
          </p:cNvPr>
          <p:cNvSpPr>
            <a:spLocks noGrp="1"/>
          </p:cNvSpPr>
          <p:nvPr>
            <p:ph type="title"/>
          </p:nvPr>
        </p:nvSpPr>
        <p:spPr>
          <a:xfrm>
            <a:off x="111968" y="136525"/>
            <a:ext cx="11129865" cy="586597"/>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8E3FEDA3-B0A6-CFB1-FC5A-6D945987B65C}"/>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26" descr="HNTB">
            <a:extLst>
              <a:ext uri="{FF2B5EF4-FFF2-40B4-BE49-F238E27FC236}">
                <a16:creationId xmlns:a16="http://schemas.microsoft.com/office/drawing/2014/main" id="{74F980C5-E7B3-C6BF-CA26-E68204C8EE53}"/>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
        <p:nvSpPr>
          <p:cNvPr id="12" name="Footer Placeholder 11">
            <a:extLst>
              <a:ext uri="{FF2B5EF4-FFF2-40B4-BE49-F238E27FC236}">
                <a16:creationId xmlns:a16="http://schemas.microsoft.com/office/drawing/2014/main" id="{F2B7A04E-36F5-39D8-629A-508C1BD7287E}"/>
              </a:ext>
            </a:extLst>
          </p:cNvPr>
          <p:cNvSpPr>
            <a:spLocks noGrp="1"/>
          </p:cNvSpPr>
          <p:nvPr>
            <p:ph type="ftr" sz="quarter" idx="10"/>
          </p:nvPr>
        </p:nvSpPr>
        <p:spPr/>
        <p:txBody>
          <a:bodyPr/>
          <a:lstStyle/>
          <a:p>
            <a:r>
              <a:rPr lang="en-US"/>
              <a:t>Meet the Primes | Denver International Airport</a:t>
            </a:r>
          </a:p>
        </p:txBody>
      </p:sp>
      <p:sp>
        <p:nvSpPr>
          <p:cNvPr id="13" name="Slide Number Placeholder 12">
            <a:extLst>
              <a:ext uri="{FF2B5EF4-FFF2-40B4-BE49-F238E27FC236}">
                <a16:creationId xmlns:a16="http://schemas.microsoft.com/office/drawing/2014/main" id="{DA873A66-F60E-3B75-54A2-922C70228494}"/>
              </a:ext>
            </a:extLst>
          </p:cNvPr>
          <p:cNvSpPr>
            <a:spLocks noGrp="1"/>
          </p:cNvSpPr>
          <p:nvPr>
            <p:ph type="sldNum" sz="quarter" idx="11"/>
          </p:nvPr>
        </p:nvSpPr>
        <p:spPr/>
        <p:txBody>
          <a:bodyPr/>
          <a:lstStyle/>
          <a:p>
            <a:fld id="{E0562F0D-1E28-4754-8F56-3AC0578EFE04}" type="slidenum">
              <a:rPr lang="en-US" smtClean="0"/>
              <a:pPr/>
              <a:t>‹#›</a:t>
            </a:fld>
            <a:endParaRPr lang="en-US"/>
          </a:p>
        </p:txBody>
      </p:sp>
    </p:spTree>
    <p:extLst>
      <p:ext uri="{BB962C8B-B14F-4D97-AF65-F5344CB8AC3E}">
        <p14:creationId xmlns:p14="http://schemas.microsoft.com/office/powerpoint/2010/main" val="32291686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F58A5-C779-D4EE-7CE8-830233A86ACF}"/>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721D8313-9BEB-A0F2-700E-5FFEEBDE6E6A}"/>
              </a:ext>
            </a:extLst>
          </p:cNvPr>
          <p:cNvSpPr>
            <a:spLocks noGrp="1"/>
          </p:cNvSpPr>
          <p:nvPr>
            <p:ph type="ftr" sz="quarter" idx="10"/>
          </p:nvPr>
        </p:nvSpPr>
        <p:spPr/>
        <p:txBody>
          <a:bodyPr/>
          <a:lstStyle/>
          <a:p>
            <a:r>
              <a:rPr lang="en-US"/>
              <a:t>Meet the Primes | Denver International Airport</a:t>
            </a:r>
          </a:p>
        </p:txBody>
      </p:sp>
      <p:sp>
        <p:nvSpPr>
          <p:cNvPr id="7" name="Slide Number Placeholder 6">
            <a:extLst>
              <a:ext uri="{FF2B5EF4-FFF2-40B4-BE49-F238E27FC236}">
                <a16:creationId xmlns:a16="http://schemas.microsoft.com/office/drawing/2014/main" id="{145479EF-6836-D04B-6747-85C0B771DD2E}"/>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8" name="Straight Connector 7">
            <a:extLst>
              <a:ext uri="{FF2B5EF4-FFF2-40B4-BE49-F238E27FC236}">
                <a16:creationId xmlns:a16="http://schemas.microsoft.com/office/drawing/2014/main" id="{7DFB009C-CEE7-0F48-A6EC-DC52AFD4324E}"/>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26" descr="HNTB">
            <a:extLst>
              <a:ext uri="{FF2B5EF4-FFF2-40B4-BE49-F238E27FC236}">
                <a16:creationId xmlns:a16="http://schemas.microsoft.com/office/drawing/2014/main" id="{47192495-DB88-95F8-55E3-27D02BEEF59F}"/>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Tree>
    <p:extLst>
      <p:ext uri="{BB962C8B-B14F-4D97-AF65-F5344CB8AC3E}">
        <p14:creationId xmlns:p14="http://schemas.microsoft.com/office/powerpoint/2010/main" val="32909628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F58A5-C779-D4EE-7CE8-830233A86ACF}"/>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721D8313-9BEB-A0F2-700E-5FFEEBDE6E6A}"/>
              </a:ext>
            </a:extLst>
          </p:cNvPr>
          <p:cNvSpPr>
            <a:spLocks noGrp="1"/>
          </p:cNvSpPr>
          <p:nvPr>
            <p:ph type="ftr" sz="quarter" idx="10"/>
          </p:nvPr>
        </p:nvSpPr>
        <p:spPr/>
        <p:txBody>
          <a:bodyPr/>
          <a:lstStyle/>
          <a:p>
            <a:r>
              <a:rPr lang="en-US"/>
              <a:t>Meet the Primes | Denver International Airport</a:t>
            </a:r>
          </a:p>
        </p:txBody>
      </p:sp>
      <p:sp>
        <p:nvSpPr>
          <p:cNvPr id="7" name="Slide Number Placeholder 6">
            <a:extLst>
              <a:ext uri="{FF2B5EF4-FFF2-40B4-BE49-F238E27FC236}">
                <a16:creationId xmlns:a16="http://schemas.microsoft.com/office/drawing/2014/main" id="{145479EF-6836-D04B-6747-85C0B771DD2E}"/>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8" name="Straight Connector 7">
            <a:extLst>
              <a:ext uri="{FF2B5EF4-FFF2-40B4-BE49-F238E27FC236}">
                <a16:creationId xmlns:a16="http://schemas.microsoft.com/office/drawing/2014/main" id="{7DFB009C-CEE7-0F48-A6EC-DC52AFD4324E}"/>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26" descr="HNTB">
            <a:extLst>
              <a:ext uri="{FF2B5EF4-FFF2-40B4-BE49-F238E27FC236}">
                <a16:creationId xmlns:a16="http://schemas.microsoft.com/office/drawing/2014/main" id="{47192495-DB88-95F8-55E3-27D02BEEF59F}"/>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
        <p:nvSpPr>
          <p:cNvPr id="3" name="Content Placeholder 3">
            <a:extLst>
              <a:ext uri="{FF2B5EF4-FFF2-40B4-BE49-F238E27FC236}">
                <a16:creationId xmlns:a16="http://schemas.microsoft.com/office/drawing/2014/main" id="{3D389949-9298-B841-24D6-AFC0F4680A27}"/>
              </a:ext>
            </a:extLst>
          </p:cNvPr>
          <p:cNvSpPr>
            <a:spLocks noGrp="1"/>
          </p:cNvSpPr>
          <p:nvPr>
            <p:ph sz="half" idx="2" hasCustomPrompt="1"/>
          </p:nvPr>
        </p:nvSpPr>
        <p:spPr>
          <a:xfrm>
            <a:off x="838200" y="1825625"/>
            <a:ext cx="1662723" cy="1693430"/>
          </a:xfrm>
        </p:spPr>
        <p:txBody>
          <a:bodyPr/>
          <a:lstStyle>
            <a:lvl1pPr marL="0" indent="0">
              <a:buNone/>
              <a:defRPr b="1"/>
            </a:lvl1pPr>
          </a:lstStyle>
          <a:p>
            <a:pPr lvl="0"/>
            <a:r>
              <a:rPr lang="en-US"/>
              <a:t>Photo</a:t>
            </a:r>
          </a:p>
        </p:txBody>
      </p:sp>
      <p:sp>
        <p:nvSpPr>
          <p:cNvPr id="4" name="Content Placeholder 3">
            <a:extLst>
              <a:ext uri="{FF2B5EF4-FFF2-40B4-BE49-F238E27FC236}">
                <a16:creationId xmlns:a16="http://schemas.microsoft.com/office/drawing/2014/main" id="{FD753F71-3145-527F-D2A3-C661986BDAA0}"/>
              </a:ext>
            </a:extLst>
          </p:cNvPr>
          <p:cNvSpPr>
            <a:spLocks noGrp="1"/>
          </p:cNvSpPr>
          <p:nvPr>
            <p:ph sz="half" idx="12" hasCustomPrompt="1"/>
          </p:nvPr>
        </p:nvSpPr>
        <p:spPr>
          <a:xfrm>
            <a:off x="2616200" y="1825625"/>
            <a:ext cx="2221523" cy="1693430"/>
          </a:xfrm>
        </p:spPr>
        <p:txBody>
          <a:bodyPr lIns="0"/>
          <a:lstStyle>
            <a:lvl1pPr marL="0" indent="0">
              <a:buNone/>
              <a:defRPr b="1"/>
            </a:lvl1pPr>
          </a:lstStyle>
          <a:p>
            <a:pPr lvl="0"/>
            <a:r>
              <a:rPr lang="en-US"/>
              <a:t>Text</a:t>
            </a:r>
          </a:p>
        </p:txBody>
      </p:sp>
      <p:sp>
        <p:nvSpPr>
          <p:cNvPr id="5" name="Content Placeholder 3">
            <a:extLst>
              <a:ext uri="{FF2B5EF4-FFF2-40B4-BE49-F238E27FC236}">
                <a16:creationId xmlns:a16="http://schemas.microsoft.com/office/drawing/2014/main" id="{22E3074C-7E1B-DF17-4048-7629CC82CEF9}"/>
              </a:ext>
            </a:extLst>
          </p:cNvPr>
          <p:cNvSpPr>
            <a:spLocks noGrp="1"/>
          </p:cNvSpPr>
          <p:nvPr>
            <p:ph sz="half" idx="13" hasCustomPrompt="1"/>
          </p:nvPr>
        </p:nvSpPr>
        <p:spPr>
          <a:xfrm>
            <a:off x="838200" y="3740720"/>
            <a:ext cx="1662723" cy="1693430"/>
          </a:xfrm>
        </p:spPr>
        <p:txBody>
          <a:bodyPr/>
          <a:lstStyle>
            <a:lvl1pPr marL="0" indent="0">
              <a:buNone/>
              <a:defRPr b="1"/>
            </a:lvl1pPr>
          </a:lstStyle>
          <a:p>
            <a:pPr lvl="0"/>
            <a:r>
              <a:rPr lang="en-US"/>
              <a:t>Photo</a:t>
            </a:r>
          </a:p>
        </p:txBody>
      </p:sp>
      <p:sp>
        <p:nvSpPr>
          <p:cNvPr id="10" name="Content Placeholder 3">
            <a:extLst>
              <a:ext uri="{FF2B5EF4-FFF2-40B4-BE49-F238E27FC236}">
                <a16:creationId xmlns:a16="http://schemas.microsoft.com/office/drawing/2014/main" id="{F5CBA541-A855-7F71-89F3-DAD8B7A6804C}"/>
              </a:ext>
            </a:extLst>
          </p:cNvPr>
          <p:cNvSpPr>
            <a:spLocks noGrp="1"/>
          </p:cNvSpPr>
          <p:nvPr>
            <p:ph sz="half" idx="14" hasCustomPrompt="1"/>
          </p:nvPr>
        </p:nvSpPr>
        <p:spPr>
          <a:xfrm>
            <a:off x="2616200" y="3740720"/>
            <a:ext cx="2221523" cy="1693430"/>
          </a:xfrm>
        </p:spPr>
        <p:txBody>
          <a:bodyPr lIns="0"/>
          <a:lstStyle>
            <a:lvl1pPr marL="0" indent="0">
              <a:buNone/>
              <a:defRPr b="1"/>
            </a:lvl1pPr>
          </a:lstStyle>
          <a:p>
            <a:pPr lvl="0"/>
            <a:r>
              <a:rPr lang="en-US"/>
              <a:t>Text</a:t>
            </a:r>
          </a:p>
        </p:txBody>
      </p:sp>
      <p:sp>
        <p:nvSpPr>
          <p:cNvPr id="11" name="Content Placeholder 3">
            <a:extLst>
              <a:ext uri="{FF2B5EF4-FFF2-40B4-BE49-F238E27FC236}">
                <a16:creationId xmlns:a16="http://schemas.microsoft.com/office/drawing/2014/main" id="{60B4DC97-E114-4D7D-36BE-235A727F6DDB}"/>
              </a:ext>
            </a:extLst>
          </p:cNvPr>
          <p:cNvSpPr>
            <a:spLocks noGrp="1"/>
          </p:cNvSpPr>
          <p:nvPr>
            <p:ph sz="half" idx="15" hasCustomPrompt="1"/>
          </p:nvPr>
        </p:nvSpPr>
        <p:spPr>
          <a:xfrm>
            <a:off x="5302742" y="1825625"/>
            <a:ext cx="1662723" cy="1693430"/>
          </a:xfrm>
        </p:spPr>
        <p:txBody>
          <a:bodyPr/>
          <a:lstStyle>
            <a:lvl1pPr marL="0" indent="0">
              <a:buNone/>
              <a:defRPr b="1"/>
            </a:lvl1pPr>
          </a:lstStyle>
          <a:p>
            <a:pPr lvl="0"/>
            <a:r>
              <a:rPr lang="en-US"/>
              <a:t>Photo</a:t>
            </a:r>
          </a:p>
        </p:txBody>
      </p:sp>
      <p:sp>
        <p:nvSpPr>
          <p:cNvPr id="12" name="Content Placeholder 3">
            <a:extLst>
              <a:ext uri="{FF2B5EF4-FFF2-40B4-BE49-F238E27FC236}">
                <a16:creationId xmlns:a16="http://schemas.microsoft.com/office/drawing/2014/main" id="{1320A84A-E3E5-E5B6-3C57-5BD0689E478A}"/>
              </a:ext>
            </a:extLst>
          </p:cNvPr>
          <p:cNvSpPr>
            <a:spLocks noGrp="1"/>
          </p:cNvSpPr>
          <p:nvPr>
            <p:ph sz="half" idx="16" hasCustomPrompt="1"/>
          </p:nvPr>
        </p:nvSpPr>
        <p:spPr>
          <a:xfrm>
            <a:off x="7080742" y="1825625"/>
            <a:ext cx="2221523" cy="1693430"/>
          </a:xfrm>
        </p:spPr>
        <p:txBody>
          <a:bodyPr lIns="0"/>
          <a:lstStyle>
            <a:lvl1pPr marL="0" indent="0">
              <a:buNone/>
              <a:defRPr b="1"/>
            </a:lvl1pPr>
          </a:lstStyle>
          <a:p>
            <a:pPr lvl="0"/>
            <a:r>
              <a:rPr lang="en-US"/>
              <a:t>Text</a:t>
            </a:r>
          </a:p>
        </p:txBody>
      </p:sp>
      <p:sp>
        <p:nvSpPr>
          <p:cNvPr id="13" name="Content Placeholder 3">
            <a:extLst>
              <a:ext uri="{FF2B5EF4-FFF2-40B4-BE49-F238E27FC236}">
                <a16:creationId xmlns:a16="http://schemas.microsoft.com/office/drawing/2014/main" id="{041E4178-6B36-0468-F832-A06765F3F9C4}"/>
              </a:ext>
            </a:extLst>
          </p:cNvPr>
          <p:cNvSpPr>
            <a:spLocks noGrp="1"/>
          </p:cNvSpPr>
          <p:nvPr>
            <p:ph sz="half" idx="17" hasCustomPrompt="1"/>
          </p:nvPr>
        </p:nvSpPr>
        <p:spPr>
          <a:xfrm>
            <a:off x="5302742" y="3740720"/>
            <a:ext cx="1662723" cy="1693430"/>
          </a:xfrm>
        </p:spPr>
        <p:txBody>
          <a:bodyPr/>
          <a:lstStyle>
            <a:lvl1pPr marL="0" indent="0">
              <a:buNone/>
              <a:defRPr b="1"/>
            </a:lvl1pPr>
          </a:lstStyle>
          <a:p>
            <a:pPr lvl="0"/>
            <a:r>
              <a:rPr lang="en-US"/>
              <a:t>Photo</a:t>
            </a:r>
          </a:p>
        </p:txBody>
      </p:sp>
      <p:sp>
        <p:nvSpPr>
          <p:cNvPr id="14" name="Content Placeholder 3">
            <a:extLst>
              <a:ext uri="{FF2B5EF4-FFF2-40B4-BE49-F238E27FC236}">
                <a16:creationId xmlns:a16="http://schemas.microsoft.com/office/drawing/2014/main" id="{A13821EB-75C2-2382-E698-53B54004649C}"/>
              </a:ext>
            </a:extLst>
          </p:cNvPr>
          <p:cNvSpPr>
            <a:spLocks noGrp="1"/>
          </p:cNvSpPr>
          <p:nvPr>
            <p:ph sz="half" idx="18" hasCustomPrompt="1"/>
          </p:nvPr>
        </p:nvSpPr>
        <p:spPr>
          <a:xfrm>
            <a:off x="7080742" y="3740720"/>
            <a:ext cx="2221523" cy="1693430"/>
          </a:xfrm>
        </p:spPr>
        <p:txBody>
          <a:bodyPr lIns="0"/>
          <a:lstStyle>
            <a:lvl1pPr marL="0" indent="0">
              <a:buNone/>
              <a:defRPr b="1"/>
            </a:lvl1pPr>
          </a:lstStyle>
          <a:p>
            <a:pPr lvl="0"/>
            <a:r>
              <a:rPr lang="en-US"/>
              <a:t>Text</a:t>
            </a:r>
          </a:p>
        </p:txBody>
      </p:sp>
    </p:spTree>
    <p:extLst>
      <p:ext uri="{BB962C8B-B14F-4D97-AF65-F5344CB8AC3E}">
        <p14:creationId xmlns:p14="http://schemas.microsoft.com/office/powerpoint/2010/main" val="10466905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F58A5-C779-D4EE-7CE8-830233A86ACF}"/>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721D8313-9BEB-A0F2-700E-5FFEEBDE6E6A}"/>
              </a:ext>
            </a:extLst>
          </p:cNvPr>
          <p:cNvSpPr>
            <a:spLocks noGrp="1"/>
          </p:cNvSpPr>
          <p:nvPr>
            <p:ph type="ftr" sz="quarter" idx="10"/>
          </p:nvPr>
        </p:nvSpPr>
        <p:spPr/>
        <p:txBody>
          <a:bodyPr/>
          <a:lstStyle/>
          <a:p>
            <a:r>
              <a:rPr lang="en-US"/>
              <a:t>Meet the Primes | Denver International Airport</a:t>
            </a:r>
          </a:p>
        </p:txBody>
      </p:sp>
      <p:sp>
        <p:nvSpPr>
          <p:cNvPr id="7" name="Slide Number Placeholder 6">
            <a:extLst>
              <a:ext uri="{FF2B5EF4-FFF2-40B4-BE49-F238E27FC236}">
                <a16:creationId xmlns:a16="http://schemas.microsoft.com/office/drawing/2014/main" id="{145479EF-6836-D04B-6747-85C0B771DD2E}"/>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8" name="Straight Connector 7">
            <a:extLst>
              <a:ext uri="{FF2B5EF4-FFF2-40B4-BE49-F238E27FC236}">
                <a16:creationId xmlns:a16="http://schemas.microsoft.com/office/drawing/2014/main" id="{7DFB009C-CEE7-0F48-A6EC-DC52AFD4324E}"/>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26" descr="HNTB">
            <a:extLst>
              <a:ext uri="{FF2B5EF4-FFF2-40B4-BE49-F238E27FC236}">
                <a16:creationId xmlns:a16="http://schemas.microsoft.com/office/drawing/2014/main" id="{47192495-DB88-95F8-55E3-27D02BEEF59F}"/>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
        <p:nvSpPr>
          <p:cNvPr id="28" name="Content Placeholder 3">
            <a:extLst>
              <a:ext uri="{FF2B5EF4-FFF2-40B4-BE49-F238E27FC236}">
                <a16:creationId xmlns:a16="http://schemas.microsoft.com/office/drawing/2014/main" id="{3D389949-9298-B841-24D6-AFC0F4680A27}"/>
              </a:ext>
            </a:extLst>
          </p:cNvPr>
          <p:cNvSpPr>
            <a:spLocks noGrp="1"/>
          </p:cNvSpPr>
          <p:nvPr>
            <p:ph sz="half" idx="2" hasCustomPrompt="1"/>
          </p:nvPr>
        </p:nvSpPr>
        <p:spPr>
          <a:xfrm>
            <a:off x="609600" y="1217755"/>
            <a:ext cx="3692529" cy="2444517"/>
          </a:xfrm>
        </p:spPr>
        <p:txBody>
          <a:bodyPr/>
          <a:lstStyle>
            <a:lvl1pPr marL="0" indent="0">
              <a:buNone/>
              <a:defRPr b="1"/>
            </a:lvl1pPr>
          </a:lstStyle>
          <a:p>
            <a:pPr lvl="0"/>
            <a:r>
              <a:rPr lang="en-US"/>
              <a:t>Photo</a:t>
            </a:r>
          </a:p>
        </p:txBody>
      </p:sp>
      <p:sp>
        <p:nvSpPr>
          <p:cNvPr id="29" name="Content Placeholder 3">
            <a:extLst>
              <a:ext uri="{FF2B5EF4-FFF2-40B4-BE49-F238E27FC236}">
                <a16:creationId xmlns:a16="http://schemas.microsoft.com/office/drawing/2014/main" id="{EE53CC0B-B8A8-3DB9-143E-182FB142BF05}"/>
              </a:ext>
            </a:extLst>
          </p:cNvPr>
          <p:cNvSpPr>
            <a:spLocks noGrp="1"/>
          </p:cNvSpPr>
          <p:nvPr>
            <p:ph sz="half" idx="12" hasCustomPrompt="1"/>
          </p:nvPr>
        </p:nvSpPr>
        <p:spPr>
          <a:xfrm>
            <a:off x="606429" y="3737893"/>
            <a:ext cx="3695700" cy="2043781"/>
          </a:xfrm>
        </p:spPr>
        <p:txBody>
          <a:bodyPr/>
          <a:lstStyle>
            <a:lvl1pPr marL="0" indent="0">
              <a:buNone/>
              <a:defRPr b="1"/>
            </a:lvl1pPr>
          </a:lstStyle>
          <a:p>
            <a:pPr lvl="0"/>
            <a:r>
              <a:rPr lang="en-US"/>
              <a:t>Photo</a:t>
            </a:r>
          </a:p>
        </p:txBody>
      </p:sp>
      <p:sp>
        <p:nvSpPr>
          <p:cNvPr id="30" name="Content Placeholder 3">
            <a:extLst>
              <a:ext uri="{FF2B5EF4-FFF2-40B4-BE49-F238E27FC236}">
                <a16:creationId xmlns:a16="http://schemas.microsoft.com/office/drawing/2014/main" id="{9081FA6E-55B9-D867-7D8E-FCB3BE6D0AFA}"/>
              </a:ext>
            </a:extLst>
          </p:cNvPr>
          <p:cNvSpPr>
            <a:spLocks noGrp="1"/>
          </p:cNvSpPr>
          <p:nvPr>
            <p:ph sz="half" idx="13" hasCustomPrompt="1"/>
          </p:nvPr>
        </p:nvSpPr>
        <p:spPr>
          <a:xfrm>
            <a:off x="4378328" y="4299688"/>
            <a:ext cx="5178429" cy="1481979"/>
          </a:xfrm>
        </p:spPr>
        <p:txBody>
          <a:bodyPr/>
          <a:lstStyle>
            <a:lvl1pPr marL="0" indent="0">
              <a:buNone/>
              <a:defRPr b="1"/>
            </a:lvl1pPr>
          </a:lstStyle>
          <a:p>
            <a:pPr lvl="0"/>
            <a:r>
              <a:rPr lang="en-US"/>
              <a:t>Photo</a:t>
            </a:r>
          </a:p>
        </p:txBody>
      </p:sp>
      <p:sp>
        <p:nvSpPr>
          <p:cNvPr id="31" name="Content Placeholder 3">
            <a:extLst>
              <a:ext uri="{FF2B5EF4-FFF2-40B4-BE49-F238E27FC236}">
                <a16:creationId xmlns:a16="http://schemas.microsoft.com/office/drawing/2014/main" id="{0AA50D06-51B7-DE5D-AEF0-CECF2AA6AC32}"/>
              </a:ext>
            </a:extLst>
          </p:cNvPr>
          <p:cNvSpPr>
            <a:spLocks noGrp="1"/>
          </p:cNvSpPr>
          <p:nvPr>
            <p:ph sz="half" idx="14" hasCustomPrompt="1"/>
          </p:nvPr>
        </p:nvSpPr>
        <p:spPr>
          <a:xfrm>
            <a:off x="9639300" y="4299686"/>
            <a:ext cx="2047875" cy="1481979"/>
          </a:xfrm>
        </p:spPr>
        <p:txBody>
          <a:bodyPr/>
          <a:lstStyle>
            <a:lvl1pPr marL="0" indent="0">
              <a:buNone/>
              <a:defRPr b="1"/>
            </a:lvl1pPr>
          </a:lstStyle>
          <a:p>
            <a:pPr lvl="0"/>
            <a:r>
              <a:rPr lang="en-US"/>
              <a:t>Photo</a:t>
            </a:r>
          </a:p>
        </p:txBody>
      </p:sp>
      <p:sp>
        <p:nvSpPr>
          <p:cNvPr id="32" name="Content Placeholder 3">
            <a:extLst>
              <a:ext uri="{FF2B5EF4-FFF2-40B4-BE49-F238E27FC236}">
                <a16:creationId xmlns:a16="http://schemas.microsoft.com/office/drawing/2014/main" id="{CBA4D74E-BAF8-AAB8-17DC-6045A84755CF}"/>
              </a:ext>
            </a:extLst>
          </p:cNvPr>
          <p:cNvSpPr>
            <a:spLocks noGrp="1"/>
          </p:cNvSpPr>
          <p:nvPr>
            <p:ph sz="half" idx="15" hasCustomPrompt="1"/>
          </p:nvPr>
        </p:nvSpPr>
        <p:spPr>
          <a:xfrm>
            <a:off x="6677025" y="1227137"/>
            <a:ext cx="5010150" cy="3004341"/>
          </a:xfrm>
        </p:spPr>
        <p:txBody>
          <a:bodyPr/>
          <a:lstStyle>
            <a:lvl1pPr marL="0" indent="0">
              <a:buNone/>
              <a:defRPr b="1"/>
            </a:lvl1pPr>
          </a:lstStyle>
          <a:p>
            <a:pPr lvl="0"/>
            <a:r>
              <a:rPr lang="en-US"/>
              <a:t>Photo</a:t>
            </a:r>
          </a:p>
        </p:txBody>
      </p:sp>
      <p:sp>
        <p:nvSpPr>
          <p:cNvPr id="33" name="Content Placeholder 3">
            <a:extLst>
              <a:ext uri="{FF2B5EF4-FFF2-40B4-BE49-F238E27FC236}">
                <a16:creationId xmlns:a16="http://schemas.microsoft.com/office/drawing/2014/main" id="{B6E84621-4FB6-9DC1-45BA-E3909CBF2E51}"/>
              </a:ext>
            </a:extLst>
          </p:cNvPr>
          <p:cNvSpPr>
            <a:spLocks noGrp="1"/>
          </p:cNvSpPr>
          <p:nvPr>
            <p:ph sz="half" idx="16" hasCustomPrompt="1"/>
          </p:nvPr>
        </p:nvSpPr>
        <p:spPr>
          <a:xfrm>
            <a:off x="4378328" y="1217755"/>
            <a:ext cx="2222497" cy="1461136"/>
          </a:xfrm>
        </p:spPr>
        <p:txBody>
          <a:bodyPr/>
          <a:lstStyle>
            <a:lvl1pPr marL="0" indent="0">
              <a:buNone/>
              <a:defRPr b="1"/>
            </a:lvl1pPr>
          </a:lstStyle>
          <a:p>
            <a:pPr lvl="0"/>
            <a:r>
              <a:rPr lang="en-US"/>
              <a:t>Photo</a:t>
            </a:r>
          </a:p>
        </p:txBody>
      </p:sp>
      <p:sp>
        <p:nvSpPr>
          <p:cNvPr id="34" name="Content Placeholder 3">
            <a:extLst>
              <a:ext uri="{FF2B5EF4-FFF2-40B4-BE49-F238E27FC236}">
                <a16:creationId xmlns:a16="http://schemas.microsoft.com/office/drawing/2014/main" id="{EBFA8E90-B73C-EC54-6C33-5AE3F2BB9083}"/>
              </a:ext>
            </a:extLst>
          </p:cNvPr>
          <p:cNvSpPr>
            <a:spLocks noGrp="1"/>
          </p:cNvSpPr>
          <p:nvPr>
            <p:ph sz="half" idx="17" hasCustomPrompt="1"/>
          </p:nvPr>
        </p:nvSpPr>
        <p:spPr>
          <a:xfrm>
            <a:off x="4384671" y="2770343"/>
            <a:ext cx="2222497" cy="1461136"/>
          </a:xfrm>
        </p:spPr>
        <p:txBody>
          <a:bodyPr/>
          <a:lstStyle>
            <a:lvl1pPr marL="0" indent="0">
              <a:buNone/>
              <a:defRPr b="1"/>
            </a:lvl1pPr>
          </a:lstStyle>
          <a:p>
            <a:pPr lvl="0"/>
            <a:r>
              <a:rPr lang="en-US"/>
              <a:t>Photo</a:t>
            </a:r>
          </a:p>
        </p:txBody>
      </p:sp>
    </p:spTree>
    <p:extLst>
      <p:ext uri="{BB962C8B-B14F-4D97-AF65-F5344CB8AC3E}">
        <p14:creationId xmlns:p14="http://schemas.microsoft.com/office/powerpoint/2010/main" val="42685718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D3A8F3E-3894-DBEE-027B-901187150A03}"/>
              </a:ext>
            </a:extLst>
          </p:cNvPr>
          <p:cNvSpPr>
            <a:spLocks noGrp="1"/>
          </p:cNvSpPr>
          <p:nvPr>
            <p:ph type="ftr" sz="quarter" idx="10"/>
          </p:nvPr>
        </p:nvSpPr>
        <p:spPr/>
        <p:txBody>
          <a:bodyPr/>
          <a:lstStyle/>
          <a:p>
            <a:r>
              <a:rPr lang="en-US"/>
              <a:t>Meet the Primes | Denver International Airport</a:t>
            </a:r>
          </a:p>
        </p:txBody>
      </p:sp>
      <p:sp>
        <p:nvSpPr>
          <p:cNvPr id="6" name="Slide Number Placeholder 5">
            <a:extLst>
              <a:ext uri="{FF2B5EF4-FFF2-40B4-BE49-F238E27FC236}">
                <a16:creationId xmlns:a16="http://schemas.microsoft.com/office/drawing/2014/main" id="{A0D806B3-48E5-1E67-1C7A-895BDE5AFCD2}"/>
              </a:ext>
            </a:extLst>
          </p:cNvPr>
          <p:cNvSpPr>
            <a:spLocks noGrp="1"/>
          </p:cNvSpPr>
          <p:nvPr>
            <p:ph type="sldNum" sz="quarter" idx="11"/>
          </p:nvPr>
        </p:nvSpPr>
        <p:spPr/>
        <p:txBody>
          <a:bodyPr/>
          <a:lstStyle/>
          <a:p>
            <a:fld id="{E0562F0D-1E28-4754-8F56-3AC0578EFE04}" type="slidenum">
              <a:rPr lang="en-US" smtClean="0"/>
              <a:pPr/>
              <a:t>‹#›</a:t>
            </a:fld>
            <a:endParaRPr lang="en-US"/>
          </a:p>
        </p:txBody>
      </p:sp>
      <p:cxnSp>
        <p:nvCxnSpPr>
          <p:cNvPr id="7" name="Straight Connector 6">
            <a:extLst>
              <a:ext uri="{FF2B5EF4-FFF2-40B4-BE49-F238E27FC236}">
                <a16:creationId xmlns:a16="http://schemas.microsoft.com/office/drawing/2014/main" id="{77F5C0AB-3624-03A8-3A81-4AB18BCEDBD8}"/>
              </a:ext>
            </a:extLst>
          </p:cNvPr>
          <p:cNvCxnSpPr/>
          <p:nvPr userDrawn="1"/>
        </p:nvCxnSpPr>
        <p:spPr>
          <a:xfrm>
            <a:off x="147782" y="6280727"/>
            <a:ext cx="1189643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26" descr="HNTB">
            <a:extLst>
              <a:ext uri="{FF2B5EF4-FFF2-40B4-BE49-F238E27FC236}">
                <a16:creationId xmlns:a16="http://schemas.microsoft.com/office/drawing/2014/main" id="{AC02DBF4-9B5C-6913-4912-E966F487A156}"/>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782" y="6433165"/>
            <a:ext cx="762000" cy="211494"/>
          </a:xfrm>
          <a:prstGeom prst="rect">
            <a:avLst/>
          </a:prstGeom>
          <a:noFill/>
        </p:spPr>
      </p:pic>
    </p:spTree>
    <p:extLst>
      <p:ext uri="{BB962C8B-B14F-4D97-AF65-F5344CB8AC3E}">
        <p14:creationId xmlns:p14="http://schemas.microsoft.com/office/powerpoint/2010/main" val="18782008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descr="A picture containing tent, outdoor, outdoor object, roof&#10;&#10;Description automatically generated">
            <a:extLst>
              <a:ext uri="{FF2B5EF4-FFF2-40B4-BE49-F238E27FC236}">
                <a16:creationId xmlns:a16="http://schemas.microsoft.com/office/drawing/2014/main" id="{34C57211-B0FB-E902-380D-1FF55441801B}"/>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29" name="Graphic 28">
            <a:extLst>
              <a:ext uri="{FF2B5EF4-FFF2-40B4-BE49-F238E27FC236}">
                <a16:creationId xmlns:a16="http://schemas.microsoft.com/office/drawing/2014/main" id="{FEE622D1-3952-6D17-50D2-212981BC1EA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7615824" cy="6856490"/>
          </a:xfrm>
          <a:prstGeom prst="rect">
            <a:avLst/>
          </a:prstGeom>
          <a:effectLst>
            <a:outerShdw blurRad="50800" dir="14460000" algn="ctr" rotWithShape="0">
              <a:srgbClr val="000000">
                <a:alpha val="73000"/>
              </a:srgbClr>
            </a:outerShdw>
          </a:effectLst>
        </p:spPr>
      </p:pic>
      <p:pic>
        <p:nvPicPr>
          <p:cNvPr id="24" name="Picture 23" descr="Logo&#10;&#10;Description automatically generated">
            <a:extLst>
              <a:ext uri="{FF2B5EF4-FFF2-40B4-BE49-F238E27FC236}">
                <a16:creationId xmlns:a16="http://schemas.microsoft.com/office/drawing/2014/main" id="{BA16268D-CDDE-3511-14C1-00C83A64A1C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26875" y="755"/>
            <a:ext cx="2446025" cy="6856490"/>
          </a:xfrm>
          <a:prstGeom prst="rect">
            <a:avLst/>
          </a:prstGeom>
        </p:spPr>
      </p:pic>
      <p:pic>
        <p:nvPicPr>
          <p:cNvPr id="2" name="Picture Placeholder 7" descr="A black and white sign&#10;&#10;Description automatically generated with medium confidence">
            <a:extLst>
              <a:ext uri="{FF2B5EF4-FFF2-40B4-BE49-F238E27FC236}">
                <a16:creationId xmlns:a16="http://schemas.microsoft.com/office/drawing/2014/main" id="{67A7B627-8AF5-7573-57C6-E958115407E1}"/>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877072" y="4636168"/>
            <a:ext cx="1409979" cy="857634"/>
          </a:xfrm>
          <a:prstGeom prst="rect">
            <a:avLst/>
          </a:prstGeom>
        </p:spPr>
      </p:pic>
    </p:spTree>
    <p:extLst>
      <p:ext uri="{BB962C8B-B14F-4D97-AF65-F5344CB8AC3E}">
        <p14:creationId xmlns:p14="http://schemas.microsoft.com/office/powerpoint/2010/main" val="9512794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19996EF-1997-E6CE-341E-808C73AE6A3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908760"/>
            <a:ext cx="3898232" cy="4949240"/>
          </a:xfrm>
          <a:prstGeom prst="rect">
            <a:avLst/>
          </a:prstGeom>
          <a:effectLst>
            <a:outerShdw blurRad="50800" dist="50800" dir="14640000" algn="ctr" rotWithShape="0">
              <a:srgbClr val="000000">
                <a:alpha val="32000"/>
              </a:srgbClr>
            </a:outerShdw>
          </a:effectLst>
        </p:spPr>
      </p:pic>
      <p:pic>
        <p:nvPicPr>
          <p:cNvPr id="7" name="Graphic 6">
            <a:extLst>
              <a:ext uri="{FF2B5EF4-FFF2-40B4-BE49-F238E27FC236}">
                <a16:creationId xmlns:a16="http://schemas.microsoft.com/office/drawing/2014/main" id="{4F18FB22-3CD5-E59E-BF99-13147E1224C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27046" y="-1182129"/>
            <a:ext cx="2819191" cy="3648364"/>
          </a:xfrm>
          <a:prstGeom prst="rect">
            <a:avLst/>
          </a:prstGeom>
        </p:spPr>
      </p:pic>
      <p:pic>
        <p:nvPicPr>
          <p:cNvPr id="2" name="Picture Placeholder 7" descr="A black and white sign&#10;&#10;Description automatically generated with medium confidence">
            <a:extLst>
              <a:ext uri="{FF2B5EF4-FFF2-40B4-BE49-F238E27FC236}">
                <a16:creationId xmlns:a16="http://schemas.microsoft.com/office/drawing/2014/main" id="{ACFA7BAB-4644-3519-04ED-2874B3F0E27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644282" y="5625277"/>
            <a:ext cx="1184688" cy="720599"/>
          </a:xfrm>
          <a:prstGeom prst="rect">
            <a:avLst/>
          </a:prstGeom>
        </p:spPr>
      </p:pic>
    </p:spTree>
    <p:extLst>
      <p:ext uri="{BB962C8B-B14F-4D97-AF65-F5344CB8AC3E}">
        <p14:creationId xmlns:p14="http://schemas.microsoft.com/office/powerpoint/2010/main" val="3939943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3 - orang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4653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A picture containing tent, outdoor, outdoor object, roof&#10;&#10;Description automatically generated">
            <a:extLst>
              <a:ext uri="{FF2B5EF4-FFF2-40B4-BE49-F238E27FC236}">
                <a16:creationId xmlns:a16="http://schemas.microsoft.com/office/drawing/2014/main" id="{84964A1C-6EEB-C05B-244B-E986B948B545}"/>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795547"/>
            <a:ext cx="12192000" cy="8128000"/>
          </a:xfrm>
          <a:prstGeom prst="rect">
            <a:avLst/>
          </a:prstGeom>
        </p:spPr>
      </p:pic>
      <p:sp>
        <p:nvSpPr>
          <p:cNvPr id="3" name="Content Placeholder 2">
            <a:extLst>
              <a:ext uri="{FF2B5EF4-FFF2-40B4-BE49-F238E27FC236}">
                <a16:creationId xmlns:a16="http://schemas.microsoft.com/office/drawing/2014/main" id="{69DCDEDF-888C-452E-98B4-DD47B451368A}"/>
              </a:ext>
            </a:extLst>
          </p:cNvPr>
          <p:cNvSpPr>
            <a:spLocks noGrp="1"/>
          </p:cNvSpPr>
          <p:nvPr>
            <p:ph idx="1"/>
          </p:nvPr>
        </p:nvSpPr>
        <p:spPr>
          <a:xfrm>
            <a:off x="614917" y="709206"/>
            <a:ext cx="10515600" cy="4351338"/>
          </a:xfrm>
        </p:spPr>
        <p:txBody>
          <a:bodyPr/>
          <a:lstStyle>
            <a:lvl1pPr marL="0" indent="0">
              <a:buNone/>
              <a:defRPr>
                <a:solidFill>
                  <a:srgbClr val="005C89"/>
                </a:solidFill>
                <a:latin typeface="Arial" panose="020B0604020202020204" pitchFamily="34" charset="0"/>
                <a:cs typeface="Arial" panose="020B0604020202020204" pitchFamily="34" charset="0"/>
              </a:defRPr>
            </a:lvl1pPr>
            <a:lvl2pPr>
              <a:buClr>
                <a:srgbClr val="005C89"/>
              </a:buClr>
              <a:defRPr>
                <a:latin typeface="Arial" panose="020B0604020202020204" pitchFamily="34" charset="0"/>
                <a:cs typeface="Arial" panose="020B0604020202020204" pitchFamily="34" charset="0"/>
              </a:defRPr>
            </a:lvl2pPr>
            <a:lvl3pPr marL="1143000" indent="-228600">
              <a:buFont typeface="Courier New" panose="02070309020205020404" pitchFamily="49" charset="0"/>
              <a:buChar char="o"/>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Graphic 3">
            <a:extLst>
              <a:ext uri="{FF2B5EF4-FFF2-40B4-BE49-F238E27FC236}">
                <a16:creationId xmlns:a16="http://schemas.microsoft.com/office/drawing/2014/main" id="{9ECFFC43-91A2-B017-00C8-D269DC7B4A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27046" y="-1182129"/>
            <a:ext cx="2819191" cy="3648364"/>
          </a:xfrm>
          <a:prstGeom prst="rect">
            <a:avLst/>
          </a:prstGeom>
        </p:spPr>
      </p:pic>
    </p:spTree>
    <p:extLst>
      <p:ext uri="{BB962C8B-B14F-4D97-AF65-F5344CB8AC3E}">
        <p14:creationId xmlns:p14="http://schemas.microsoft.com/office/powerpoint/2010/main" val="36695007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DCDEDF-888C-452E-98B4-DD47B451368A}"/>
              </a:ext>
            </a:extLst>
          </p:cNvPr>
          <p:cNvSpPr>
            <a:spLocks noGrp="1"/>
          </p:cNvSpPr>
          <p:nvPr>
            <p:ph idx="1"/>
          </p:nvPr>
        </p:nvSpPr>
        <p:spPr>
          <a:xfrm>
            <a:off x="614917" y="709206"/>
            <a:ext cx="10515600" cy="4351338"/>
          </a:xfrm>
        </p:spPr>
        <p:txBody>
          <a:bodyPr/>
          <a:lstStyle>
            <a:lvl1pPr marL="0" indent="0">
              <a:buNone/>
              <a:defRPr>
                <a:solidFill>
                  <a:srgbClr val="005C89"/>
                </a:solidFill>
                <a:latin typeface="Arial" panose="020B0604020202020204" pitchFamily="34" charset="0"/>
                <a:cs typeface="Arial" panose="020B0604020202020204" pitchFamily="34" charset="0"/>
              </a:defRPr>
            </a:lvl1pPr>
            <a:lvl2pPr>
              <a:buClr>
                <a:srgbClr val="005C89"/>
              </a:buClr>
              <a:defRPr>
                <a:latin typeface="Arial" panose="020B0604020202020204" pitchFamily="34" charset="0"/>
                <a:cs typeface="Arial" panose="020B0604020202020204" pitchFamily="34" charset="0"/>
              </a:defRPr>
            </a:lvl2pPr>
            <a:lvl3pPr marL="1143000" indent="-228600">
              <a:buFont typeface="Courier New" panose="02070309020205020404" pitchFamily="49" charset="0"/>
              <a:buChar char="o"/>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485385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5" name="Picture 4" descr="A picture containing tent, outdoor, outdoor object, roof&#10;&#10;Description automatically generated">
            <a:extLst>
              <a:ext uri="{FF2B5EF4-FFF2-40B4-BE49-F238E27FC236}">
                <a16:creationId xmlns:a16="http://schemas.microsoft.com/office/drawing/2014/main" id="{D08D208A-2A41-F6D4-4A51-18F1CC45F55E}"/>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sp>
        <p:nvSpPr>
          <p:cNvPr id="3" name="Content Placeholder 2">
            <a:extLst>
              <a:ext uri="{FF2B5EF4-FFF2-40B4-BE49-F238E27FC236}">
                <a16:creationId xmlns:a16="http://schemas.microsoft.com/office/drawing/2014/main" id="{69DCDEDF-888C-452E-98B4-DD47B451368A}"/>
              </a:ext>
            </a:extLst>
          </p:cNvPr>
          <p:cNvSpPr>
            <a:spLocks noGrp="1"/>
          </p:cNvSpPr>
          <p:nvPr>
            <p:ph idx="1"/>
          </p:nvPr>
        </p:nvSpPr>
        <p:spPr>
          <a:xfrm>
            <a:off x="1451812" y="1253331"/>
            <a:ext cx="9055767" cy="4351338"/>
          </a:xfrm>
        </p:spPr>
        <p:txBody>
          <a:bodyPr/>
          <a:lstStyle>
            <a:lvl1pPr marL="0" indent="0">
              <a:buNone/>
              <a:defRPr>
                <a:solidFill>
                  <a:srgbClr val="005C89"/>
                </a:solidFill>
                <a:latin typeface="Arial" panose="020B0604020202020204" pitchFamily="34" charset="0"/>
                <a:cs typeface="Arial" panose="020B0604020202020204" pitchFamily="34" charset="0"/>
              </a:defRPr>
            </a:lvl1pPr>
            <a:lvl2pPr>
              <a:buClr>
                <a:srgbClr val="005C89"/>
              </a:buClr>
              <a:defRPr>
                <a:latin typeface="Arial" panose="020B0604020202020204" pitchFamily="34" charset="0"/>
                <a:cs typeface="Arial" panose="020B0604020202020204" pitchFamily="34" charset="0"/>
              </a:defRPr>
            </a:lvl2pPr>
            <a:lvl3pPr marL="914400" indent="0">
              <a:buFont typeface="Courier New" panose="02070309020205020404" pitchFamily="49" charse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Graphic 12">
            <a:extLst>
              <a:ext uri="{FF2B5EF4-FFF2-40B4-BE49-F238E27FC236}">
                <a16:creationId xmlns:a16="http://schemas.microsoft.com/office/drawing/2014/main" id="{1CA455EE-504B-1FA8-214C-5828F6CD238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908760"/>
            <a:ext cx="3898232" cy="4949240"/>
          </a:xfrm>
          <a:prstGeom prst="rect">
            <a:avLst/>
          </a:prstGeom>
          <a:effectLst>
            <a:outerShdw blurRad="50800" dist="50800" dir="14640000" algn="ctr" rotWithShape="0">
              <a:srgbClr val="000000">
                <a:alpha val="32000"/>
              </a:srgbClr>
            </a:outerShdw>
          </a:effectLst>
        </p:spPr>
      </p:pic>
      <p:pic>
        <p:nvPicPr>
          <p:cNvPr id="2" name="Picture Placeholder 7" descr="A black and white sign&#10;&#10;Description automatically generated with medium confidence">
            <a:extLst>
              <a:ext uri="{FF2B5EF4-FFF2-40B4-BE49-F238E27FC236}">
                <a16:creationId xmlns:a16="http://schemas.microsoft.com/office/drawing/2014/main" id="{3CA84C93-32CB-1540-F8B0-2907A547375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a:off x="644282" y="5625277"/>
            <a:ext cx="1184688" cy="720599"/>
          </a:xfrm>
          <a:prstGeom prst="rect">
            <a:avLst/>
          </a:prstGeom>
        </p:spPr>
      </p:pic>
    </p:spTree>
    <p:extLst>
      <p:ext uri="{BB962C8B-B14F-4D97-AF65-F5344CB8AC3E}">
        <p14:creationId xmlns:p14="http://schemas.microsoft.com/office/powerpoint/2010/main" val="22699580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descr="A picture containing tent, outdoor, outdoor object, roof&#10;&#10;Description automatically generated">
            <a:extLst>
              <a:ext uri="{FF2B5EF4-FFF2-40B4-BE49-F238E27FC236}">
                <a16:creationId xmlns:a16="http://schemas.microsoft.com/office/drawing/2014/main" id="{E5BE5574-997D-21D2-2B00-37B6802AF6ED}"/>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sp>
        <p:nvSpPr>
          <p:cNvPr id="3" name="Content Placeholder 2">
            <a:extLst>
              <a:ext uri="{FF2B5EF4-FFF2-40B4-BE49-F238E27FC236}">
                <a16:creationId xmlns:a16="http://schemas.microsoft.com/office/drawing/2014/main" id="{69DCDEDF-888C-452E-98B4-DD47B451368A}"/>
              </a:ext>
            </a:extLst>
          </p:cNvPr>
          <p:cNvSpPr>
            <a:spLocks noGrp="1"/>
          </p:cNvSpPr>
          <p:nvPr>
            <p:ph idx="1"/>
          </p:nvPr>
        </p:nvSpPr>
        <p:spPr>
          <a:xfrm>
            <a:off x="636182" y="943122"/>
            <a:ext cx="10515600" cy="4351338"/>
          </a:xfrm>
        </p:spPr>
        <p:txBody>
          <a:bodyPr/>
          <a:lstStyle>
            <a:lvl1pPr marL="0" indent="0">
              <a:buNone/>
              <a:defRPr>
                <a:solidFill>
                  <a:srgbClr val="005C89"/>
                </a:solidFill>
                <a:latin typeface="Arial" panose="020B0604020202020204" pitchFamily="34" charset="0"/>
                <a:cs typeface="Arial" panose="020B0604020202020204" pitchFamily="34" charset="0"/>
              </a:defRPr>
            </a:lvl1pPr>
            <a:lvl2pPr>
              <a:buClr>
                <a:srgbClr val="005C89"/>
              </a:buClr>
              <a:defRPr>
                <a:latin typeface="Arial" panose="020B0604020202020204" pitchFamily="34" charset="0"/>
                <a:cs typeface="Arial" panose="020B0604020202020204" pitchFamily="34" charset="0"/>
              </a:defRPr>
            </a:lvl2pPr>
            <a:lvl3pPr marL="914400" indent="0">
              <a:buFont typeface="Courier New" panose="02070309020205020404" pitchFamily="49" charse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Graphic 12">
            <a:extLst>
              <a:ext uri="{FF2B5EF4-FFF2-40B4-BE49-F238E27FC236}">
                <a16:creationId xmlns:a16="http://schemas.microsoft.com/office/drawing/2014/main" id="{A7E6DB7A-8CC7-1475-6C1B-055326084E3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908760"/>
            <a:ext cx="3898232" cy="4949240"/>
          </a:xfrm>
          <a:prstGeom prst="rect">
            <a:avLst/>
          </a:prstGeom>
          <a:effectLst>
            <a:outerShdw blurRad="50800" dist="50800" dir="14640000" algn="ctr" rotWithShape="0">
              <a:srgbClr val="000000">
                <a:alpha val="32000"/>
              </a:srgbClr>
            </a:outerShdw>
          </a:effectLst>
        </p:spPr>
      </p:pic>
      <p:pic>
        <p:nvPicPr>
          <p:cNvPr id="7" name="Graphic 6">
            <a:extLst>
              <a:ext uri="{FF2B5EF4-FFF2-40B4-BE49-F238E27FC236}">
                <a16:creationId xmlns:a16="http://schemas.microsoft.com/office/drawing/2014/main" id="{520E2386-BC2B-363D-E99B-5CEAF22652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27046" y="-1182129"/>
            <a:ext cx="2819191" cy="3648364"/>
          </a:xfrm>
          <a:prstGeom prst="rect">
            <a:avLst/>
          </a:prstGeom>
        </p:spPr>
      </p:pic>
      <p:pic>
        <p:nvPicPr>
          <p:cNvPr id="2" name="Picture Placeholder 7" descr="A black and white sign&#10;&#10;Description automatically generated with medium confidence">
            <a:extLst>
              <a:ext uri="{FF2B5EF4-FFF2-40B4-BE49-F238E27FC236}">
                <a16:creationId xmlns:a16="http://schemas.microsoft.com/office/drawing/2014/main" id="{310E2A68-7016-7D69-B86A-E7868F4A19AB}"/>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a:xfrm>
            <a:off x="644282" y="5625277"/>
            <a:ext cx="1184688" cy="720599"/>
          </a:xfrm>
          <a:prstGeom prst="rect">
            <a:avLst/>
          </a:prstGeom>
        </p:spPr>
      </p:pic>
    </p:spTree>
    <p:extLst>
      <p:ext uri="{BB962C8B-B14F-4D97-AF65-F5344CB8AC3E}">
        <p14:creationId xmlns:p14="http://schemas.microsoft.com/office/powerpoint/2010/main" val="15156428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 name="Picture 4" descr="A picture containing tent, outdoor, outdoor object, roof&#10;&#10;Description automatically generated">
            <a:extLst>
              <a:ext uri="{FF2B5EF4-FFF2-40B4-BE49-F238E27FC236}">
                <a16:creationId xmlns:a16="http://schemas.microsoft.com/office/drawing/2014/main" id="{E5BE5574-997D-21D2-2B00-37B6802AF6ED}"/>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pic>
        <p:nvPicPr>
          <p:cNvPr id="13" name="Graphic 12">
            <a:extLst>
              <a:ext uri="{FF2B5EF4-FFF2-40B4-BE49-F238E27FC236}">
                <a16:creationId xmlns:a16="http://schemas.microsoft.com/office/drawing/2014/main" id="{A7E6DB7A-8CC7-1475-6C1B-055326084E3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908760"/>
            <a:ext cx="3898232" cy="4949240"/>
          </a:xfrm>
          <a:prstGeom prst="rect">
            <a:avLst/>
          </a:prstGeom>
          <a:effectLst>
            <a:outerShdw blurRad="50800" dist="50800" dir="14640000" algn="ctr" rotWithShape="0">
              <a:srgbClr val="000000">
                <a:alpha val="32000"/>
              </a:srgbClr>
            </a:outerShdw>
          </a:effectLst>
        </p:spPr>
      </p:pic>
      <p:pic>
        <p:nvPicPr>
          <p:cNvPr id="7" name="Graphic 6">
            <a:extLst>
              <a:ext uri="{FF2B5EF4-FFF2-40B4-BE49-F238E27FC236}">
                <a16:creationId xmlns:a16="http://schemas.microsoft.com/office/drawing/2014/main" id="{520E2386-BC2B-363D-E99B-5CEAF22652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27046" y="-1182129"/>
            <a:ext cx="2819191" cy="3648364"/>
          </a:xfrm>
          <a:prstGeom prst="rect">
            <a:avLst/>
          </a:prstGeom>
        </p:spPr>
      </p:pic>
      <p:pic>
        <p:nvPicPr>
          <p:cNvPr id="2" name="Picture Placeholder 7" descr="A black and white sign&#10;&#10;Description automatically generated with medium confidence">
            <a:extLst>
              <a:ext uri="{FF2B5EF4-FFF2-40B4-BE49-F238E27FC236}">
                <a16:creationId xmlns:a16="http://schemas.microsoft.com/office/drawing/2014/main" id="{310E2A68-7016-7D69-B86A-E7868F4A19AB}"/>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a:xfrm>
            <a:off x="644282" y="5625277"/>
            <a:ext cx="1184688" cy="720599"/>
          </a:xfrm>
          <a:prstGeom prst="rect">
            <a:avLst/>
          </a:prstGeom>
        </p:spPr>
      </p:pic>
    </p:spTree>
    <p:extLst>
      <p:ext uri="{BB962C8B-B14F-4D97-AF65-F5344CB8AC3E}">
        <p14:creationId xmlns:p14="http://schemas.microsoft.com/office/powerpoint/2010/main" val="2121527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7" name="Picture 6" descr="A picture containing tent, outdoor, outdoor object, roof&#10;&#10;Description automatically generated">
            <a:extLst>
              <a:ext uri="{FF2B5EF4-FFF2-40B4-BE49-F238E27FC236}">
                <a16:creationId xmlns:a16="http://schemas.microsoft.com/office/drawing/2014/main" id="{88F0FF28-FFA8-FB46-7AE5-F6BE86A72C35}"/>
              </a:ext>
            </a:extLst>
          </p:cNvPr>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sp>
        <p:nvSpPr>
          <p:cNvPr id="3" name="Text Placeholder 2">
            <a:extLst>
              <a:ext uri="{FF2B5EF4-FFF2-40B4-BE49-F238E27FC236}">
                <a16:creationId xmlns:a16="http://schemas.microsoft.com/office/drawing/2014/main" id="{2C39CB09-E3EF-434C-A5CB-9EB7778FE49E}"/>
              </a:ext>
            </a:extLst>
          </p:cNvPr>
          <p:cNvSpPr>
            <a:spLocks noGrp="1"/>
          </p:cNvSpPr>
          <p:nvPr>
            <p:ph type="body" idx="1"/>
          </p:nvPr>
        </p:nvSpPr>
        <p:spPr>
          <a:xfrm>
            <a:off x="839788" y="1681163"/>
            <a:ext cx="5157787" cy="823912"/>
          </a:xfrm>
        </p:spPr>
        <p:txBody>
          <a:bodyPr anchor="b"/>
          <a:lstStyle>
            <a:lvl1pPr marL="0" indent="0">
              <a:buNone/>
              <a:defRPr sz="2400" b="1">
                <a:solidFill>
                  <a:srgbClr val="005C89"/>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49C35E-256A-4A37-A8E7-D335DDB89811}"/>
              </a:ext>
            </a:extLst>
          </p:cNvPr>
          <p:cNvSpPr>
            <a:spLocks noGrp="1"/>
          </p:cNvSpPr>
          <p:nvPr>
            <p:ph sz="half" idx="2"/>
          </p:nvPr>
        </p:nvSpPr>
        <p:spPr>
          <a:xfrm>
            <a:off x="839788" y="2505075"/>
            <a:ext cx="5157787" cy="3684588"/>
          </a:xfrm>
        </p:spPr>
        <p:txBody>
          <a:bodyPr/>
          <a:lstStyle>
            <a:lvl1pPr>
              <a:buClr>
                <a:srgbClr val="005C89"/>
              </a:buClr>
              <a:defRPr sz="2400">
                <a:latin typeface="Arial" panose="020B0604020202020204" pitchFamily="34" charset="0"/>
                <a:cs typeface="Arial" panose="020B0604020202020204" pitchFamily="34" charset="0"/>
              </a:defRPr>
            </a:lvl1pPr>
            <a:lvl2pPr marL="457200" indent="0">
              <a:buFont typeface="Courier New" panose="02070309020205020404" pitchFamily="49" charset="0"/>
              <a:buNone/>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buClr>
                <a:schemeClr val="accent3">
                  <a:lumMod val="60000"/>
                  <a:lumOff val="40000"/>
                </a:schemeClr>
              </a:buCl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BDC7FE76-5486-48D6-A9DB-C7D8368DDB01}"/>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005C89"/>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622E50C0-2A43-4AC4-B144-653091A9C9A3}"/>
              </a:ext>
            </a:extLst>
          </p:cNvPr>
          <p:cNvSpPr>
            <a:spLocks noGrp="1"/>
          </p:cNvSpPr>
          <p:nvPr>
            <p:ph sz="half" idx="10"/>
          </p:nvPr>
        </p:nvSpPr>
        <p:spPr>
          <a:xfrm>
            <a:off x="6184900" y="2547607"/>
            <a:ext cx="5157787" cy="3684588"/>
          </a:xfrm>
        </p:spPr>
        <p:txBody>
          <a:bodyPr/>
          <a:lstStyle>
            <a:lvl1pPr>
              <a:buClr>
                <a:srgbClr val="005C89"/>
              </a:buClr>
              <a:defRPr sz="2400">
                <a:latin typeface="Arial" panose="020B0604020202020204" pitchFamily="34" charset="0"/>
                <a:cs typeface="Arial" panose="020B0604020202020204" pitchFamily="34" charset="0"/>
              </a:defRPr>
            </a:lvl1pPr>
            <a:lvl2pPr marL="457200" indent="0">
              <a:buFont typeface="Courier New" panose="02070309020205020404" pitchFamily="49" charset="0"/>
              <a:buNone/>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buClr>
                <a:schemeClr val="accent3">
                  <a:lumMod val="60000"/>
                  <a:lumOff val="40000"/>
                </a:schemeClr>
              </a:buCl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Graphic 16">
            <a:extLst>
              <a:ext uri="{FF2B5EF4-FFF2-40B4-BE49-F238E27FC236}">
                <a16:creationId xmlns:a16="http://schemas.microsoft.com/office/drawing/2014/main" id="{72860477-047D-85C7-20EF-78B5D41C50E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1908760"/>
            <a:ext cx="3898232" cy="4949240"/>
          </a:xfrm>
          <a:prstGeom prst="rect">
            <a:avLst/>
          </a:prstGeom>
          <a:effectLst>
            <a:outerShdw blurRad="50800" dist="50800" dir="14640000" algn="ctr" rotWithShape="0">
              <a:srgbClr val="000000">
                <a:alpha val="32000"/>
              </a:srgbClr>
            </a:outerShdw>
          </a:effectLst>
        </p:spPr>
      </p:pic>
      <p:pic>
        <p:nvPicPr>
          <p:cNvPr id="9" name="Graphic 8">
            <a:extLst>
              <a:ext uri="{FF2B5EF4-FFF2-40B4-BE49-F238E27FC236}">
                <a16:creationId xmlns:a16="http://schemas.microsoft.com/office/drawing/2014/main" id="{C5D10197-C0D8-F29D-8A77-28CCCD2C570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27046" y="-1182129"/>
            <a:ext cx="2819191" cy="3648364"/>
          </a:xfrm>
          <a:prstGeom prst="rect">
            <a:avLst/>
          </a:prstGeom>
        </p:spPr>
      </p:pic>
      <p:pic>
        <p:nvPicPr>
          <p:cNvPr id="2" name="Picture Placeholder 7" descr="A black and white sign&#10;&#10;Description automatically generated with medium confidence">
            <a:extLst>
              <a:ext uri="{FF2B5EF4-FFF2-40B4-BE49-F238E27FC236}">
                <a16:creationId xmlns:a16="http://schemas.microsoft.com/office/drawing/2014/main" id="{A77C8F71-B5E0-C7C8-95D2-19A948E35F9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a:xfrm>
            <a:off x="644282" y="5625277"/>
            <a:ext cx="1184688" cy="720599"/>
          </a:xfrm>
          <a:prstGeom prst="rect">
            <a:avLst/>
          </a:prstGeom>
        </p:spPr>
      </p:pic>
    </p:spTree>
    <p:extLst>
      <p:ext uri="{BB962C8B-B14F-4D97-AF65-F5344CB8AC3E}">
        <p14:creationId xmlns:p14="http://schemas.microsoft.com/office/powerpoint/2010/main" val="6518523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F7062D-EF25-ACE6-FF80-A92E480C1024}"/>
              </a:ext>
            </a:extLst>
          </p:cNvPr>
          <p:cNvSpPr/>
          <p:nvPr userDrawn="1"/>
        </p:nvSpPr>
        <p:spPr>
          <a:xfrm>
            <a:off x="0" y="0"/>
            <a:ext cx="12192000" cy="6857245"/>
          </a:xfrm>
          <a:prstGeom prst="rect">
            <a:avLst/>
          </a:prstGeom>
          <a:solidFill>
            <a:srgbClr val="005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8F41D1EA-EBB3-943D-9A5D-D45FAD8938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26294" y="755"/>
            <a:ext cx="2444501" cy="6856490"/>
          </a:xfrm>
          <a:prstGeom prst="rect">
            <a:avLst/>
          </a:prstGeom>
        </p:spPr>
      </p:pic>
      <p:pic>
        <p:nvPicPr>
          <p:cNvPr id="13" name="Picture 12">
            <a:extLst>
              <a:ext uri="{FF2B5EF4-FFF2-40B4-BE49-F238E27FC236}">
                <a16:creationId xmlns:a16="http://schemas.microsoft.com/office/drawing/2014/main" id="{E238991D-9E99-8D0B-054B-3EC4DE2869DC}"/>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rcRect/>
          <a:stretch/>
        </p:blipFill>
        <p:spPr>
          <a:xfrm>
            <a:off x="0" y="1336951"/>
            <a:ext cx="12191999" cy="5521049"/>
          </a:xfrm>
          <a:prstGeom prst="rect">
            <a:avLst/>
          </a:prstGeom>
        </p:spPr>
      </p:pic>
      <p:pic>
        <p:nvPicPr>
          <p:cNvPr id="3" name="Picture Placeholder 7" descr="A black and white sign&#10;&#10;Description automatically generated with medium confidence">
            <a:extLst>
              <a:ext uri="{FF2B5EF4-FFF2-40B4-BE49-F238E27FC236}">
                <a16:creationId xmlns:a16="http://schemas.microsoft.com/office/drawing/2014/main" id="{0B2DAE7D-0878-3C6E-03D6-5B455B9F002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644282" y="308176"/>
            <a:ext cx="1184688" cy="720599"/>
          </a:xfrm>
          <a:prstGeom prst="rect">
            <a:avLst/>
          </a:prstGeom>
        </p:spPr>
      </p:pic>
    </p:spTree>
    <p:extLst>
      <p:ext uri="{BB962C8B-B14F-4D97-AF65-F5344CB8AC3E}">
        <p14:creationId xmlns:p14="http://schemas.microsoft.com/office/powerpoint/2010/main" val="8955092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F7062D-EF25-ACE6-FF80-A92E480C1024}"/>
              </a:ext>
            </a:extLst>
          </p:cNvPr>
          <p:cNvSpPr/>
          <p:nvPr userDrawn="1"/>
        </p:nvSpPr>
        <p:spPr>
          <a:xfrm>
            <a:off x="0" y="0"/>
            <a:ext cx="12192000" cy="6857245"/>
          </a:xfrm>
          <a:prstGeom prst="rect">
            <a:avLst/>
          </a:prstGeom>
          <a:solidFill>
            <a:srgbClr val="005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238991D-9E99-8D0B-054B-3EC4DE2869D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0" y="1336951"/>
            <a:ext cx="12191999" cy="5521049"/>
          </a:xfrm>
          <a:prstGeom prst="rect">
            <a:avLst/>
          </a:prstGeom>
        </p:spPr>
      </p:pic>
    </p:spTree>
    <p:extLst>
      <p:ext uri="{BB962C8B-B14F-4D97-AF65-F5344CB8AC3E}">
        <p14:creationId xmlns:p14="http://schemas.microsoft.com/office/powerpoint/2010/main" val="28239699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F7062D-EF25-ACE6-FF80-A92E480C1024}"/>
              </a:ext>
            </a:extLst>
          </p:cNvPr>
          <p:cNvSpPr/>
          <p:nvPr userDrawn="1"/>
        </p:nvSpPr>
        <p:spPr>
          <a:xfrm>
            <a:off x="0" y="0"/>
            <a:ext cx="12192000" cy="6857245"/>
          </a:xfrm>
          <a:prstGeom prst="rect">
            <a:avLst/>
          </a:prstGeom>
          <a:solidFill>
            <a:srgbClr val="F16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8F41D1EA-EBB3-943D-9A5D-D45FAD8938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26294" y="755"/>
            <a:ext cx="2444501" cy="6856490"/>
          </a:xfrm>
          <a:prstGeom prst="rect">
            <a:avLst/>
          </a:prstGeom>
        </p:spPr>
      </p:pic>
      <p:pic>
        <p:nvPicPr>
          <p:cNvPr id="13" name="Picture 12">
            <a:extLst>
              <a:ext uri="{FF2B5EF4-FFF2-40B4-BE49-F238E27FC236}">
                <a16:creationId xmlns:a16="http://schemas.microsoft.com/office/drawing/2014/main" id="{051072B1-04D0-036F-8AED-E6B9155B2FB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1336951"/>
            <a:ext cx="12191999" cy="5521049"/>
          </a:xfrm>
          <a:prstGeom prst="rect">
            <a:avLst/>
          </a:prstGeom>
        </p:spPr>
      </p:pic>
      <p:pic>
        <p:nvPicPr>
          <p:cNvPr id="3" name="Picture Placeholder 7" descr="A black and white sign&#10;&#10;Description automatically generated with medium confidence">
            <a:extLst>
              <a:ext uri="{FF2B5EF4-FFF2-40B4-BE49-F238E27FC236}">
                <a16:creationId xmlns:a16="http://schemas.microsoft.com/office/drawing/2014/main" id="{CDC7B746-5996-A2C2-ECFE-AB62A4D674C9}"/>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627028" y="308176"/>
            <a:ext cx="1184688" cy="720599"/>
          </a:xfrm>
          <a:prstGeom prst="rect">
            <a:avLst/>
          </a:prstGeom>
        </p:spPr>
      </p:pic>
    </p:spTree>
    <p:extLst>
      <p:ext uri="{BB962C8B-B14F-4D97-AF65-F5344CB8AC3E}">
        <p14:creationId xmlns:p14="http://schemas.microsoft.com/office/powerpoint/2010/main" val="20747908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F7062D-EF25-ACE6-FF80-A92E480C1024}"/>
              </a:ext>
            </a:extLst>
          </p:cNvPr>
          <p:cNvSpPr/>
          <p:nvPr userDrawn="1"/>
        </p:nvSpPr>
        <p:spPr>
          <a:xfrm>
            <a:off x="0" y="0"/>
            <a:ext cx="12192000" cy="6857245"/>
          </a:xfrm>
          <a:prstGeom prst="rect">
            <a:avLst/>
          </a:prstGeom>
          <a:solidFill>
            <a:srgbClr val="5A2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8F41D1EA-EBB3-943D-9A5D-D45FAD8938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26294" y="755"/>
            <a:ext cx="2444501" cy="6856490"/>
          </a:xfrm>
          <a:prstGeom prst="rect">
            <a:avLst/>
          </a:prstGeom>
        </p:spPr>
      </p:pic>
      <p:pic>
        <p:nvPicPr>
          <p:cNvPr id="13" name="Picture 12">
            <a:extLst>
              <a:ext uri="{FF2B5EF4-FFF2-40B4-BE49-F238E27FC236}">
                <a16:creationId xmlns:a16="http://schemas.microsoft.com/office/drawing/2014/main" id="{051072B1-04D0-036F-8AED-E6B9155B2FB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1336951"/>
            <a:ext cx="12191999" cy="5521049"/>
          </a:xfrm>
          <a:prstGeom prst="rect">
            <a:avLst/>
          </a:prstGeom>
        </p:spPr>
      </p:pic>
      <p:pic>
        <p:nvPicPr>
          <p:cNvPr id="3" name="Picture Placeholder 7" descr="A black and white sign&#10;&#10;Description automatically generated with medium confidence">
            <a:extLst>
              <a:ext uri="{FF2B5EF4-FFF2-40B4-BE49-F238E27FC236}">
                <a16:creationId xmlns:a16="http://schemas.microsoft.com/office/drawing/2014/main" id="{112ECD1C-046B-E97E-313E-E0EFF8AB6DAA}"/>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644282" y="308176"/>
            <a:ext cx="1184688" cy="720599"/>
          </a:xfrm>
          <a:prstGeom prst="rect">
            <a:avLst/>
          </a:prstGeom>
        </p:spPr>
      </p:pic>
    </p:spTree>
    <p:extLst>
      <p:ext uri="{BB962C8B-B14F-4D97-AF65-F5344CB8AC3E}">
        <p14:creationId xmlns:p14="http://schemas.microsoft.com/office/powerpoint/2010/main" val="2865270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 blu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A45BA5D-6557-7257-0190-E502EA78E8CB}"/>
              </a:ext>
            </a:extLst>
          </p:cNvPr>
          <p:cNvSpPr>
            <a:spLocks noGrp="1"/>
          </p:cNvSpPr>
          <p:nvPr>
            <p:ph type="body" sz="quarter" idx="12" hasCustomPrompt="1"/>
          </p:nvPr>
        </p:nvSpPr>
        <p:spPr>
          <a:xfrm>
            <a:off x="754062" y="6080418"/>
            <a:ext cx="2021222" cy="432677"/>
          </a:xfrm>
          <a:prstGeom prst="rect">
            <a:avLst/>
          </a:prstGeom>
        </p:spPr>
        <p:txBody>
          <a:bodyPr/>
          <a:lstStyle>
            <a:lvl1pPr marL="0" indent="0">
              <a:buNone/>
              <a:defRPr sz="1800" b="1" spc="300">
                <a:solidFill>
                  <a:schemeClr val="bg1"/>
                </a:solidFill>
              </a:defRPr>
            </a:lvl1pPr>
            <a:lvl3pPr marL="914400" indent="0" algn="l">
              <a:buFont typeface="Arial" panose="020B0604020202020204" pitchFamily="34" charset="0"/>
              <a:buNone/>
              <a:defRPr/>
            </a:lvl3pPr>
          </a:lstStyle>
          <a:p>
            <a:pPr lvl="0"/>
            <a:r>
              <a:rPr lang="en-US"/>
              <a:t>MONTH 2024</a:t>
            </a:r>
          </a:p>
        </p:txBody>
      </p:sp>
      <p:sp>
        <p:nvSpPr>
          <p:cNvPr id="2" name="Text Placeholder 9">
            <a:extLst>
              <a:ext uri="{FF2B5EF4-FFF2-40B4-BE49-F238E27FC236}">
                <a16:creationId xmlns:a16="http://schemas.microsoft.com/office/drawing/2014/main" id="{183D4F33-6888-DA4B-0201-F604FCC31187}"/>
              </a:ext>
            </a:extLst>
          </p:cNvPr>
          <p:cNvSpPr>
            <a:spLocks noGrp="1"/>
          </p:cNvSpPr>
          <p:nvPr>
            <p:ph type="body" sz="quarter" idx="13" hasCustomPrompt="1"/>
          </p:nvPr>
        </p:nvSpPr>
        <p:spPr>
          <a:xfrm>
            <a:off x="762418" y="4547937"/>
            <a:ext cx="8694403" cy="1188720"/>
          </a:xfrm>
          <a:prstGeom prst="rect">
            <a:avLst/>
          </a:prstGeom>
        </p:spPr>
        <p:txBody>
          <a:bodyPr/>
          <a:lstStyle>
            <a:lvl1pPr marL="0" indent="0">
              <a:buNone/>
              <a:defRPr sz="3600">
                <a:solidFill>
                  <a:schemeClr val="bg1"/>
                </a:solidFill>
              </a:defRPr>
            </a:lvl1pPr>
          </a:lstStyle>
          <a:p>
            <a:pPr lvl="0"/>
            <a:r>
              <a:rPr lang="en-US"/>
              <a:t>Title Caps and 28-36pt Size</a:t>
            </a:r>
          </a:p>
        </p:txBody>
      </p:sp>
      <p:sp>
        <p:nvSpPr>
          <p:cNvPr id="3" name="Text Placeholder 12">
            <a:extLst>
              <a:ext uri="{FF2B5EF4-FFF2-40B4-BE49-F238E27FC236}">
                <a16:creationId xmlns:a16="http://schemas.microsoft.com/office/drawing/2014/main" id="{DCCF9B7F-6200-57BA-9418-F486917F2D3F}"/>
              </a:ext>
            </a:extLst>
          </p:cNvPr>
          <p:cNvSpPr>
            <a:spLocks noGrp="1"/>
          </p:cNvSpPr>
          <p:nvPr>
            <p:ph type="body" sz="quarter" idx="14" hasCustomPrompt="1"/>
          </p:nvPr>
        </p:nvSpPr>
        <p:spPr>
          <a:xfrm>
            <a:off x="762418" y="5142297"/>
            <a:ext cx="8694738" cy="1074737"/>
          </a:xfrm>
          <a:prstGeom prst="rect">
            <a:avLst/>
          </a:prstGeom>
        </p:spPr>
        <p:txBody>
          <a:bodyPr/>
          <a:lstStyle>
            <a:lvl1pPr marL="0" indent="0">
              <a:buNone/>
              <a:defRPr sz="2000">
                <a:solidFill>
                  <a:schemeClr val="bg1"/>
                </a:solidFill>
              </a:defRPr>
            </a:lvl1pPr>
          </a:lstStyle>
          <a:p>
            <a:pPr lvl="0"/>
            <a:r>
              <a:rPr lang="en-US"/>
              <a:t>Subtitle if Needed, Title Caps and 18-24pt Size</a:t>
            </a:r>
          </a:p>
        </p:txBody>
      </p:sp>
      <p:cxnSp>
        <p:nvCxnSpPr>
          <p:cNvPr id="4" name="Straight Connector 3">
            <a:extLst>
              <a:ext uri="{FF2B5EF4-FFF2-40B4-BE49-F238E27FC236}">
                <a16:creationId xmlns:a16="http://schemas.microsoft.com/office/drawing/2014/main" id="{80F5791E-E5A0-BB60-8A49-2EFC0F8381F3}"/>
              </a:ext>
            </a:extLst>
          </p:cNvPr>
          <p:cNvCxnSpPr/>
          <p:nvPr userDrawn="1"/>
        </p:nvCxnSpPr>
        <p:spPr>
          <a:xfrm>
            <a:off x="866080" y="5986321"/>
            <a:ext cx="640080" cy="0"/>
          </a:xfrm>
          <a:prstGeom prst="line">
            <a:avLst/>
          </a:prstGeom>
          <a:ln w="76200">
            <a:solidFill>
              <a:srgbClr val="8C9E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2747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79EE-2376-2BD2-8CBA-0DE55A0507B3}"/>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FBAA97-103A-92F2-C0DB-25477559A624}"/>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A2EDAB-95E7-109E-8B99-787F63AF3A1D}"/>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5" name="Footer Placeholder 4">
            <a:extLst>
              <a:ext uri="{FF2B5EF4-FFF2-40B4-BE49-F238E27FC236}">
                <a16:creationId xmlns:a16="http://schemas.microsoft.com/office/drawing/2014/main" id="{E2A06EA2-C6AA-F950-D6B1-2758DBE2D23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37D5BCA-4276-B574-DB60-30BC9BF759F3}"/>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3343029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D56ED-4E44-B151-37BC-F927E5E9CB3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0F2A112-C382-AED6-E60B-41DBBA8312C4}"/>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5B10E3-19FC-63FF-6DD1-3A18FB17C80D}"/>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5" name="Footer Placeholder 4">
            <a:extLst>
              <a:ext uri="{FF2B5EF4-FFF2-40B4-BE49-F238E27FC236}">
                <a16:creationId xmlns:a16="http://schemas.microsoft.com/office/drawing/2014/main" id="{B547A093-C61F-4469-52BE-C2138C55E74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D76335A-F2A7-FC65-20DF-A747AD9452FE}"/>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12545429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8BD41-0AA6-C63C-3C01-3BD5BF02F05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52AC21-018B-CA03-D062-A1A3F814736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5183FF-8D0B-B0EF-BE9E-7E3B3C0A2568}"/>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5" name="Footer Placeholder 4">
            <a:extLst>
              <a:ext uri="{FF2B5EF4-FFF2-40B4-BE49-F238E27FC236}">
                <a16:creationId xmlns:a16="http://schemas.microsoft.com/office/drawing/2014/main" id="{FBDC2A23-5B23-90FD-DC55-35E812092D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F22EBF0-DC9C-DB31-711A-9ED3C34A0002}"/>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10270329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2B6A4-EBE9-30DE-82AC-3BD3BEC04CA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3F48A44-C7BE-076A-D304-0FDB0BE4754B}"/>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61CA5C-0FE1-C355-6382-CAE5C7300F55}"/>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58BBA11-DC0C-D38F-EDE1-674867F5C72E}"/>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6" name="Footer Placeholder 5">
            <a:extLst>
              <a:ext uri="{FF2B5EF4-FFF2-40B4-BE49-F238E27FC236}">
                <a16:creationId xmlns:a16="http://schemas.microsoft.com/office/drawing/2014/main" id="{2815BB6D-150B-145B-954C-B5E870442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B5920E2-AB4D-CAF9-5F64-03DFA5BCCE92}"/>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22106180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BE918-241B-80A6-F022-186C37FBFBAA}"/>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D569D5F2-B4C9-EC17-091C-FEB6E62A0C20}"/>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9D4A7D-96E7-86C6-4516-0311E72B668E}"/>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3AC64E-8625-8108-D881-C7B146802FF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03AE566-A745-739D-2026-DB9E6DF2403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0C34EA-8144-7D50-A4D2-BD93990F2B94}"/>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8" name="Footer Placeholder 7">
            <a:extLst>
              <a:ext uri="{FF2B5EF4-FFF2-40B4-BE49-F238E27FC236}">
                <a16:creationId xmlns:a16="http://schemas.microsoft.com/office/drawing/2014/main" id="{9A12C0FD-20E5-D9E2-66AA-A7D6BFFAA8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8DC0C1E-CD3B-B49D-9F90-622B7EBB8578}"/>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24727057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43953-BBCB-03EA-3A0B-0B8178018C5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C299AF09-3CF8-5772-19CA-C2E46EEC7F3E}"/>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4" name="Footer Placeholder 3">
            <a:extLst>
              <a:ext uri="{FF2B5EF4-FFF2-40B4-BE49-F238E27FC236}">
                <a16:creationId xmlns:a16="http://schemas.microsoft.com/office/drawing/2014/main" id="{79CA503E-7D95-2D35-99EB-C26B5D7F75D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57844747-DAC3-EA25-33AA-9A7EEE2CE52E}"/>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39158057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878657-2A0E-9371-42F7-4CB1AE98A468}"/>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3" name="Footer Placeholder 2">
            <a:extLst>
              <a:ext uri="{FF2B5EF4-FFF2-40B4-BE49-F238E27FC236}">
                <a16:creationId xmlns:a16="http://schemas.microsoft.com/office/drawing/2014/main" id="{74328E73-055D-448F-03E5-E1F2224D274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7F2188E-4FF8-BB19-5455-AC881B25F88B}"/>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42945714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B8D2F-3F9F-FAB0-C4E7-B52A202972A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C85844-B349-8D85-DC97-EA834C017D1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7077DB-F695-7926-BBCF-98DB910311B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6A3C5E-D22C-C3D2-1BA0-F290BFCBFE9A}"/>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6" name="Footer Placeholder 5">
            <a:extLst>
              <a:ext uri="{FF2B5EF4-FFF2-40B4-BE49-F238E27FC236}">
                <a16:creationId xmlns:a16="http://schemas.microsoft.com/office/drawing/2014/main" id="{591BD100-EB67-2C40-7435-D3811FD12E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94C7170-8CF3-D682-D031-989B0B4C51F1}"/>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2041260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0AEEB-BB90-63CF-EA8D-3AD7AC97644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D54D18-11DC-1067-D5DC-3300006ECB89}"/>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39A3E1-E5D5-E72E-9279-CEB08BF51CE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413B85-52BD-74F1-8025-348C3E16921F}"/>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6" name="Footer Placeholder 5">
            <a:extLst>
              <a:ext uri="{FF2B5EF4-FFF2-40B4-BE49-F238E27FC236}">
                <a16:creationId xmlns:a16="http://schemas.microsoft.com/office/drawing/2014/main" id="{AFC9ECD7-F33E-803F-D30E-78838EB3680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83B18A3-ECB0-204A-E400-C203D7EB30D4}"/>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8927661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88004-5509-64BD-1D01-34882FC00A7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7D430C4-A4EA-35AA-26B2-D4A30ABE457F}"/>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7F028F-F9B8-E58C-1781-C973A0BBE942}"/>
              </a:ext>
            </a:extLst>
          </p:cNvPr>
          <p:cNvSpPr>
            <a:spLocks noGrp="1"/>
          </p:cNvSpPr>
          <p:nvPr>
            <p:ph type="dt" sz="half" idx="10"/>
          </p:nvPr>
        </p:nvSpPr>
        <p:spPr>
          <a:xfrm>
            <a:off x="838200" y="6356350"/>
            <a:ext cx="2743200" cy="365125"/>
          </a:xfrm>
          <a:prstGeom prst="rect">
            <a:avLst/>
          </a:prstGeom>
        </p:spPr>
        <p:txBody>
          <a:bodyPr/>
          <a:lstStyle/>
          <a:p>
            <a:fld id="{3DE4ED52-4E2C-408A-9762-CAE06C5A38DD}" type="datetimeFigureOut">
              <a:rPr lang="en-US" smtClean="0"/>
              <a:t>12/18/2025</a:t>
            </a:fld>
            <a:endParaRPr lang="en-US"/>
          </a:p>
        </p:txBody>
      </p:sp>
      <p:sp>
        <p:nvSpPr>
          <p:cNvPr id="5" name="Footer Placeholder 4">
            <a:extLst>
              <a:ext uri="{FF2B5EF4-FFF2-40B4-BE49-F238E27FC236}">
                <a16:creationId xmlns:a16="http://schemas.microsoft.com/office/drawing/2014/main" id="{C85A9CA3-E627-48D0-F7EE-FB00CE8B23E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99E4C20-1C58-612A-3DFB-F09A8E24DD7C}"/>
              </a:ext>
            </a:extLst>
          </p:cNvPr>
          <p:cNvSpPr>
            <a:spLocks noGrp="1"/>
          </p:cNvSpPr>
          <p:nvPr>
            <p:ph type="sldNum" sz="quarter" idx="12"/>
          </p:nvPr>
        </p:nvSpPr>
        <p:spPr>
          <a:xfrm>
            <a:off x="8610600" y="6356350"/>
            <a:ext cx="2743200" cy="365125"/>
          </a:xfrm>
          <a:prstGeom prst="rect">
            <a:avLst/>
          </a:prstGeom>
        </p:spPr>
        <p:txBody>
          <a:bodyPr/>
          <a:lstStyle/>
          <a:p>
            <a:fld id="{E82487C2-C13F-4EFB-90C2-2AFB3761585A}" type="slidenum">
              <a:rPr lang="en-US" smtClean="0"/>
              <a:t>‹#›</a:t>
            </a:fld>
            <a:endParaRPr lang="en-US"/>
          </a:p>
        </p:txBody>
      </p:sp>
    </p:spTree>
    <p:extLst>
      <p:ext uri="{BB962C8B-B14F-4D97-AF65-F5344CB8AC3E}">
        <p14:creationId xmlns:p14="http://schemas.microsoft.com/office/powerpoint/2010/main" val="1106846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1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64.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9.xml"/><Relationship Id="rId7" Type="http://schemas.openxmlformats.org/officeDocument/2006/relationships/image" Target="../media/image5.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8.xml"/><Relationship Id="rId7" Type="http://schemas.openxmlformats.org/officeDocument/2006/relationships/image" Target="../media/image16.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3.xml"/><Relationship Id="rId7" Type="http://schemas.openxmlformats.org/officeDocument/2006/relationships/theme" Target="../theme/theme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8.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62BA0B-C1D0-6CD3-1BE4-C07E338CF12C}"/>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66781" y="-30002"/>
            <a:ext cx="11025219" cy="6893341"/>
          </a:xfrm>
          <a:prstGeom prst="rect">
            <a:avLst/>
          </a:prstGeom>
        </p:spPr>
      </p:pic>
      <p:sp>
        <p:nvSpPr>
          <p:cNvPr id="8" name="TextBox 7">
            <a:extLst>
              <a:ext uri="{FF2B5EF4-FFF2-40B4-BE49-F238E27FC236}">
                <a16:creationId xmlns:a16="http://schemas.microsoft.com/office/drawing/2014/main" id="{F44720D3-C783-C008-793A-9034467834E6}"/>
              </a:ext>
            </a:extLst>
          </p:cNvPr>
          <p:cNvSpPr txBox="1"/>
          <p:nvPr userDrawn="1"/>
        </p:nvSpPr>
        <p:spPr>
          <a:xfrm>
            <a:off x="2405270" y="606287"/>
            <a:ext cx="4562061" cy="246221"/>
          </a:xfrm>
          <a:prstGeom prst="rect">
            <a:avLst/>
          </a:prstGeom>
          <a:noFill/>
        </p:spPr>
        <p:txBody>
          <a:bodyPr wrap="square" rtlCol="0">
            <a:spAutoFit/>
          </a:bodyPr>
          <a:lstStyle/>
          <a:p>
            <a:r>
              <a:rPr lang="en-US" sz="1000" b="1" spc="300">
                <a:solidFill>
                  <a:schemeClr val="bg1"/>
                </a:solidFill>
              </a:rPr>
              <a:t>DENVER INTERNATIONAL AIRPORT</a:t>
            </a:r>
          </a:p>
        </p:txBody>
      </p:sp>
      <p:sp>
        <p:nvSpPr>
          <p:cNvPr id="2" name="Trapezoid 6">
            <a:extLst>
              <a:ext uri="{FF2B5EF4-FFF2-40B4-BE49-F238E27FC236}">
                <a16:creationId xmlns:a16="http://schemas.microsoft.com/office/drawing/2014/main" id="{E2D58CF7-912F-0CEF-6620-4A663E786FC8}"/>
              </a:ext>
            </a:extLst>
          </p:cNvPr>
          <p:cNvSpPr/>
          <p:nvPr userDrawn="1"/>
        </p:nvSpPr>
        <p:spPr>
          <a:xfrm>
            <a:off x="0" y="-30002"/>
            <a:ext cx="3319669" cy="6893341"/>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7454 w 3396697"/>
              <a:gd name="connsiteY0" fmla="*/ 7017587 h 7017587"/>
              <a:gd name="connsiteX1" fmla="*/ 0 w 3396697"/>
              <a:gd name="connsiteY1" fmla="*/ 0 h 7017587"/>
              <a:gd name="connsiteX2" fmla="*/ 1356691 w 3396697"/>
              <a:gd name="connsiteY2" fmla="*/ 0 h 7017587"/>
              <a:gd name="connsiteX3" fmla="*/ 3396697 w 3396697"/>
              <a:gd name="connsiteY3" fmla="*/ 6997148 h 7017587"/>
              <a:gd name="connsiteX4" fmla="*/ 7454 w 3396697"/>
              <a:gd name="connsiteY4" fmla="*/ 7017587 h 7017587"/>
              <a:gd name="connsiteX0" fmla="*/ 7454 w 3376819"/>
              <a:gd name="connsiteY0" fmla="*/ 7017587 h 7017587"/>
              <a:gd name="connsiteX1" fmla="*/ 0 w 3376819"/>
              <a:gd name="connsiteY1" fmla="*/ 0 h 7017587"/>
              <a:gd name="connsiteX2" fmla="*/ 1356691 w 3376819"/>
              <a:gd name="connsiteY2" fmla="*/ 0 h 7017587"/>
              <a:gd name="connsiteX3" fmla="*/ 3376819 w 3376819"/>
              <a:gd name="connsiteY3" fmla="*/ 6997149 h 7017587"/>
              <a:gd name="connsiteX4" fmla="*/ 7454 w 3376819"/>
              <a:gd name="connsiteY4" fmla="*/ 7017587 h 7017587"/>
              <a:gd name="connsiteX0" fmla="*/ 7454 w 3319669"/>
              <a:gd name="connsiteY0" fmla="*/ 7017587 h 7023027"/>
              <a:gd name="connsiteX1" fmla="*/ 0 w 3319669"/>
              <a:gd name="connsiteY1" fmla="*/ 0 h 7023027"/>
              <a:gd name="connsiteX2" fmla="*/ 1356691 w 3319669"/>
              <a:gd name="connsiteY2" fmla="*/ 0 h 7023027"/>
              <a:gd name="connsiteX3" fmla="*/ 3319669 w 3319669"/>
              <a:gd name="connsiteY3" fmla="*/ 7023027 h 7023027"/>
              <a:gd name="connsiteX4" fmla="*/ 7454 w 3319669"/>
              <a:gd name="connsiteY4" fmla="*/ 7017587 h 702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9669" h="7023027">
                <a:moveTo>
                  <a:pt x="7454" y="7017587"/>
                </a:moveTo>
                <a:cubicBezTo>
                  <a:pt x="4969" y="4678391"/>
                  <a:pt x="2485" y="2339196"/>
                  <a:pt x="0" y="0"/>
                </a:cubicBezTo>
                <a:lnTo>
                  <a:pt x="1356691" y="0"/>
                </a:lnTo>
                <a:lnTo>
                  <a:pt x="3319669" y="7023027"/>
                </a:lnTo>
                <a:lnTo>
                  <a:pt x="7454" y="7017587"/>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ack and white logo&#10;&#10;Description automatically generated">
            <a:extLst>
              <a:ext uri="{FF2B5EF4-FFF2-40B4-BE49-F238E27FC236}">
                <a16:creationId xmlns:a16="http://schemas.microsoft.com/office/drawing/2014/main" id="{1D497C82-B3DC-31C4-DEE4-65F87F967E5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70534" y="-30002"/>
            <a:ext cx="565288" cy="565288"/>
          </a:xfrm>
          <a:prstGeom prst="rect">
            <a:avLst/>
          </a:prstGeom>
        </p:spPr>
      </p:pic>
    </p:spTree>
    <p:extLst>
      <p:ext uri="{BB962C8B-B14F-4D97-AF65-F5344CB8AC3E}">
        <p14:creationId xmlns:p14="http://schemas.microsoft.com/office/powerpoint/2010/main" val="1697478639"/>
      </p:ext>
    </p:extLst>
  </p:cSld>
  <p:clrMap bg1="lt1" tx1="dk1" bg2="lt2" tx2="dk2" accent1="accent1" accent2="accent2" accent3="accent3" accent4="accent4" accent5="accent5" accent6="accent6" hlink="hlink" folHlink="folHlink"/>
  <p:sldLayoutIdLst>
    <p:sldLayoutId id="2147483651" r:id="rId1"/>
    <p:sldLayoutId id="2147483673" r:id="rId2"/>
    <p:sldLayoutId id="2147483674" r:id="rId3"/>
    <p:sldLayoutId id="2147483675" r:id="rId4"/>
    <p:sldLayoutId id="2147483676" r:id="rId5"/>
    <p:sldLayoutId id="2147483729"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C17B5B-7DA2-4D22-8BD0-40ADE5F820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7C76AB-C0F8-414D-8652-C580C43F62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E07836-0037-4E59-9A5F-A4658CDD5B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AB6D33-E7AC-443E-BF06-E096A243BDD7}" type="datetimeFigureOut">
              <a:rPr lang="en-US" smtClean="0"/>
              <a:t>12/18/2025</a:t>
            </a:fld>
            <a:endParaRPr lang="en-US"/>
          </a:p>
        </p:txBody>
      </p:sp>
      <p:sp>
        <p:nvSpPr>
          <p:cNvPr id="5" name="Footer Placeholder 4">
            <a:extLst>
              <a:ext uri="{FF2B5EF4-FFF2-40B4-BE49-F238E27FC236}">
                <a16:creationId xmlns:a16="http://schemas.microsoft.com/office/drawing/2014/main" id="{77C466D5-790B-4469-AC7F-C4F8A0D3B3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FD433B-F314-478A-BA98-8840CDF7FD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D194F5-7269-4FD2-9353-6966D832BD59}" type="slidenum">
              <a:rPr lang="en-US" smtClean="0"/>
              <a:t>‹#›</a:t>
            </a:fld>
            <a:endParaRPr lang="en-US"/>
          </a:p>
        </p:txBody>
      </p:sp>
    </p:spTree>
    <p:extLst>
      <p:ext uri="{BB962C8B-B14F-4D97-AF65-F5344CB8AC3E}">
        <p14:creationId xmlns:p14="http://schemas.microsoft.com/office/powerpoint/2010/main" val="107708164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5FBE0EC-B457-F8F5-B121-5B381B7632B1}"/>
              </a:ext>
              <a:ext uri="{C183D7F6-B498-43B3-948B-1728B52AA6E4}">
                <adec:decorative xmlns:adec="http://schemas.microsoft.com/office/drawing/2017/decorative" val="1"/>
              </a:ext>
            </a:extLst>
          </p:cNvPr>
          <p:cNvPicPr>
            <a:picLocks noChangeAspect="1"/>
          </p:cNvPicPr>
          <p:nvPr userDrawn="1"/>
        </p:nvPicPr>
        <p:blipFill>
          <a:blip r:embed="rId13" cstate="email">
            <a:alphaModFix amt="15000"/>
            <a:extLst>
              <a:ext uri="{28A0092B-C50C-407E-A947-70E740481C1C}">
                <a14:useLocalDpi xmlns:a14="http://schemas.microsoft.com/office/drawing/2010/main"/>
              </a:ext>
            </a:extLst>
          </a:blip>
          <a:srcRect/>
          <a:stretch>
            <a:fillRect/>
          </a:stretch>
        </p:blipFill>
        <p:spPr>
          <a:xfrm>
            <a:off x="1" y="1"/>
            <a:ext cx="12192000" cy="6858000"/>
          </a:xfrm>
          <a:prstGeom prst="rect">
            <a:avLst/>
          </a:prstGeom>
        </p:spPr>
      </p:pic>
    </p:spTree>
    <p:extLst>
      <p:ext uri="{BB962C8B-B14F-4D97-AF65-F5344CB8AC3E}">
        <p14:creationId xmlns:p14="http://schemas.microsoft.com/office/powerpoint/2010/main" val="338687102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62BA0B-C1D0-6CD3-1BE4-C07E338CF12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b="-5633"/>
          <a:stretch/>
        </p:blipFill>
        <p:spPr>
          <a:xfrm>
            <a:off x="0" y="0"/>
            <a:ext cx="12192000" cy="6858000"/>
          </a:xfrm>
          <a:prstGeom prst="rect">
            <a:avLst/>
          </a:prstGeom>
        </p:spPr>
      </p:pic>
      <p:sp>
        <p:nvSpPr>
          <p:cNvPr id="5" name="Trapezoid 6">
            <a:extLst>
              <a:ext uri="{FF2B5EF4-FFF2-40B4-BE49-F238E27FC236}">
                <a16:creationId xmlns:a16="http://schemas.microsoft.com/office/drawing/2014/main" id="{715C657B-9798-AA6D-DC0C-AFDB223B15E3}"/>
              </a:ext>
            </a:extLst>
          </p:cNvPr>
          <p:cNvSpPr/>
          <p:nvPr userDrawn="1"/>
        </p:nvSpPr>
        <p:spPr>
          <a:xfrm rot="16200000">
            <a:off x="2502702" y="-1040498"/>
            <a:ext cx="4974266" cy="9979670"/>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86967 w 3396697"/>
              <a:gd name="connsiteY0" fmla="*/ 7005411 h 7015350"/>
              <a:gd name="connsiteX1" fmla="*/ 0 w 3396697"/>
              <a:gd name="connsiteY1" fmla="*/ 18202 h 7015350"/>
              <a:gd name="connsiteX2" fmla="*/ 2303163 w 3396697"/>
              <a:gd name="connsiteY2" fmla="*/ 0 h 7015350"/>
              <a:gd name="connsiteX3" fmla="*/ 3396697 w 3396697"/>
              <a:gd name="connsiteY3" fmla="*/ 7015350 h 7015350"/>
              <a:gd name="connsiteX4" fmla="*/ 86967 w 3396697"/>
              <a:gd name="connsiteY4" fmla="*/ 7005411 h 7015350"/>
              <a:gd name="connsiteX0" fmla="*/ 86967 w 2303163"/>
              <a:gd name="connsiteY0" fmla="*/ 7005411 h 7005411"/>
              <a:gd name="connsiteX1" fmla="*/ 0 w 2303163"/>
              <a:gd name="connsiteY1" fmla="*/ 18202 h 7005411"/>
              <a:gd name="connsiteX2" fmla="*/ 2303163 w 2303163"/>
              <a:gd name="connsiteY2" fmla="*/ 0 h 7005411"/>
              <a:gd name="connsiteX3" fmla="*/ 1239832 w 2303163"/>
              <a:gd name="connsiteY3" fmla="*/ 6997150 h 7005411"/>
              <a:gd name="connsiteX4" fmla="*/ 86967 w 2303163"/>
              <a:gd name="connsiteY4" fmla="*/ 7005411 h 7005411"/>
              <a:gd name="connsiteX0" fmla="*/ 50565 w 2303163"/>
              <a:gd name="connsiteY0" fmla="*/ 7005412 h 7005412"/>
              <a:gd name="connsiteX1" fmla="*/ 0 w 2303163"/>
              <a:gd name="connsiteY1" fmla="*/ 18202 h 7005412"/>
              <a:gd name="connsiteX2" fmla="*/ 2303163 w 2303163"/>
              <a:gd name="connsiteY2" fmla="*/ 0 h 7005412"/>
              <a:gd name="connsiteX3" fmla="*/ 1239832 w 2303163"/>
              <a:gd name="connsiteY3" fmla="*/ 6997150 h 7005412"/>
              <a:gd name="connsiteX4" fmla="*/ 50565 w 2303163"/>
              <a:gd name="connsiteY4" fmla="*/ 7005412 h 7005412"/>
              <a:gd name="connsiteX0" fmla="*/ 50565 w 2603486"/>
              <a:gd name="connsiteY0" fmla="*/ 6987210 h 6987210"/>
              <a:gd name="connsiteX1" fmla="*/ 0 w 2603486"/>
              <a:gd name="connsiteY1" fmla="*/ 0 h 6987210"/>
              <a:gd name="connsiteX2" fmla="*/ 2603486 w 2603486"/>
              <a:gd name="connsiteY2" fmla="*/ 0 h 6987210"/>
              <a:gd name="connsiteX3" fmla="*/ 1239832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912207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766596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894005 w 2603486"/>
              <a:gd name="connsiteY3" fmla="*/ 5322622 h 6987210"/>
              <a:gd name="connsiteX4" fmla="*/ 50565 w 2603486"/>
              <a:gd name="connsiteY4" fmla="*/ 6987210 h 6987210"/>
              <a:gd name="connsiteX0" fmla="*/ 50565 w 2840104"/>
              <a:gd name="connsiteY0" fmla="*/ 6996311 h 6996311"/>
              <a:gd name="connsiteX1" fmla="*/ 0 w 2840104"/>
              <a:gd name="connsiteY1" fmla="*/ 9101 h 6996311"/>
              <a:gd name="connsiteX2" fmla="*/ 2840104 w 2840104"/>
              <a:gd name="connsiteY2" fmla="*/ 0 h 6996311"/>
              <a:gd name="connsiteX3" fmla="*/ 894005 w 2840104"/>
              <a:gd name="connsiteY3" fmla="*/ 5331723 h 6996311"/>
              <a:gd name="connsiteX4" fmla="*/ 50565 w 2840104"/>
              <a:gd name="connsiteY4" fmla="*/ 6996311 h 6996311"/>
              <a:gd name="connsiteX0" fmla="*/ 32364 w 2840104"/>
              <a:gd name="connsiteY0" fmla="*/ 4903151 h 5331723"/>
              <a:gd name="connsiteX1" fmla="*/ 0 w 2840104"/>
              <a:gd name="connsiteY1" fmla="*/ 9101 h 5331723"/>
              <a:gd name="connsiteX2" fmla="*/ 2840104 w 2840104"/>
              <a:gd name="connsiteY2" fmla="*/ 0 h 5331723"/>
              <a:gd name="connsiteX3" fmla="*/ 894005 w 2840104"/>
              <a:gd name="connsiteY3" fmla="*/ 5331723 h 5331723"/>
              <a:gd name="connsiteX4" fmla="*/ 32364 w 2840104"/>
              <a:gd name="connsiteY4" fmla="*/ 4903151 h 5331723"/>
              <a:gd name="connsiteX0" fmla="*/ 14163 w 2821903"/>
              <a:gd name="connsiteY0" fmla="*/ 4903152 h 5331724"/>
              <a:gd name="connsiteX1" fmla="*/ 0 w 2821903"/>
              <a:gd name="connsiteY1" fmla="*/ 0 h 5331724"/>
              <a:gd name="connsiteX2" fmla="*/ 2821903 w 2821903"/>
              <a:gd name="connsiteY2" fmla="*/ 1 h 5331724"/>
              <a:gd name="connsiteX3" fmla="*/ 875804 w 2821903"/>
              <a:gd name="connsiteY3" fmla="*/ 5331724 h 5331724"/>
              <a:gd name="connsiteX4" fmla="*/ 14163 w 2821903"/>
              <a:gd name="connsiteY4" fmla="*/ 4903152 h 5331724"/>
              <a:gd name="connsiteX0" fmla="*/ 14163 w 2821903"/>
              <a:gd name="connsiteY0" fmla="*/ 4903152 h 5704854"/>
              <a:gd name="connsiteX1" fmla="*/ 0 w 2821903"/>
              <a:gd name="connsiteY1" fmla="*/ 0 h 5704854"/>
              <a:gd name="connsiteX2" fmla="*/ 2821903 w 2821903"/>
              <a:gd name="connsiteY2" fmla="*/ 1 h 5704854"/>
              <a:gd name="connsiteX3" fmla="*/ 748395 w 2821903"/>
              <a:gd name="connsiteY3" fmla="*/ 5704854 h 5704854"/>
              <a:gd name="connsiteX4" fmla="*/ 14163 w 2821903"/>
              <a:gd name="connsiteY4" fmla="*/ 4903152 h 5704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903" h="5704854">
                <a:moveTo>
                  <a:pt x="14163" y="4903152"/>
                </a:moveTo>
                <a:lnTo>
                  <a:pt x="0" y="0"/>
                </a:lnTo>
                <a:lnTo>
                  <a:pt x="2821903" y="1"/>
                </a:lnTo>
                <a:lnTo>
                  <a:pt x="748395" y="5704854"/>
                </a:lnTo>
                <a:lnTo>
                  <a:pt x="14163" y="4903152"/>
                </a:lnTo>
                <a:close/>
              </a:path>
            </a:pathLst>
          </a:custGeom>
          <a:solidFill>
            <a:srgbClr val="1D0092">
              <a:alpha val="6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apezoid 6">
            <a:extLst>
              <a:ext uri="{FF2B5EF4-FFF2-40B4-BE49-F238E27FC236}">
                <a16:creationId xmlns:a16="http://schemas.microsoft.com/office/drawing/2014/main" id="{B4794184-1130-B7F4-CD93-1A354961B9B2}"/>
              </a:ext>
            </a:extLst>
          </p:cNvPr>
          <p:cNvSpPr/>
          <p:nvPr userDrawn="1"/>
        </p:nvSpPr>
        <p:spPr>
          <a:xfrm rot="16200000">
            <a:off x="3803689" y="-1415148"/>
            <a:ext cx="4589255" cy="12196635"/>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86967 w 3396697"/>
              <a:gd name="connsiteY0" fmla="*/ 7005411 h 7015350"/>
              <a:gd name="connsiteX1" fmla="*/ 0 w 3396697"/>
              <a:gd name="connsiteY1" fmla="*/ 18202 h 7015350"/>
              <a:gd name="connsiteX2" fmla="*/ 2303163 w 3396697"/>
              <a:gd name="connsiteY2" fmla="*/ 0 h 7015350"/>
              <a:gd name="connsiteX3" fmla="*/ 3396697 w 3396697"/>
              <a:gd name="connsiteY3" fmla="*/ 7015350 h 7015350"/>
              <a:gd name="connsiteX4" fmla="*/ 86967 w 3396697"/>
              <a:gd name="connsiteY4" fmla="*/ 7005411 h 7015350"/>
              <a:gd name="connsiteX0" fmla="*/ 86967 w 2303163"/>
              <a:gd name="connsiteY0" fmla="*/ 7005411 h 7005411"/>
              <a:gd name="connsiteX1" fmla="*/ 0 w 2303163"/>
              <a:gd name="connsiteY1" fmla="*/ 18202 h 7005411"/>
              <a:gd name="connsiteX2" fmla="*/ 2303163 w 2303163"/>
              <a:gd name="connsiteY2" fmla="*/ 0 h 7005411"/>
              <a:gd name="connsiteX3" fmla="*/ 1239832 w 2303163"/>
              <a:gd name="connsiteY3" fmla="*/ 6997150 h 7005411"/>
              <a:gd name="connsiteX4" fmla="*/ 86967 w 2303163"/>
              <a:gd name="connsiteY4" fmla="*/ 7005411 h 7005411"/>
              <a:gd name="connsiteX0" fmla="*/ 50565 w 2303163"/>
              <a:gd name="connsiteY0" fmla="*/ 7005412 h 7005412"/>
              <a:gd name="connsiteX1" fmla="*/ 0 w 2303163"/>
              <a:gd name="connsiteY1" fmla="*/ 18202 h 7005412"/>
              <a:gd name="connsiteX2" fmla="*/ 2303163 w 2303163"/>
              <a:gd name="connsiteY2" fmla="*/ 0 h 7005412"/>
              <a:gd name="connsiteX3" fmla="*/ 1239832 w 2303163"/>
              <a:gd name="connsiteY3" fmla="*/ 6997150 h 7005412"/>
              <a:gd name="connsiteX4" fmla="*/ 50565 w 2303163"/>
              <a:gd name="connsiteY4" fmla="*/ 7005412 h 7005412"/>
              <a:gd name="connsiteX0" fmla="*/ 50565 w 2603486"/>
              <a:gd name="connsiteY0" fmla="*/ 6987210 h 6987210"/>
              <a:gd name="connsiteX1" fmla="*/ 0 w 2603486"/>
              <a:gd name="connsiteY1" fmla="*/ 0 h 6987210"/>
              <a:gd name="connsiteX2" fmla="*/ 2603486 w 2603486"/>
              <a:gd name="connsiteY2" fmla="*/ 0 h 6987210"/>
              <a:gd name="connsiteX3" fmla="*/ 1239832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912207 w 2603486"/>
              <a:gd name="connsiteY3" fmla="*/ 6978948 h 6987210"/>
              <a:gd name="connsiteX4" fmla="*/ 50565 w 2603486"/>
              <a:gd name="connsiteY4" fmla="*/ 6987210 h 6987210"/>
              <a:gd name="connsiteX0" fmla="*/ 50565 w 2603486"/>
              <a:gd name="connsiteY0" fmla="*/ 6987210 h 6987210"/>
              <a:gd name="connsiteX1" fmla="*/ 0 w 2603486"/>
              <a:gd name="connsiteY1" fmla="*/ 0 h 6987210"/>
              <a:gd name="connsiteX2" fmla="*/ 2603486 w 2603486"/>
              <a:gd name="connsiteY2" fmla="*/ 0 h 6987210"/>
              <a:gd name="connsiteX3" fmla="*/ 766596 w 2603486"/>
              <a:gd name="connsiteY3" fmla="*/ 6978948 h 6987210"/>
              <a:gd name="connsiteX4" fmla="*/ 50565 w 2603486"/>
              <a:gd name="connsiteY4" fmla="*/ 6987210 h 6987210"/>
              <a:gd name="connsiteX0" fmla="*/ 50565 w 2603486"/>
              <a:gd name="connsiteY0" fmla="*/ 6987210 h 6989866"/>
              <a:gd name="connsiteX1" fmla="*/ 0 w 2603486"/>
              <a:gd name="connsiteY1" fmla="*/ 0 h 6989866"/>
              <a:gd name="connsiteX2" fmla="*/ 2603486 w 2603486"/>
              <a:gd name="connsiteY2" fmla="*/ 0 h 6989866"/>
              <a:gd name="connsiteX3" fmla="*/ 759391 w 2603486"/>
              <a:gd name="connsiteY3" fmla="*/ 6989866 h 6989866"/>
              <a:gd name="connsiteX4" fmla="*/ 50565 w 2603486"/>
              <a:gd name="connsiteY4" fmla="*/ 6987210 h 6989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486" h="6989866">
                <a:moveTo>
                  <a:pt x="50565" y="6987210"/>
                </a:moveTo>
                <a:lnTo>
                  <a:pt x="0" y="0"/>
                </a:lnTo>
                <a:lnTo>
                  <a:pt x="2603486" y="0"/>
                </a:lnTo>
                <a:lnTo>
                  <a:pt x="759391" y="6989866"/>
                </a:lnTo>
                <a:lnTo>
                  <a:pt x="50565" y="6987210"/>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ack and white logo&#10;&#10;Description automatically generated">
            <a:extLst>
              <a:ext uri="{FF2B5EF4-FFF2-40B4-BE49-F238E27FC236}">
                <a16:creationId xmlns:a16="http://schemas.microsoft.com/office/drawing/2014/main" id="{1D497C82-B3DC-31C4-DEE4-65F87F967E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57834" y="1048"/>
            <a:ext cx="565288" cy="565288"/>
          </a:xfrm>
          <a:prstGeom prst="rect">
            <a:avLst/>
          </a:prstGeom>
        </p:spPr>
      </p:pic>
      <p:sp>
        <p:nvSpPr>
          <p:cNvPr id="4" name="TextBox 3">
            <a:extLst>
              <a:ext uri="{FF2B5EF4-FFF2-40B4-BE49-F238E27FC236}">
                <a16:creationId xmlns:a16="http://schemas.microsoft.com/office/drawing/2014/main" id="{91DA54BA-A947-1413-2325-52B282815A06}"/>
              </a:ext>
            </a:extLst>
          </p:cNvPr>
          <p:cNvSpPr txBox="1"/>
          <p:nvPr userDrawn="1"/>
        </p:nvSpPr>
        <p:spPr>
          <a:xfrm>
            <a:off x="776310" y="4173927"/>
            <a:ext cx="4562061" cy="246221"/>
          </a:xfrm>
          <a:prstGeom prst="rect">
            <a:avLst/>
          </a:prstGeom>
          <a:noFill/>
        </p:spPr>
        <p:txBody>
          <a:bodyPr wrap="square" rtlCol="0">
            <a:spAutoFit/>
          </a:bodyPr>
          <a:lstStyle/>
          <a:p>
            <a:r>
              <a:rPr lang="en-US" sz="1000" b="1" spc="300">
                <a:solidFill>
                  <a:schemeClr val="bg1"/>
                </a:solidFill>
              </a:rPr>
              <a:t>DENVER INTERNATIONAL AIRPORT</a:t>
            </a:r>
          </a:p>
        </p:txBody>
      </p:sp>
    </p:spTree>
    <p:extLst>
      <p:ext uri="{BB962C8B-B14F-4D97-AF65-F5344CB8AC3E}">
        <p14:creationId xmlns:p14="http://schemas.microsoft.com/office/powerpoint/2010/main" val="3706723004"/>
      </p:ext>
    </p:extLst>
  </p:cSld>
  <p:clrMap bg1="lt1" tx1="dk1" bg2="lt2" tx2="dk2" accent1="accent1" accent2="accent2" accent3="accent3" accent4="accent4" accent5="accent5" accent6="accent6" hlink="hlink" folHlink="folHlink"/>
  <p:sldLayoutIdLst>
    <p:sldLayoutId id="2147483653" r:id="rId1"/>
    <p:sldLayoutId id="2147483677" r:id="rId2"/>
    <p:sldLayoutId id="2147483678" r:id="rId3"/>
    <p:sldLayoutId id="2147483707" r:id="rId4"/>
    <p:sldLayoutId id="214748370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pic>
        <p:nvPicPr>
          <p:cNvPr id="3" name="Picture 2" descr="A black and white logo&#10;&#10;Description automatically generated">
            <a:extLst>
              <a:ext uri="{FF2B5EF4-FFF2-40B4-BE49-F238E27FC236}">
                <a16:creationId xmlns:a16="http://schemas.microsoft.com/office/drawing/2014/main" id="{1EA359B5-21D6-9677-812F-2534C08D82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33188" y="-6670"/>
            <a:ext cx="565288" cy="565288"/>
          </a:xfrm>
          <a:prstGeom prst="rect">
            <a:avLst/>
          </a:prstGeom>
        </p:spPr>
      </p:pic>
      <p:sp>
        <p:nvSpPr>
          <p:cNvPr id="4" name="Trapezoid 6">
            <a:extLst>
              <a:ext uri="{FF2B5EF4-FFF2-40B4-BE49-F238E27FC236}">
                <a16:creationId xmlns:a16="http://schemas.microsoft.com/office/drawing/2014/main" id="{A46FE110-BE47-0786-5EF0-D0F1B9651C3A}"/>
              </a:ext>
            </a:extLst>
          </p:cNvPr>
          <p:cNvSpPr/>
          <p:nvPr userDrawn="1"/>
        </p:nvSpPr>
        <p:spPr>
          <a:xfrm rot="10800000">
            <a:off x="10038670" y="-5511"/>
            <a:ext cx="2188890" cy="6870184"/>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0 w 3309730"/>
              <a:gd name="connsiteY0" fmla="*/ 7019293 h 7029232"/>
              <a:gd name="connsiteX1" fmla="*/ 538675 w 3309730"/>
              <a:gd name="connsiteY1" fmla="*/ 0 h 7029232"/>
              <a:gd name="connsiteX2" fmla="*/ 1269724 w 3309730"/>
              <a:gd name="connsiteY2" fmla="*/ 32084 h 7029232"/>
              <a:gd name="connsiteX3" fmla="*/ 3309730 w 3309730"/>
              <a:gd name="connsiteY3" fmla="*/ 7029232 h 7029232"/>
              <a:gd name="connsiteX4" fmla="*/ 0 w 3309730"/>
              <a:gd name="connsiteY4" fmla="*/ 7019293 h 7029232"/>
              <a:gd name="connsiteX0" fmla="*/ 568230 w 2771055"/>
              <a:gd name="connsiteY0" fmla="*/ 7003250 h 7029232"/>
              <a:gd name="connsiteX1" fmla="*/ 0 w 2771055"/>
              <a:gd name="connsiteY1" fmla="*/ 0 h 7029232"/>
              <a:gd name="connsiteX2" fmla="*/ 731049 w 2771055"/>
              <a:gd name="connsiteY2" fmla="*/ 32084 h 7029232"/>
              <a:gd name="connsiteX3" fmla="*/ 2771055 w 2771055"/>
              <a:gd name="connsiteY3" fmla="*/ 7029232 h 7029232"/>
              <a:gd name="connsiteX4" fmla="*/ 568230 w 2771055"/>
              <a:gd name="connsiteY4" fmla="*/ 7003250 h 7029232"/>
              <a:gd name="connsiteX0" fmla="*/ 135093 w 2771055"/>
              <a:gd name="connsiteY0" fmla="*/ 6955123 h 7029232"/>
              <a:gd name="connsiteX1" fmla="*/ 0 w 2771055"/>
              <a:gd name="connsiteY1" fmla="*/ 0 h 7029232"/>
              <a:gd name="connsiteX2" fmla="*/ 731049 w 2771055"/>
              <a:gd name="connsiteY2" fmla="*/ 32084 h 7029232"/>
              <a:gd name="connsiteX3" fmla="*/ 2771055 w 2771055"/>
              <a:gd name="connsiteY3" fmla="*/ 7029232 h 7029232"/>
              <a:gd name="connsiteX4" fmla="*/ 135093 w 2771055"/>
              <a:gd name="connsiteY4" fmla="*/ 6955123 h 7029232"/>
              <a:gd name="connsiteX0" fmla="*/ 38841 w 2674803"/>
              <a:gd name="connsiteY0" fmla="*/ 6939081 h 7013190"/>
              <a:gd name="connsiteX1" fmla="*/ 0 w 2674803"/>
              <a:gd name="connsiteY1" fmla="*/ 0 h 7013190"/>
              <a:gd name="connsiteX2" fmla="*/ 634797 w 2674803"/>
              <a:gd name="connsiteY2" fmla="*/ 16042 h 7013190"/>
              <a:gd name="connsiteX3" fmla="*/ 2674803 w 2674803"/>
              <a:gd name="connsiteY3" fmla="*/ 7013190 h 7013190"/>
              <a:gd name="connsiteX4" fmla="*/ 38841 w 2674803"/>
              <a:gd name="connsiteY4" fmla="*/ 6939081 h 7013190"/>
              <a:gd name="connsiteX0" fmla="*/ 22799 w 2674803"/>
              <a:gd name="connsiteY0" fmla="*/ 7003250 h 7013190"/>
              <a:gd name="connsiteX1" fmla="*/ 0 w 2674803"/>
              <a:gd name="connsiteY1" fmla="*/ 0 h 7013190"/>
              <a:gd name="connsiteX2" fmla="*/ 634797 w 2674803"/>
              <a:gd name="connsiteY2" fmla="*/ 16042 h 7013190"/>
              <a:gd name="connsiteX3" fmla="*/ 2674803 w 2674803"/>
              <a:gd name="connsiteY3" fmla="*/ 7013190 h 7013190"/>
              <a:gd name="connsiteX4" fmla="*/ 22799 w 2674803"/>
              <a:gd name="connsiteY4" fmla="*/ 7003250 h 7013190"/>
              <a:gd name="connsiteX0" fmla="*/ 22799 w 2209582"/>
              <a:gd name="connsiteY0" fmla="*/ 7003250 h 7013190"/>
              <a:gd name="connsiteX1" fmla="*/ 0 w 2209582"/>
              <a:gd name="connsiteY1" fmla="*/ 0 h 7013190"/>
              <a:gd name="connsiteX2" fmla="*/ 634797 w 2209582"/>
              <a:gd name="connsiteY2" fmla="*/ 16042 h 7013190"/>
              <a:gd name="connsiteX3" fmla="*/ 2209582 w 2209582"/>
              <a:gd name="connsiteY3" fmla="*/ 7013190 h 7013190"/>
              <a:gd name="connsiteX4" fmla="*/ 22799 w 2209582"/>
              <a:gd name="connsiteY4" fmla="*/ 7003250 h 7013190"/>
              <a:gd name="connsiteX0" fmla="*/ 17635 w 2209582"/>
              <a:gd name="connsiteY0" fmla="*/ 7018820 h 7018820"/>
              <a:gd name="connsiteX1" fmla="*/ 0 w 2209582"/>
              <a:gd name="connsiteY1" fmla="*/ 0 h 7018820"/>
              <a:gd name="connsiteX2" fmla="*/ 634797 w 2209582"/>
              <a:gd name="connsiteY2" fmla="*/ 16042 h 7018820"/>
              <a:gd name="connsiteX3" fmla="*/ 2209582 w 2209582"/>
              <a:gd name="connsiteY3" fmla="*/ 7013190 h 7018820"/>
              <a:gd name="connsiteX4" fmla="*/ 17635 w 2209582"/>
              <a:gd name="connsiteY4" fmla="*/ 7018820 h 7018820"/>
              <a:gd name="connsiteX0" fmla="*/ 17635 w 2225074"/>
              <a:gd name="connsiteY0" fmla="*/ 7018820 h 7033949"/>
              <a:gd name="connsiteX1" fmla="*/ 0 w 2225074"/>
              <a:gd name="connsiteY1" fmla="*/ 0 h 7033949"/>
              <a:gd name="connsiteX2" fmla="*/ 634797 w 2225074"/>
              <a:gd name="connsiteY2" fmla="*/ 16042 h 7033949"/>
              <a:gd name="connsiteX3" fmla="*/ 2225074 w 2225074"/>
              <a:gd name="connsiteY3" fmla="*/ 7033949 h 7033949"/>
              <a:gd name="connsiteX4" fmla="*/ 17635 w 2225074"/>
              <a:gd name="connsiteY4" fmla="*/ 7018820 h 7033949"/>
              <a:gd name="connsiteX0" fmla="*/ 17635 w 2225074"/>
              <a:gd name="connsiteY0" fmla="*/ 7018820 h 7018820"/>
              <a:gd name="connsiteX1" fmla="*/ 0 w 2225074"/>
              <a:gd name="connsiteY1" fmla="*/ 0 h 7018820"/>
              <a:gd name="connsiteX2" fmla="*/ 634797 w 2225074"/>
              <a:gd name="connsiteY2" fmla="*/ 16042 h 7018820"/>
              <a:gd name="connsiteX3" fmla="*/ 2225074 w 2225074"/>
              <a:gd name="connsiteY3" fmla="*/ 7013189 h 7018820"/>
              <a:gd name="connsiteX4" fmla="*/ 17635 w 2225074"/>
              <a:gd name="connsiteY4" fmla="*/ 7018820 h 7018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5074" h="7018820">
                <a:moveTo>
                  <a:pt x="17635" y="7018820"/>
                </a:moveTo>
                <a:cubicBezTo>
                  <a:pt x="10035" y="4684403"/>
                  <a:pt x="7600" y="2334417"/>
                  <a:pt x="0" y="0"/>
                </a:cubicBezTo>
                <a:lnTo>
                  <a:pt x="634797" y="16042"/>
                </a:lnTo>
                <a:lnTo>
                  <a:pt x="2225074" y="7013189"/>
                </a:lnTo>
                <a:lnTo>
                  <a:pt x="17635" y="7018820"/>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1">
            <a:extLst>
              <a:ext uri="{FF2B5EF4-FFF2-40B4-BE49-F238E27FC236}">
                <a16:creationId xmlns:a16="http://schemas.microsoft.com/office/drawing/2014/main" id="{7EC05602-1A21-4305-F126-88543ED91292}"/>
              </a:ext>
            </a:extLst>
          </p:cNvPr>
          <p:cNvSpPr/>
          <p:nvPr userDrawn="1"/>
        </p:nvSpPr>
        <p:spPr>
          <a:xfrm rot="10800000" flipV="1">
            <a:off x="10236096" y="2946700"/>
            <a:ext cx="1991464" cy="3917973"/>
          </a:xfrm>
          <a:custGeom>
            <a:avLst/>
            <a:gdLst>
              <a:gd name="connsiteX0" fmla="*/ 0 w 1996544"/>
              <a:gd name="connsiteY0" fmla="*/ 3954379 h 3954379"/>
              <a:gd name="connsiteX1" fmla="*/ 0 w 1996544"/>
              <a:gd name="connsiteY1" fmla="*/ 0 h 3954379"/>
              <a:gd name="connsiteX2" fmla="*/ 1996544 w 1996544"/>
              <a:gd name="connsiteY2" fmla="*/ 3954379 h 3954379"/>
              <a:gd name="connsiteX3" fmla="*/ 0 w 1996544"/>
              <a:gd name="connsiteY3" fmla="*/ 3954379 h 3954379"/>
              <a:gd name="connsiteX0" fmla="*/ 0 w 1986384"/>
              <a:gd name="connsiteY0" fmla="*/ 3954379 h 3959459"/>
              <a:gd name="connsiteX1" fmla="*/ 0 w 1986384"/>
              <a:gd name="connsiteY1" fmla="*/ 0 h 3959459"/>
              <a:gd name="connsiteX2" fmla="*/ 1986384 w 1986384"/>
              <a:gd name="connsiteY2" fmla="*/ 3959459 h 3959459"/>
              <a:gd name="connsiteX3" fmla="*/ 0 w 1986384"/>
              <a:gd name="connsiteY3" fmla="*/ 3954379 h 3959459"/>
              <a:gd name="connsiteX0" fmla="*/ 0 w 1991464"/>
              <a:gd name="connsiteY0" fmla="*/ 3964539 h 3964539"/>
              <a:gd name="connsiteX1" fmla="*/ 5080 w 1991464"/>
              <a:gd name="connsiteY1" fmla="*/ 0 h 3964539"/>
              <a:gd name="connsiteX2" fmla="*/ 1991464 w 1991464"/>
              <a:gd name="connsiteY2" fmla="*/ 3959459 h 3964539"/>
              <a:gd name="connsiteX3" fmla="*/ 0 w 1991464"/>
              <a:gd name="connsiteY3" fmla="*/ 3964539 h 3964539"/>
              <a:gd name="connsiteX0" fmla="*/ 0 w 1991464"/>
              <a:gd name="connsiteY0" fmla="*/ 3917973 h 3917973"/>
              <a:gd name="connsiteX1" fmla="*/ 13547 w 1991464"/>
              <a:gd name="connsiteY1" fmla="*/ 0 h 3917973"/>
              <a:gd name="connsiteX2" fmla="*/ 1991464 w 1991464"/>
              <a:gd name="connsiteY2" fmla="*/ 3912893 h 3917973"/>
              <a:gd name="connsiteX3" fmla="*/ 0 w 1991464"/>
              <a:gd name="connsiteY3" fmla="*/ 3917973 h 3917973"/>
            </a:gdLst>
            <a:ahLst/>
            <a:cxnLst>
              <a:cxn ang="0">
                <a:pos x="connsiteX0" y="connsiteY0"/>
              </a:cxn>
              <a:cxn ang="0">
                <a:pos x="connsiteX1" y="connsiteY1"/>
              </a:cxn>
              <a:cxn ang="0">
                <a:pos x="connsiteX2" y="connsiteY2"/>
              </a:cxn>
              <a:cxn ang="0">
                <a:pos x="connsiteX3" y="connsiteY3"/>
              </a:cxn>
            </a:cxnLst>
            <a:rect l="l" t="t" r="r" b="b"/>
            <a:pathLst>
              <a:path w="1991464" h="3917973">
                <a:moveTo>
                  <a:pt x="0" y="3917973"/>
                </a:moveTo>
                <a:cubicBezTo>
                  <a:pt x="1693" y="2596460"/>
                  <a:pt x="11854" y="1321513"/>
                  <a:pt x="13547" y="0"/>
                </a:cubicBezTo>
                <a:lnTo>
                  <a:pt x="1991464" y="3912893"/>
                </a:lnTo>
                <a:lnTo>
                  <a:pt x="0" y="3917973"/>
                </a:lnTo>
                <a:close/>
              </a:path>
            </a:pathLst>
          </a:custGeom>
          <a:solidFill>
            <a:srgbClr val="2821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9E05B0C-07B1-6E94-CB04-5B692DF95A11}"/>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28955" y="-5513"/>
            <a:ext cx="565288" cy="565288"/>
          </a:xfrm>
          <a:prstGeom prst="rect">
            <a:avLst/>
          </a:prstGeom>
        </p:spPr>
      </p:pic>
    </p:spTree>
    <p:extLst>
      <p:ext uri="{BB962C8B-B14F-4D97-AF65-F5344CB8AC3E}">
        <p14:creationId xmlns:p14="http://schemas.microsoft.com/office/powerpoint/2010/main" val="151306121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710" r:id="rId3"/>
    <p:sldLayoutId id="2147483713" r:id="rId4"/>
    <p:sldLayoutId id="2147483730" r:id="rId5"/>
    <p:sldLayoutId id="2147483731"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B28EB04-EDC5-1DE2-2F96-E6EE24823DA5}"/>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1026464" y="0"/>
            <a:ext cx="565288" cy="565288"/>
          </a:xfrm>
          <a:prstGeom prst="rect">
            <a:avLst/>
          </a:prstGeom>
        </p:spPr>
      </p:pic>
      <p:sp>
        <p:nvSpPr>
          <p:cNvPr id="4" name="Right Triangle 3">
            <a:extLst>
              <a:ext uri="{FF2B5EF4-FFF2-40B4-BE49-F238E27FC236}">
                <a16:creationId xmlns:a16="http://schemas.microsoft.com/office/drawing/2014/main" id="{2275901F-93B8-C343-88C0-E9739A319D14}"/>
              </a:ext>
            </a:extLst>
          </p:cNvPr>
          <p:cNvSpPr/>
          <p:nvPr userDrawn="1"/>
        </p:nvSpPr>
        <p:spPr>
          <a:xfrm rot="10800000" flipV="1">
            <a:off x="10266947" y="2951747"/>
            <a:ext cx="1925053" cy="3906253"/>
          </a:xfrm>
          <a:prstGeom prst="rtTriangle">
            <a:avLst/>
          </a:pr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953972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766" r:id="rId3"/>
    <p:sldLayoutId id="2147483767" r:id="rId4"/>
    <p:sldLayoutId id="2147483768" r:id="rId5"/>
    <p:sldLayoutId id="2147483773" r:id="rId6"/>
    <p:sldLayoutId id="214748377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67771"/>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email">
            <a:extLst>
              <a:ext uri="{28A0092B-C50C-407E-A947-70E740481C1C}">
                <a14:useLocalDpi xmlns:a14="http://schemas.microsoft.com/office/drawing/2010/main"/>
              </a:ext>
            </a:extLst>
          </a:blip>
          <a:stretch>
            <a:fillRect/>
          </a:stretch>
        </p:blipFill>
        <p:spPr>
          <a:xfrm>
            <a:off x="0" y="0"/>
            <a:ext cx="12192000" cy="6857519"/>
          </a:xfrm>
          <a:prstGeom prst="rect">
            <a:avLst/>
          </a:prstGeom>
        </p:spPr>
      </p:pic>
      <p:sp>
        <p:nvSpPr>
          <p:cNvPr id="17" name="bg object 17"/>
          <p:cNvSpPr/>
          <p:nvPr/>
        </p:nvSpPr>
        <p:spPr>
          <a:xfrm>
            <a:off x="9298965" y="1715873"/>
            <a:ext cx="1132169" cy="2008112"/>
          </a:xfrm>
          <a:custGeom>
            <a:avLst/>
            <a:gdLst/>
            <a:ahLst/>
            <a:cxnLst/>
            <a:rect l="l" t="t" r="r" b="b"/>
            <a:pathLst>
              <a:path w="1866900" h="3311525">
                <a:moveTo>
                  <a:pt x="1030277" y="0"/>
                </a:moveTo>
                <a:lnTo>
                  <a:pt x="1001928" y="679502"/>
                </a:lnTo>
                <a:lnTo>
                  <a:pt x="980970" y="1085230"/>
                </a:lnTo>
                <a:lnTo>
                  <a:pt x="957045" y="1378486"/>
                </a:lnTo>
                <a:lnTo>
                  <a:pt x="919793" y="1720575"/>
                </a:lnTo>
                <a:lnTo>
                  <a:pt x="729261" y="1713052"/>
                </a:lnTo>
                <a:lnTo>
                  <a:pt x="579430" y="1719588"/>
                </a:lnTo>
                <a:lnTo>
                  <a:pt x="481396" y="1730564"/>
                </a:lnTo>
                <a:lnTo>
                  <a:pt x="352729" y="1794269"/>
                </a:lnTo>
                <a:lnTo>
                  <a:pt x="275069" y="1937240"/>
                </a:lnTo>
                <a:lnTo>
                  <a:pt x="171438" y="2276571"/>
                </a:lnTo>
                <a:lnTo>
                  <a:pt x="0" y="2923565"/>
                </a:lnTo>
                <a:lnTo>
                  <a:pt x="15427" y="2935308"/>
                </a:lnTo>
                <a:lnTo>
                  <a:pt x="51282" y="2961435"/>
                </a:lnTo>
                <a:lnTo>
                  <a:pt x="93673" y="2990488"/>
                </a:lnTo>
                <a:lnTo>
                  <a:pt x="142447" y="3021759"/>
                </a:lnTo>
                <a:lnTo>
                  <a:pt x="197450" y="3054536"/>
                </a:lnTo>
                <a:lnTo>
                  <a:pt x="258526" y="3088108"/>
                </a:lnTo>
                <a:lnTo>
                  <a:pt x="325522" y="3121767"/>
                </a:lnTo>
                <a:lnTo>
                  <a:pt x="361192" y="3138406"/>
                </a:lnTo>
                <a:lnTo>
                  <a:pt x="398284" y="3154800"/>
                </a:lnTo>
                <a:lnTo>
                  <a:pt x="436778" y="3170861"/>
                </a:lnTo>
                <a:lnTo>
                  <a:pt x="476656" y="3186498"/>
                </a:lnTo>
                <a:lnTo>
                  <a:pt x="517898" y="3201625"/>
                </a:lnTo>
                <a:lnTo>
                  <a:pt x="560485" y="3216151"/>
                </a:lnTo>
                <a:lnTo>
                  <a:pt x="604398" y="3229988"/>
                </a:lnTo>
                <a:lnTo>
                  <a:pt x="649617" y="3243047"/>
                </a:lnTo>
                <a:lnTo>
                  <a:pt x="696122" y="3255240"/>
                </a:lnTo>
                <a:lnTo>
                  <a:pt x="743896" y="3266477"/>
                </a:lnTo>
                <a:lnTo>
                  <a:pt x="792918" y="3276670"/>
                </a:lnTo>
                <a:lnTo>
                  <a:pt x="843169" y="3285730"/>
                </a:lnTo>
                <a:lnTo>
                  <a:pt x="894630" y="3293568"/>
                </a:lnTo>
                <a:lnTo>
                  <a:pt x="947281" y="3300096"/>
                </a:lnTo>
                <a:lnTo>
                  <a:pt x="1001104" y="3305224"/>
                </a:lnTo>
                <a:lnTo>
                  <a:pt x="1056079" y="3308864"/>
                </a:lnTo>
                <a:lnTo>
                  <a:pt x="1112186" y="3310927"/>
                </a:lnTo>
                <a:lnTo>
                  <a:pt x="1169407" y="3311324"/>
                </a:lnTo>
                <a:lnTo>
                  <a:pt x="1227722" y="3309966"/>
                </a:lnTo>
                <a:lnTo>
                  <a:pt x="1287112" y="3306765"/>
                </a:lnTo>
                <a:lnTo>
                  <a:pt x="1347557" y="3301632"/>
                </a:lnTo>
                <a:lnTo>
                  <a:pt x="1409038" y="3294477"/>
                </a:lnTo>
                <a:lnTo>
                  <a:pt x="1471536" y="3285213"/>
                </a:lnTo>
                <a:lnTo>
                  <a:pt x="1535032" y="3273750"/>
                </a:lnTo>
                <a:lnTo>
                  <a:pt x="1599507" y="3260000"/>
                </a:lnTo>
                <a:lnTo>
                  <a:pt x="1664940" y="3243873"/>
                </a:lnTo>
                <a:lnTo>
                  <a:pt x="1731313" y="3225281"/>
                </a:lnTo>
                <a:lnTo>
                  <a:pt x="1798607" y="3204136"/>
                </a:lnTo>
                <a:lnTo>
                  <a:pt x="1866801" y="3180348"/>
                </a:lnTo>
                <a:lnTo>
                  <a:pt x="1789724" y="2873724"/>
                </a:lnTo>
                <a:lnTo>
                  <a:pt x="1726063" y="2622432"/>
                </a:lnTo>
                <a:lnTo>
                  <a:pt x="1675715" y="2425372"/>
                </a:lnTo>
                <a:lnTo>
                  <a:pt x="1643395" y="2300048"/>
                </a:lnTo>
                <a:lnTo>
                  <a:pt x="1613615" y="2185872"/>
                </a:lnTo>
                <a:lnTo>
                  <a:pt x="1600092" y="2134655"/>
                </a:lnTo>
                <a:lnTo>
                  <a:pt x="1587701" y="2088253"/>
                </a:lnTo>
                <a:lnTo>
                  <a:pt x="1576608" y="2047342"/>
                </a:lnTo>
                <a:lnTo>
                  <a:pt x="1474125" y="1871526"/>
                </a:lnTo>
                <a:lnTo>
                  <a:pt x="1339090" y="1807407"/>
                </a:lnTo>
                <a:lnTo>
                  <a:pt x="1217372" y="1790642"/>
                </a:lnTo>
                <a:lnTo>
                  <a:pt x="1164467" y="1791631"/>
                </a:lnTo>
                <a:lnTo>
                  <a:pt x="1164467" y="1720575"/>
                </a:lnTo>
                <a:lnTo>
                  <a:pt x="1101327" y="15800"/>
                </a:lnTo>
                <a:lnTo>
                  <a:pt x="1030277" y="0"/>
                </a:lnTo>
                <a:close/>
              </a:path>
            </a:pathLst>
          </a:custGeom>
          <a:solidFill>
            <a:srgbClr val="FFFFFF"/>
          </a:solidFill>
        </p:spPr>
        <p:txBody>
          <a:bodyPr wrap="square" lIns="0" tIns="0" rIns="0" bIns="0" rtlCol="0"/>
          <a:lstStyle/>
          <a:p>
            <a:endParaRPr sz="1092"/>
          </a:p>
        </p:txBody>
      </p:sp>
      <p:pic>
        <p:nvPicPr>
          <p:cNvPr id="18" name="bg object 18"/>
          <p:cNvPicPr/>
          <p:nvPr/>
        </p:nvPicPr>
        <p:blipFill>
          <a:blip r:embed="rId8" cstate="email">
            <a:extLst>
              <a:ext uri="{28A0092B-C50C-407E-A947-70E740481C1C}">
                <a14:useLocalDpi xmlns:a14="http://schemas.microsoft.com/office/drawing/2010/main"/>
              </a:ext>
            </a:extLst>
          </a:blip>
          <a:stretch>
            <a:fillRect/>
          </a:stretch>
        </p:blipFill>
        <p:spPr>
          <a:xfrm>
            <a:off x="0" y="1657568"/>
            <a:ext cx="12192000" cy="5199950"/>
          </a:xfrm>
          <a:prstGeom prst="rect">
            <a:avLst/>
          </a:prstGeom>
        </p:spPr>
      </p:pic>
      <p:sp>
        <p:nvSpPr>
          <p:cNvPr id="2" name="Holder 2"/>
          <p:cNvSpPr>
            <a:spLocks noGrp="1"/>
          </p:cNvSpPr>
          <p:nvPr>
            <p:ph type="title"/>
          </p:nvPr>
        </p:nvSpPr>
        <p:spPr>
          <a:xfrm>
            <a:off x="1975912" y="690805"/>
            <a:ext cx="8975715" cy="477054"/>
          </a:xfrm>
          <a:prstGeom prst="rect">
            <a:avLst/>
          </a:prstGeom>
        </p:spPr>
        <p:txBody>
          <a:bodyPr wrap="square" lIns="0" tIns="0" rIns="0" bIns="0">
            <a:spAutoFit/>
          </a:bodyPr>
          <a:lstStyle>
            <a:lvl1pPr>
              <a:defRPr sz="3100" b="0" i="0">
                <a:solidFill>
                  <a:schemeClr val="bg1"/>
                </a:solidFill>
                <a:latin typeface="Calibri"/>
                <a:cs typeface="Calibri"/>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18/2025</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2744532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24EC9FE-0CCF-9C42-7879-27974B1DA5D4}"/>
              </a:ext>
            </a:extLst>
          </p:cNvPr>
          <p:cNvCxnSpPr/>
          <p:nvPr userDrawn="1"/>
        </p:nvCxnSpPr>
        <p:spPr>
          <a:xfrm>
            <a:off x="865905" y="1093479"/>
            <a:ext cx="640080" cy="0"/>
          </a:xfrm>
          <a:prstGeom prst="line">
            <a:avLst/>
          </a:prstGeom>
          <a:ln w="76200">
            <a:solidFill>
              <a:srgbClr val="E35B2A"/>
            </a:solidFill>
          </a:ln>
        </p:spPr>
        <p:style>
          <a:lnRef idx="1">
            <a:schemeClr val="accent1"/>
          </a:lnRef>
          <a:fillRef idx="0">
            <a:schemeClr val="accent1"/>
          </a:fillRef>
          <a:effectRef idx="0">
            <a:schemeClr val="accent1"/>
          </a:effectRef>
          <a:fontRef idx="minor">
            <a:schemeClr val="tx1"/>
          </a:fontRef>
        </p:style>
      </p:cxnSp>
      <p:pic>
        <p:nvPicPr>
          <p:cNvPr id="3" name="Picture 2" descr="A black and white logo&#10;&#10;Description automatically generated">
            <a:extLst>
              <a:ext uri="{FF2B5EF4-FFF2-40B4-BE49-F238E27FC236}">
                <a16:creationId xmlns:a16="http://schemas.microsoft.com/office/drawing/2014/main" id="{1EA359B5-21D6-9677-812F-2534C08D82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33188" y="-6670"/>
            <a:ext cx="565288" cy="565288"/>
          </a:xfrm>
          <a:prstGeom prst="rect">
            <a:avLst/>
          </a:prstGeom>
        </p:spPr>
      </p:pic>
      <p:sp>
        <p:nvSpPr>
          <p:cNvPr id="4" name="Trapezoid 6">
            <a:extLst>
              <a:ext uri="{FF2B5EF4-FFF2-40B4-BE49-F238E27FC236}">
                <a16:creationId xmlns:a16="http://schemas.microsoft.com/office/drawing/2014/main" id="{A46FE110-BE47-0786-5EF0-D0F1B9651C3A}"/>
              </a:ext>
            </a:extLst>
          </p:cNvPr>
          <p:cNvSpPr/>
          <p:nvPr userDrawn="1"/>
        </p:nvSpPr>
        <p:spPr>
          <a:xfrm rot="10800000">
            <a:off x="10038670" y="-5511"/>
            <a:ext cx="2188890" cy="6870184"/>
          </a:xfrm>
          <a:custGeom>
            <a:avLst/>
            <a:gdLst>
              <a:gd name="connsiteX0" fmla="*/ 0 w 3985591"/>
              <a:gd name="connsiteY0" fmla="*/ 6997148 h 6997148"/>
              <a:gd name="connsiteX1" fmla="*/ 996398 w 3985591"/>
              <a:gd name="connsiteY1" fmla="*/ 0 h 6997148"/>
              <a:gd name="connsiteX2" fmla="*/ 2989193 w 3985591"/>
              <a:gd name="connsiteY2" fmla="*/ 0 h 6997148"/>
              <a:gd name="connsiteX3" fmla="*/ 3985591 w 3985591"/>
              <a:gd name="connsiteY3" fmla="*/ 6997148 h 6997148"/>
              <a:gd name="connsiteX4" fmla="*/ 0 w 3985591"/>
              <a:gd name="connsiteY4" fmla="*/ 6997148 h 6997148"/>
              <a:gd name="connsiteX0" fmla="*/ 1021245 w 2989193"/>
              <a:gd name="connsiteY0" fmla="*/ 7007087 h 7007087"/>
              <a:gd name="connsiteX1" fmla="*/ 0 w 2989193"/>
              <a:gd name="connsiteY1" fmla="*/ 0 h 7007087"/>
              <a:gd name="connsiteX2" fmla="*/ 1992795 w 2989193"/>
              <a:gd name="connsiteY2" fmla="*/ 0 h 7007087"/>
              <a:gd name="connsiteX3" fmla="*/ 2989193 w 2989193"/>
              <a:gd name="connsiteY3" fmla="*/ 6997148 h 7007087"/>
              <a:gd name="connsiteX4" fmla="*/ 1021245 w 2989193"/>
              <a:gd name="connsiteY4" fmla="*/ 7007087 h 7007087"/>
              <a:gd name="connsiteX0" fmla="*/ 86967 w 2989193"/>
              <a:gd name="connsiteY0" fmla="*/ 6987209 h 6997148"/>
              <a:gd name="connsiteX1" fmla="*/ 0 w 2989193"/>
              <a:gd name="connsiteY1" fmla="*/ 0 h 6997148"/>
              <a:gd name="connsiteX2" fmla="*/ 1992795 w 2989193"/>
              <a:gd name="connsiteY2" fmla="*/ 0 h 6997148"/>
              <a:gd name="connsiteX3" fmla="*/ 2989193 w 2989193"/>
              <a:gd name="connsiteY3" fmla="*/ 6997148 h 6997148"/>
              <a:gd name="connsiteX4" fmla="*/ 86967 w 2989193"/>
              <a:gd name="connsiteY4" fmla="*/ 6987209 h 6997148"/>
              <a:gd name="connsiteX0" fmla="*/ 86967 w 2989193"/>
              <a:gd name="connsiteY0" fmla="*/ 6987209 h 6997148"/>
              <a:gd name="connsiteX1" fmla="*/ 0 w 2989193"/>
              <a:gd name="connsiteY1" fmla="*/ 0 h 6997148"/>
              <a:gd name="connsiteX2" fmla="*/ 1287117 w 2989193"/>
              <a:gd name="connsiteY2" fmla="*/ 0 h 6997148"/>
              <a:gd name="connsiteX3" fmla="*/ 2989193 w 2989193"/>
              <a:gd name="connsiteY3" fmla="*/ 6997148 h 6997148"/>
              <a:gd name="connsiteX4" fmla="*/ 86967 w 2989193"/>
              <a:gd name="connsiteY4" fmla="*/ 6987209 h 6997148"/>
              <a:gd name="connsiteX0" fmla="*/ 86967 w 3396697"/>
              <a:gd name="connsiteY0" fmla="*/ 6987209 h 6997148"/>
              <a:gd name="connsiteX1" fmla="*/ 0 w 3396697"/>
              <a:gd name="connsiteY1" fmla="*/ 0 h 6997148"/>
              <a:gd name="connsiteX2" fmla="*/ 1287117 w 3396697"/>
              <a:gd name="connsiteY2" fmla="*/ 0 h 6997148"/>
              <a:gd name="connsiteX3" fmla="*/ 3396697 w 3396697"/>
              <a:gd name="connsiteY3" fmla="*/ 6997148 h 6997148"/>
              <a:gd name="connsiteX4" fmla="*/ 86967 w 3396697"/>
              <a:gd name="connsiteY4" fmla="*/ 6987209 h 6997148"/>
              <a:gd name="connsiteX0" fmla="*/ 86967 w 3396697"/>
              <a:gd name="connsiteY0" fmla="*/ 6987209 h 6997148"/>
              <a:gd name="connsiteX1" fmla="*/ 0 w 3396697"/>
              <a:gd name="connsiteY1" fmla="*/ 0 h 6997148"/>
              <a:gd name="connsiteX2" fmla="*/ 1356691 w 3396697"/>
              <a:gd name="connsiteY2" fmla="*/ 0 h 6997148"/>
              <a:gd name="connsiteX3" fmla="*/ 3396697 w 3396697"/>
              <a:gd name="connsiteY3" fmla="*/ 6997148 h 6997148"/>
              <a:gd name="connsiteX4" fmla="*/ 86967 w 3396697"/>
              <a:gd name="connsiteY4" fmla="*/ 6987209 h 6997148"/>
              <a:gd name="connsiteX0" fmla="*/ 0 w 3309730"/>
              <a:gd name="connsiteY0" fmla="*/ 7019293 h 7029232"/>
              <a:gd name="connsiteX1" fmla="*/ 538675 w 3309730"/>
              <a:gd name="connsiteY1" fmla="*/ 0 h 7029232"/>
              <a:gd name="connsiteX2" fmla="*/ 1269724 w 3309730"/>
              <a:gd name="connsiteY2" fmla="*/ 32084 h 7029232"/>
              <a:gd name="connsiteX3" fmla="*/ 3309730 w 3309730"/>
              <a:gd name="connsiteY3" fmla="*/ 7029232 h 7029232"/>
              <a:gd name="connsiteX4" fmla="*/ 0 w 3309730"/>
              <a:gd name="connsiteY4" fmla="*/ 7019293 h 7029232"/>
              <a:gd name="connsiteX0" fmla="*/ 568230 w 2771055"/>
              <a:gd name="connsiteY0" fmla="*/ 7003250 h 7029232"/>
              <a:gd name="connsiteX1" fmla="*/ 0 w 2771055"/>
              <a:gd name="connsiteY1" fmla="*/ 0 h 7029232"/>
              <a:gd name="connsiteX2" fmla="*/ 731049 w 2771055"/>
              <a:gd name="connsiteY2" fmla="*/ 32084 h 7029232"/>
              <a:gd name="connsiteX3" fmla="*/ 2771055 w 2771055"/>
              <a:gd name="connsiteY3" fmla="*/ 7029232 h 7029232"/>
              <a:gd name="connsiteX4" fmla="*/ 568230 w 2771055"/>
              <a:gd name="connsiteY4" fmla="*/ 7003250 h 7029232"/>
              <a:gd name="connsiteX0" fmla="*/ 135093 w 2771055"/>
              <a:gd name="connsiteY0" fmla="*/ 6955123 h 7029232"/>
              <a:gd name="connsiteX1" fmla="*/ 0 w 2771055"/>
              <a:gd name="connsiteY1" fmla="*/ 0 h 7029232"/>
              <a:gd name="connsiteX2" fmla="*/ 731049 w 2771055"/>
              <a:gd name="connsiteY2" fmla="*/ 32084 h 7029232"/>
              <a:gd name="connsiteX3" fmla="*/ 2771055 w 2771055"/>
              <a:gd name="connsiteY3" fmla="*/ 7029232 h 7029232"/>
              <a:gd name="connsiteX4" fmla="*/ 135093 w 2771055"/>
              <a:gd name="connsiteY4" fmla="*/ 6955123 h 7029232"/>
              <a:gd name="connsiteX0" fmla="*/ 38841 w 2674803"/>
              <a:gd name="connsiteY0" fmla="*/ 6939081 h 7013190"/>
              <a:gd name="connsiteX1" fmla="*/ 0 w 2674803"/>
              <a:gd name="connsiteY1" fmla="*/ 0 h 7013190"/>
              <a:gd name="connsiteX2" fmla="*/ 634797 w 2674803"/>
              <a:gd name="connsiteY2" fmla="*/ 16042 h 7013190"/>
              <a:gd name="connsiteX3" fmla="*/ 2674803 w 2674803"/>
              <a:gd name="connsiteY3" fmla="*/ 7013190 h 7013190"/>
              <a:gd name="connsiteX4" fmla="*/ 38841 w 2674803"/>
              <a:gd name="connsiteY4" fmla="*/ 6939081 h 7013190"/>
              <a:gd name="connsiteX0" fmla="*/ 22799 w 2674803"/>
              <a:gd name="connsiteY0" fmla="*/ 7003250 h 7013190"/>
              <a:gd name="connsiteX1" fmla="*/ 0 w 2674803"/>
              <a:gd name="connsiteY1" fmla="*/ 0 h 7013190"/>
              <a:gd name="connsiteX2" fmla="*/ 634797 w 2674803"/>
              <a:gd name="connsiteY2" fmla="*/ 16042 h 7013190"/>
              <a:gd name="connsiteX3" fmla="*/ 2674803 w 2674803"/>
              <a:gd name="connsiteY3" fmla="*/ 7013190 h 7013190"/>
              <a:gd name="connsiteX4" fmla="*/ 22799 w 2674803"/>
              <a:gd name="connsiteY4" fmla="*/ 7003250 h 7013190"/>
              <a:gd name="connsiteX0" fmla="*/ 22799 w 2209582"/>
              <a:gd name="connsiteY0" fmla="*/ 7003250 h 7013190"/>
              <a:gd name="connsiteX1" fmla="*/ 0 w 2209582"/>
              <a:gd name="connsiteY1" fmla="*/ 0 h 7013190"/>
              <a:gd name="connsiteX2" fmla="*/ 634797 w 2209582"/>
              <a:gd name="connsiteY2" fmla="*/ 16042 h 7013190"/>
              <a:gd name="connsiteX3" fmla="*/ 2209582 w 2209582"/>
              <a:gd name="connsiteY3" fmla="*/ 7013190 h 7013190"/>
              <a:gd name="connsiteX4" fmla="*/ 22799 w 2209582"/>
              <a:gd name="connsiteY4" fmla="*/ 7003250 h 7013190"/>
              <a:gd name="connsiteX0" fmla="*/ 17635 w 2209582"/>
              <a:gd name="connsiteY0" fmla="*/ 7018820 h 7018820"/>
              <a:gd name="connsiteX1" fmla="*/ 0 w 2209582"/>
              <a:gd name="connsiteY1" fmla="*/ 0 h 7018820"/>
              <a:gd name="connsiteX2" fmla="*/ 634797 w 2209582"/>
              <a:gd name="connsiteY2" fmla="*/ 16042 h 7018820"/>
              <a:gd name="connsiteX3" fmla="*/ 2209582 w 2209582"/>
              <a:gd name="connsiteY3" fmla="*/ 7013190 h 7018820"/>
              <a:gd name="connsiteX4" fmla="*/ 17635 w 2209582"/>
              <a:gd name="connsiteY4" fmla="*/ 7018820 h 7018820"/>
              <a:gd name="connsiteX0" fmla="*/ 17635 w 2225074"/>
              <a:gd name="connsiteY0" fmla="*/ 7018820 h 7033949"/>
              <a:gd name="connsiteX1" fmla="*/ 0 w 2225074"/>
              <a:gd name="connsiteY1" fmla="*/ 0 h 7033949"/>
              <a:gd name="connsiteX2" fmla="*/ 634797 w 2225074"/>
              <a:gd name="connsiteY2" fmla="*/ 16042 h 7033949"/>
              <a:gd name="connsiteX3" fmla="*/ 2225074 w 2225074"/>
              <a:gd name="connsiteY3" fmla="*/ 7033949 h 7033949"/>
              <a:gd name="connsiteX4" fmla="*/ 17635 w 2225074"/>
              <a:gd name="connsiteY4" fmla="*/ 7018820 h 7033949"/>
              <a:gd name="connsiteX0" fmla="*/ 17635 w 2225074"/>
              <a:gd name="connsiteY0" fmla="*/ 7018820 h 7018820"/>
              <a:gd name="connsiteX1" fmla="*/ 0 w 2225074"/>
              <a:gd name="connsiteY1" fmla="*/ 0 h 7018820"/>
              <a:gd name="connsiteX2" fmla="*/ 634797 w 2225074"/>
              <a:gd name="connsiteY2" fmla="*/ 16042 h 7018820"/>
              <a:gd name="connsiteX3" fmla="*/ 2225074 w 2225074"/>
              <a:gd name="connsiteY3" fmla="*/ 7013189 h 7018820"/>
              <a:gd name="connsiteX4" fmla="*/ 17635 w 2225074"/>
              <a:gd name="connsiteY4" fmla="*/ 7018820 h 7018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5074" h="7018820">
                <a:moveTo>
                  <a:pt x="17635" y="7018820"/>
                </a:moveTo>
                <a:cubicBezTo>
                  <a:pt x="10035" y="4684403"/>
                  <a:pt x="7600" y="2334417"/>
                  <a:pt x="0" y="0"/>
                </a:cubicBezTo>
                <a:lnTo>
                  <a:pt x="634797" y="16042"/>
                </a:lnTo>
                <a:lnTo>
                  <a:pt x="2225074" y="7013189"/>
                </a:lnTo>
                <a:lnTo>
                  <a:pt x="17635" y="7018820"/>
                </a:lnTo>
                <a:close/>
              </a:path>
            </a:pathLst>
          </a:cu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1">
            <a:extLst>
              <a:ext uri="{FF2B5EF4-FFF2-40B4-BE49-F238E27FC236}">
                <a16:creationId xmlns:a16="http://schemas.microsoft.com/office/drawing/2014/main" id="{7EC05602-1A21-4305-F126-88543ED91292}"/>
              </a:ext>
            </a:extLst>
          </p:cNvPr>
          <p:cNvSpPr/>
          <p:nvPr userDrawn="1"/>
        </p:nvSpPr>
        <p:spPr>
          <a:xfrm rot="10800000" flipV="1">
            <a:off x="10236096" y="2946700"/>
            <a:ext cx="1991464" cy="3917973"/>
          </a:xfrm>
          <a:custGeom>
            <a:avLst/>
            <a:gdLst>
              <a:gd name="connsiteX0" fmla="*/ 0 w 1996544"/>
              <a:gd name="connsiteY0" fmla="*/ 3954379 h 3954379"/>
              <a:gd name="connsiteX1" fmla="*/ 0 w 1996544"/>
              <a:gd name="connsiteY1" fmla="*/ 0 h 3954379"/>
              <a:gd name="connsiteX2" fmla="*/ 1996544 w 1996544"/>
              <a:gd name="connsiteY2" fmla="*/ 3954379 h 3954379"/>
              <a:gd name="connsiteX3" fmla="*/ 0 w 1996544"/>
              <a:gd name="connsiteY3" fmla="*/ 3954379 h 3954379"/>
              <a:gd name="connsiteX0" fmla="*/ 0 w 1986384"/>
              <a:gd name="connsiteY0" fmla="*/ 3954379 h 3959459"/>
              <a:gd name="connsiteX1" fmla="*/ 0 w 1986384"/>
              <a:gd name="connsiteY1" fmla="*/ 0 h 3959459"/>
              <a:gd name="connsiteX2" fmla="*/ 1986384 w 1986384"/>
              <a:gd name="connsiteY2" fmla="*/ 3959459 h 3959459"/>
              <a:gd name="connsiteX3" fmla="*/ 0 w 1986384"/>
              <a:gd name="connsiteY3" fmla="*/ 3954379 h 3959459"/>
              <a:gd name="connsiteX0" fmla="*/ 0 w 1991464"/>
              <a:gd name="connsiteY0" fmla="*/ 3964539 h 3964539"/>
              <a:gd name="connsiteX1" fmla="*/ 5080 w 1991464"/>
              <a:gd name="connsiteY1" fmla="*/ 0 h 3964539"/>
              <a:gd name="connsiteX2" fmla="*/ 1991464 w 1991464"/>
              <a:gd name="connsiteY2" fmla="*/ 3959459 h 3964539"/>
              <a:gd name="connsiteX3" fmla="*/ 0 w 1991464"/>
              <a:gd name="connsiteY3" fmla="*/ 3964539 h 3964539"/>
              <a:gd name="connsiteX0" fmla="*/ 0 w 1991464"/>
              <a:gd name="connsiteY0" fmla="*/ 3917973 h 3917973"/>
              <a:gd name="connsiteX1" fmla="*/ 13547 w 1991464"/>
              <a:gd name="connsiteY1" fmla="*/ 0 h 3917973"/>
              <a:gd name="connsiteX2" fmla="*/ 1991464 w 1991464"/>
              <a:gd name="connsiteY2" fmla="*/ 3912893 h 3917973"/>
              <a:gd name="connsiteX3" fmla="*/ 0 w 1991464"/>
              <a:gd name="connsiteY3" fmla="*/ 3917973 h 3917973"/>
            </a:gdLst>
            <a:ahLst/>
            <a:cxnLst>
              <a:cxn ang="0">
                <a:pos x="connsiteX0" y="connsiteY0"/>
              </a:cxn>
              <a:cxn ang="0">
                <a:pos x="connsiteX1" y="connsiteY1"/>
              </a:cxn>
              <a:cxn ang="0">
                <a:pos x="connsiteX2" y="connsiteY2"/>
              </a:cxn>
              <a:cxn ang="0">
                <a:pos x="connsiteX3" y="connsiteY3"/>
              </a:cxn>
            </a:cxnLst>
            <a:rect l="l" t="t" r="r" b="b"/>
            <a:pathLst>
              <a:path w="1991464" h="3917973">
                <a:moveTo>
                  <a:pt x="0" y="3917973"/>
                </a:moveTo>
                <a:cubicBezTo>
                  <a:pt x="1693" y="2596460"/>
                  <a:pt x="11854" y="1321513"/>
                  <a:pt x="13547" y="0"/>
                </a:cubicBezTo>
                <a:lnTo>
                  <a:pt x="1991464" y="3912893"/>
                </a:lnTo>
                <a:lnTo>
                  <a:pt x="0" y="3917973"/>
                </a:lnTo>
                <a:close/>
              </a:path>
            </a:pathLst>
          </a:custGeom>
          <a:solidFill>
            <a:srgbClr val="2821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9E05B0C-07B1-6E94-CB04-5B692DF95A11}"/>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28955" y="-5513"/>
            <a:ext cx="565288" cy="565288"/>
          </a:xfrm>
          <a:prstGeom prst="rect">
            <a:avLst/>
          </a:prstGeom>
        </p:spPr>
      </p:pic>
    </p:spTree>
    <p:extLst>
      <p:ext uri="{BB962C8B-B14F-4D97-AF65-F5344CB8AC3E}">
        <p14:creationId xmlns:p14="http://schemas.microsoft.com/office/powerpoint/2010/main" val="329809176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3CE2AE-2348-C131-AB30-E71D744950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4C403C9-B2F6-F2EB-EE87-667BCD79CF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B8346-2B91-209B-E58B-C2277A0A72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804064F-31C4-44E3-86B5-07C2DB86DD41}" type="datetimeFigureOut">
              <a:rPr lang="en-US" smtClean="0"/>
              <a:t>12/18/2025</a:t>
            </a:fld>
            <a:endParaRPr lang="en-US"/>
          </a:p>
        </p:txBody>
      </p:sp>
      <p:sp>
        <p:nvSpPr>
          <p:cNvPr id="5" name="Footer Placeholder 4">
            <a:extLst>
              <a:ext uri="{FF2B5EF4-FFF2-40B4-BE49-F238E27FC236}">
                <a16:creationId xmlns:a16="http://schemas.microsoft.com/office/drawing/2014/main" id="{881F775E-1FEA-DC4A-696A-A070B43852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9EE607A-BC7E-FCA7-759C-704422417D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A10F667-8286-4FD0-8D2D-0D07FFA8DA6B}" type="slidenum">
              <a:rPr lang="en-US" smtClean="0"/>
              <a:t>‹#›</a:t>
            </a:fld>
            <a:endParaRPr lang="en-US"/>
          </a:p>
        </p:txBody>
      </p:sp>
    </p:spTree>
    <p:extLst>
      <p:ext uri="{BB962C8B-B14F-4D97-AF65-F5344CB8AC3E}">
        <p14:creationId xmlns:p14="http://schemas.microsoft.com/office/powerpoint/2010/main" val="142342978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2D8F54-8982-3A98-F2CE-048195E29D2F}"/>
              </a:ext>
            </a:extLst>
          </p:cNvPr>
          <p:cNvSpPr>
            <a:spLocks noGrp="1"/>
          </p:cNvSpPr>
          <p:nvPr>
            <p:ph type="title"/>
          </p:nvPr>
        </p:nvSpPr>
        <p:spPr>
          <a:xfrm>
            <a:off x="111968" y="136525"/>
            <a:ext cx="11129865" cy="58659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AF15E89-16D0-C8BD-EEE7-92668A335C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2680091-75AD-78E6-1B05-E64500D9EB7C}"/>
              </a:ext>
            </a:extLst>
          </p:cNvPr>
          <p:cNvSpPr>
            <a:spLocks noGrp="1"/>
          </p:cNvSpPr>
          <p:nvPr>
            <p:ph type="ftr" sz="quarter" idx="3"/>
          </p:nvPr>
        </p:nvSpPr>
        <p:spPr>
          <a:xfrm>
            <a:off x="1071418" y="6356350"/>
            <a:ext cx="7081982" cy="365125"/>
          </a:xfrm>
          <a:prstGeom prst="rect">
            <a:avLst/>
          </a:prstGeom>
        </p:spPr>
        <p:txBody>
          <a:bodyPr vert="horz" lIns="91440" tIns="45720" rIns="91440" bIns="45720" rtlCol="0" anchor="ctr"/>
          <a:lstStyle>
            <a:lvl1pPr algn="l">
              <a:defRPr sz="1100">
                <a:solidFill>
                  <a:schemeClr val="tx1">
                    <a:tint val="75000"/>
                  </a:schemeClr>
                </a:solidFill>
                <a:latin typeface="+mn-lt"/>
              </a:defRPr>
            </a:lvl1pPr>
          </a:lstStyle>
          <a:p>
            <a:r>
              <a:rPr lang="en-US"/>
              <a:t>Meet the Primes | Denver International Airport</a:t>
            </a:r>
          </a:p>
        </p:txBody>
      </p:sp>
      <p:sp>
        <p:nvSpPr>
          <p:cNvPr id="6" name="Slide Number Placeholder 5">
            <a:extLst>
              <a:ext uri="{FF2B5EF4-FFF2-40B4-BE49-F238E27FC236}">
                <a16:creationId xmlns:a16="http://schemas.microsoft.com/office/drawing/2014/main" id="{820909F8-D94D-E2AA-619F-926872D02DB9}"/>
              </a:ext>
            </a:extLst>
          </p:cNvPr>
          <p:cNvSpPr>
            <a:spLocks noGrp="1"/>
          </p:cNvSpPr>
          <p:nvPr>
            <p:ph type="sldNum" sz="quarter" idx="4"/>
          </p:nvPr>
        </p:nvSpPr>
        <p:spPr>
          <a:xfrm>
            <a:off x="8610600" y="6356350"/>
            <a:ext cx="3433618" cy="365125"/>
          </a:xfrm>
          <a:prstGeom prst="rect">
            <a:avLst/>
          </a:prstGeom>
        </p:spPr>
        <p:txBody>
          <a:bodyPr vert="horz" lIns="91440" tIns="45720" rIns="91440" bIns="45720" rtlCol="0" anchor="ctr"/>
          <a:lstStyle>
            <a:lvl1pPr algn="r">
              <a:defRPr sz="1100">
                <a:solidFill>
                  <a:schemeClr val="tx1">
                    <a:tint val="75000"/>
                  </a:schemeClr>
                </a:solidFill>
                <a:latin typeface="+mn-lt"/>
              </a:defRPr>
            </a:lvl1pPr>
          </a:lstStyle>
          <a:p>
            <a:fld id="{E0562F0D-1E28-4754-8F56-3AC0578EFE04}" type="slidenum">
              <a:rPr lang="en-US" smtClean="0"/>
              <a:pPr/>
              <a:t>‹#›</a:t>
            </a:fld>
            <a:endParaRPr lang="en-US"/>
          </a:p>
        </p:txBody>
      </p:sp>
    </p:spTree>
    <p:extLst>
      <p:ext uri="{BB962C8B-B14F-4D97-AF65-F5344CB8AC3E}">
        <p14:creationId xmlns:p14="http://schemas.microsoft.com/office/powerpoint/2010/main" val="3147722629"/>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0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notesSlide" Target="../notesSlides/notesSlide12.xml"/><Relationship Id="rId1" Type="http://schemas.openxmlformats.org/officeDocument/2006/relationships/slideLayout" Target="../slideLayouts/slideLayout76.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jpeg"/><Relationship Id="rId2" Type="http://schemas.openxmlformats.org/officeDocument/2006/relationships/notesSlide" Target="../notesSlides/notesSlide13.xml"/><Relationship Id="rId1" Type="http://schemas.openxmlformats.org/officeDocument/2006/relationships/slideLayout" Target="../slideLayouts/slideLayout72.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14.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jpeg"/><Relationship Id="rId2" Type="http://schemas.openxmlformats.org/officeDocument/2006/relationships/notesSlide" Target="../notesSlides/notesSlide15.xml"/><Relationship Id="rId1" Type="http://schemas.openxmlformats.org/officeDocument/2006/relationships/slideLayout" Target="../slideLayouts/slideLayout75.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100.jpe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78.xml"/><Relationship Id="rId4" Type="http://schemas.openxmlformats.org/officeDocument/2006/relationships/image" Target="../media/image61.svg"/></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79.xml"/><Relationship Id="rId5" Type="http://schemas.openxmlformats.org/officeDocument/2006/relationships/image" Target="../media/image105.png"/><Relationship Id="rId4" Type="http://schemas.openxmlformats.org/officeDocument/2006/relationships/image" Target="../media/image61.svg"/></Relationships>
</file>

<file path=ppt/slides/_rels/slide19.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57.png"/><Relationship Id="rId7"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79.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61.svg"/><Relationship Id="rId9" Type="http://schemas.openxmlformats.org/officeDocument/2006/relationships/image" Target="../media/image11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80.xml"/><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79.xml"/><Relationship Id="rId5" Type="http://schemas.openxmlformats.org/officeDocument/2006/relationships/image" Target="../media/image113.png"/><Relationship Id="rId4" Type="http://schemas.openxmlformats.org/officeDocument/2006/relationships/image" Target="../media/image61.sv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81.xml"/><Relationship Id="rId5" Type="http://schemas.openxmlformats.org/officeDocument/2006/relationships/image" Target="../media/image61.sv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5.png"/><Relationship Id="rId7" Type="http://schemas.openxmlformats.org/officeDocument/2006/relationships/image" Target="../media/image61.svg"/><Relationship Id="rId2" Type="http://schemas.openxmlformats.org/officeDocument/2006/relationships/notesSlide" Target="../notesSlides/notesSlide23.xml"/><Relationship Id="rId1" Type="http://schemas.openxmlformats.org/officeDocument/2006/relationships/slideLayout" Target="../slideLayouts/slideLayout81.xml"/><Relationship Id="rId6" Type="http://schemas.openxmlformats.org/officeDocument/2006/relationships/image" Target="../media/image57.png"/><Relationship Id="rId5" Type="http://schemas.openxmlformats.org/officeDocument/2006/relationships/image" Target="../media/image117.svg"/><Relationship Id="rId10" Type="http://schemas.openxmlformats.org/officeDocument/2006/relationships/image" Target="../media/image120.png"/><Relationship Id="rId4" Type="http://schemas.openxmlformats.org/officeDocument/2006/relationships/image" Target="../media/image116.png"/><Relationship Id="rId9" Type="http://schemas.openxmlformats.org/officeDocument/2006/relationships/image" Target="../media/image1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8" Type="http://schemas.openxmlformats.org/officeDocument/2006/relationships/hyperlink" Target="mailto:tony.marcello@parsons.com" TargetMode="External"/><Relationship Id="rId3" Type="http://schemas.openxmlformats.org/officeDocument/2006/relationships/hyperlink" Target="mailto:rodrigo.ariza@parsons.com" TargetMode="External"/><Relationship Id="rId7" Type="http://schemas.openxmlformats.org/officeDocument/2006/relationships/hyperlink" Target="mailto:adival.magri@parsons.com" TargetMode="External"/><Relationship Id="rId2" Type="http://schemas.openxmlformats.org/officeDocument/2006/relationships/notesSlide" Target="../notesSlides/notesSlide25.xml"/><Relationship Id="rId1" Type="http://schemas.openxmlformats.org/officeDocument/2006/relationships/slideLayout" Target="../slideLayouts/slideLayout42.xml"/><Relationship Id="rId6" Type="http://schemas.openxmlformats.org/officeDocument/2006/relationships/hyperlink" Target="mailto:michael.unger@parsons.com" TargetMode="External"/><Relationship Id="rId5" Type="http://schemas.openxmlformats.org/officeDocument/2006/relationships/hyperlink" Target="mailto:ric.paterson@parsons.com" TargetMode="External"/><Relationship Id="rId10" Type="http://schemas.openxmlformats.org/officeDocument/2006/relationships/image" Target="../media/image122.png"/><Relationship Id="rId4" Type="http://schemas.openxmlformats.org/officeDocument/2006/relationships/hyperlink" Target="mailto:mark.hawley@parsons.com" TargetMode="External"/><Relationship Id="rId9" Type="http://schemas.openxmlformats.org/officeDocument/2006/relationships/image" Target="../media/image121.png"/></Relationships>
</file>

<file path=ppt/slides/_rels/slide2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3.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6.xml"/><Relationship Id="rId1" Type="http://schemas.openxmlformats.org/officeDocument/2006/relationships/slideLayout" Target="../slideLayouts/slideLayout51.xml"/><Relationship Id="rId6" Type="http://schemas.openxmlformats.org/officeDocument/2006/relationships/image" Target="../media/image121.png"/><Relationship Id="rId5" Type="http://schemas.openxmlformats.org/officeDocument/2006/relationships/image" Target="../media/image127.jpeg"/><Relationship Id="rId4" Type="http://schemas.openxmlformats.org/officeDocument/2006/relationships/image" Target="../media/image126.jpeg"/></Relationships>
</file>

<file path=ppt/slides/_rels/slide2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8.png"/><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27.xml"/><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28.xml"/><Relationship Id="rId1" Type="http://schemas.openxmlformats.org/officeDocument/2006/relationships/slideLayout" Target="../slideLayouts/slideLayout53.xml"/><Relationship Id="rId6" Type="http://schemas.openxmlformats.org/officeDocument/2006/relationships/image" Target="../media/image133.sv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svg"/><Relationship Id="rId9" Type="http://schemas.openxmlformats.org/officeDocument/2006/relationships/image" Target="../media/image136.png"/></Relationships>
</file>

<file path=ppt/slides/_rels/slide3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29.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svg"/><Relationship Id="rId2" Type="http://schemas.openxmlformats.org/officeDocument/2006/relationships/notesSlide" Target="../notesSlides/notesSlide30.xml"/><Relationship Id="rId1" Type="http://schemas.openxmlformats.org/officeDocument/2006/relationships/slideLayout" Target="../slideLayouts/slideLayout54.xml"/><Relationship Id="rId6" Type="http://schemas.openxmlformats.org/officeDocument/2006/relationships/image" Target="../media/image142.sv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34.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notesSlide" Target="../notesSlides/notesSlide31.xml"/><Relationship Id="rId1" Type="http://schemas.openxmlformats.org/officeDocument/2006/relationships/slideLayout" Target="../slideLayouts/slideLayout55.xml"/><Relationship Id="rId6" Type="http://schemas.openxmlformats.org/officeDocument/2006/relationships/image" Target="../media/image152.svg"/><Relationship Id="rId5" Type="http://schemas.openxmlformats.org/officeDocument/2006/relationships/image" Target="../media/image151.png"/><Relationship Id="rId10" Type="http://schemas.openxmlformats.org/officeDocument/2006/relationships/image" Target="../media/image156.svg"/><Relationship Id="rId4" Type="http://schemas.openxmlformats.org/officeDocument/2006/relationships/image" Target="../media/image150.svg"/><Relationship Id="rId9" Type="http://schemas.openxmlformats.org/officeDocument/2006/relationships/image" Target="../media/image155.png"/></Relationships>
</file>

<file path=ppt/slides/_rels/slide35.xml.rels><?xml version="1.0" encoding="UTF-8" standalone="yes"?>
<Relationships xmlns="http://schemas.openxmlformats.org/package/2006/relationships"><Relationship Id="rId3" Type="http://schemas.openxmlformats.org/officeDocument/2006/relationships/image" Target="../media/image157.jpeg"/><Relationship Id="rId7" Type="http://schemas.openxmlformats.org/officeDocument/2006/relationships/image" Target="../media/image161.png"/><Relationship Id="rId2" Type="http://schemas.openxmlformats.org/officeDocument/2006/relationships/notesSlide" Target="../notesSlides/notesSlide32.xml"/><Relationship Id="rId1" Type="http://schemas.openxmlformats.org/officeDocument/2006/relationships/slideLayout" Target="../slideLayouts/slideLayout56.xml"/><Relationship Id="rId6" Type="http://schemas.openxmlformats.org/officeDocument/2006/relationships/image" Target="../media/image160.jpeg"/><Relationship Id="rId5" Type="http://schemas.openxmlformats.org/officeDocument/2006/relationships/image" Target="../media/image159.jpeg"/><Relationship Id="rId4" Type="http://schemas.openxmlformats.org/officeDocument/2006/relationships/image" Target="../media/image158.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33.xml"/><Relationship Id="rId1" Type="http://schemas.openxmlformats.org/officeDocument/2006/relationships/slideLayout" Target="../slideLayouts/slideLayout58.xml"/><Relationship Id="rId5" Type="http://schemas.openxmlformats.org/officeDocument/2006/relationships/image" Target="../media/image164.jpeg"/><Relationship Id="rId4" Type="http://schemas.openxmlformats.org/officeDocument/2006/relationships/image" Target="../media/image163.jpeg"/></Relationships>
</file>

<file path=ppt/slides/_rels/slide3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4.xml"/><Relationship Id="rId1" Type="http://schemas.openxmlformats.org/officeDocument/2006/relationships/slideLayout" Target="../slideLayouts/slideLayout58.xml"/><Relationship Id="rId4" Type="http://schemas.openxmlformats.org/officeDocument/2006/relationships/image" Target="../media/image166.png"/></Relationships>
</file>

<file path=ppt/slides/_rels/slide3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69.png"/></Relationships>
</file>

<file path=ppt/slides/_rels/slide4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60.xml"/></Relationships>
</file>

<file path=ppt/slides/_rels/slide41.xml.rels><?xml version="1.0" encoding="UTF-8" standalone="yes"?>
<Relationships xmlns="http://schemas.openxmlformats.org/package/2006/relationships"><Relationship Id="rId8" Type="http://schemas.openxmlformats.org/officeDocument/2006/relationships/hyperlink" Target="mailto:Michelle.Hoysick@aecom.com" TargetMode="External"/><Relationship Id="rId3" Type="http://schemas.openxmlformats.org/officeDocument/2006/relationships/hyperlink" Target="mailto:Jeffrey.Warkoski@aecom.com" TargetMode="External"/><Relationship Id="rId7" Type="http://schemas.openxmlformats.org/officeDocument/2006/relationships/hyperlink" Target="mailto:Deanna.Weber@aecom.com" TargetMode="External"/><Relationship Id="rId2" Type="http://schemas.openxmlformats.org/officeDocument/2006/relationships/notesSlide" Target="../notesSlides/notesSlide35.xml"/><Relationship Id="rId1" Type="http://schemas.openxmlformats.org/officeDocument/2006/relationships/slideLayout" Target="../slideLayouts/slideLayout58.xml"/><Relationship Id="rId6" Type="http://schemas.openxmlformats.org/officeDocument/2006/relationships/hyperlink" Target="mailto:Kyle.Williams2@aecom.com" TargetMode="External"/><Relationship Id="rId5" Type="http://schemas.openxmlformats.org/officeDocument/2006/relationships/hyperlink" Target="mailto:Jason.Sielcken@aecom.com" TargetMode="External"/><Relationship Id="rId4" Type="http://schemas.openxmlformats.org/officeDocument/2006/relationships/hyperlink" Target="mailto:Grace.Rink@aecom.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9.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40.xml"/><Relationship Id="rId1" Type="http://schemas.openxmlformats.org/officeDocument/2006/relationships/slideLayout" Target="../slideLayouts/slideLayout38.xml"/><Relationship Id="rId4" Type="http://schemas.openxmlformats.org/officeDocument/2006/relationships/image" Target="../media/image174.jpeg"/></Relationships>
</file>

<file path=ppt/slides/_rels/slide47.xml.rels><?xml version="1.0" encoding="UTF-8" standalone="yes"?>
<Relationships xmlns="http://schemas.openxmlformats.org/package/2006/relationships"><Relationship Id="rId8" Type="http://schemas.openxmlformats.org/officeDocument/2006/relationships/image" Target="../media/image175.jpeg"/><Relationship Id="rId3" Type="http://schemas.openxmlformats.org/officeDocument/2006/relationships/tags" Target="../tags/tag7.xml"/><Relationship Id="rId7" Type="http://schemas.openxmlformats.org/officeDocument/2006/relationships/notesSlide" Target="../notesSlides/notesSlide4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6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76.png"/></Relationships>
</file>

<file path=ppt/slides/_rels/slide48.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96.xml"/></Relationships>
</file>

<file path=ppt/slides/_rels/slide49.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7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7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notesSlide" Target="../notesSlides/notesSlide42.xml"/><Relationship Id="rId5" Type="http://schemas.openxmlformats.org/officeDocument/2006/relationships/tags" Target="../tags/tag14.xml"/><Relationship Id="rId15" Type="http://schemas.openxmlformats.org/officeDocument/2006/relationships/image" Target="../media/image181.jpeg"/><Relationship Id="rId10" Type="http://schemas.openxmlformats.org/officeDocument/2006/relationships/slideLayout" Target="../slideLayouts/slideLayout63.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80.jpeg"/></Relationships>
</file>

<file path=ppt/slides/_rels/slide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71.png"/><Relationship Id="rId4" Type="http://schemas.openxmlformats.org/officeDocument/2006/relationships/image" Target="../media/image69.png"/></Relationships>
</file>

<file path=ppt/slides/_rels/slide50.xml.rels><?xml version="1.0" encoding="UTF-8" standalone="yes"?>
<Relationships xmlns="http://schemas.openxmlformats.org/package/2006/relationships"><Relationship Id="rId8" Type="http://schemas.openxmlformats.org/officeDocument/2006/relationships/image" Target="../media/image183.jpeg"/><Relationship Id="rId3" Type="http://schemas.openxmlformats.org/officeDocument/2006/relationships/tags" Target="../tags/tag21.xml"/><Relationship Id="rId7" Type="http://schemas.openxmlformats.org/officeDocument/2006/relationships/image" Target="../media/image18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notesSlide" Target="../notesSlides/notesSlide43.xml"/><Relationship Id="rId5" Type="http://schemas.openxmlformats.org/officeDocument/2006/relationships/slideLayout" Target="../slideLayouts/slideLayout64.xml"/><Relationship Id="rId4" Type="http://schemas.openxmlformats.org/officeDocument/2006/relationships/tags" Target="../tags/tag22.xml"/><Relationship Id="rId9" Type="http://schemas.openxmlformats.org/officeDocument/2006/relationships/image" Target="../media/image184.jpeg"/></Relationships>
</file>

<file path=ppt/slides/_rels/slide5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hyperlink" Target="mailto:zamy.silva@wsp.com?subject=Partnership%20Opportunities" TargetMode="External"/><Relationship Id="rId26" Type="http://schemas.openxmlformats.org/officeDocument/2006/relationships/image" Target="../media/image187.png"/><Relationship Id="rId3" Type="http://schemas.openxmlformats.org/officeDocument/2006/relationships/tags" Target="../tags/tag25.xml"/><Relationship Id="rId21" Type="http://schemas.openxmlformats.org/officeDocument/2006/relationships/hyperlink" Target="mailto:jacob.hilton@ricardo.com?subject=Partnership%20Opportunities" TargetMode="Externa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hyperlink" Target="mailto:kelly.knowles@wsp.com?subject=Partnership%20Opportunities" TargetMode="External"/><Relationship Id="rId25" Type="http://schemas.openxmlformats.org/officeDocument/2006/relationships/image" Target="../media/image186.png"/><Relationship Id="rId2" Type="http://schemas.openxmlformats.org/officeDocument/2006/relationships/tags" Target="../tags/tag24.xml"/><Relationship Id="rId16" Type="http://schemas.openxmlformats.org/officeDocument/2006/relationships/notesSlide" Target="../notesSlides/notesSlide44.xml"/><Relationship Id="rId20" Type="http://schemas.openxmlformats.org/officeDocument/2006/relationships/hyperlink" Target="mailto:natalie.stiffler@wsp.com?subject=Partnership%20Opportunities" TargetMode="External"/><Relationship Id="rId29" Type="http://schemas.openxmlformats.org/officeDocument/2006/relationships/image" Target="../media/image190.pn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image" Target="../media/image185.png"/><Relationship Id="rId5" Type="http://schemas.openxmlformats.org/officeDocument/2006/relationships/tags" Target="../tags/tag27.xml"/><Relationship Id="rId15" Type="http://schemas.openxmlformats.org/officeDocument/2006/relationships/slideLayout" Target="../slideLayouts/slideLayout64.xml"/><Relationship Id="rId23" Type="http://schemas.openxmlformats.org/officeDocument/2006/relationships/hyperlink" Target="mailto:natalie.rodriguez@wsp.com?subject=Partnership%20Opportunities" TargetMode="External"/><Relationship Id="rId28" Type="http://schemas.openxmlformats.org/officeDocument/2006/relationships/image" Target="../media/image189.png"/><Relationship Id="rId10" Type="http://schemas.openxmlformats.org/officeDocument/2006/relationships/tags" Target="../tags/tag32.xml"/><Relationship Id="rId19" Type="http://schemas.openxmlformats.org/officeDocument/2006/relationships/hyperlink" Target="mailto:natriece.bryant@wsp.com?subject=Partnership%20Opportunities" TargetMode="Externa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hyperlink" Target="mailto:indhira.figuereo@wsp.com?subject=Partnership%20Opportunities" TargetMode="External"/><Relationship Id="rId27" Type="http://schemas.openxmlformats.org/officeDocument/2006/relationships/image" Target="../media/image188.png"/></Relationships>
</file>

<file path=ppt/slides/_rels/slide52.xml.rels><?xml version="1.0" encoding="UTF-8" standalone="yes"?>
<Relationships xmlns="http://schemas.openxmlformats.org/package/2006/relationships"><Relationship Id="rId3" Type="http://schemas.openxmlformats.org/officeDocument/2006/relationships/hyperlink" Target="mailto:William.VanHercke@Jacobs.com" TargetMode="External"/><Relationship Id="rId2" Type="http://schemas.openxmlformats.org/officeDocument/2006/relationships/notesSlide" Target="../notesSlides/notesSlide45.xml"/><Relationship Id="rId1" Type="http://schemas.openxmlformats.org/officeDocument/2006/relationships/slideLayout" Target="../slideLayouts/slideLayout65.xml"/><Relationship Id="rId4" Type="http://schemas.openxmlformats.org/officeDocument/2006/relationships/hyperlink" Target="mailto:Brett.Hartle@Jacob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91.emf"/><Relationship Id="rId2" Type="http://schemas.openxmlformats.org/officeDocument/2006/relationships/notesSlide" Target="../notesSlides/notesSlide46.xml"/><Relationship Id="rId1" Type="http://schemas.openxmlformats.org/officeDocument/2006/relationships/slideLayout" Target="../slideLayouts/slideLayout6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6.xml"/></Relationships>
</file>

<file path=ppt/slides/_rels/slide55.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48.xml"/><Relationship Id="rId1" Type="http://schemas.openxmlformats.org/officeDocument/2006/relationships/slideLayout" Target="../slideLayouts/slideLayout66.xml"/><Relationship Id="rId5" Type="http://schemas.openxmlformats.org/officeDocument/2006/relationships/image" Target="../media/image194.jpeg"/><Relationship Id="rId4" Type="http://schemas.openxmlformats.org/officeDocument/2006/relationships/image" Target="../media/image193.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6.xml"/></Relationships>
</file>

<file path=ppt/slides/_rels/slide57.xml.rels><?xml version="1.0" encoding="UTF-8" standalone="yes"?>
<Relationships xmlns="http://schemas.openxmlformats.org/package/2006/relationships"><Relationship Id="rId8" Type="http://schemas.openxmlformats.org/officeDocument/2006/relationships/hyperlink" Target="mailto:Eric.Zenoni@Jacobs.com" TargetMode="External"/><Relationship Id="rId3" Type="http://schemas.openxmlformats.org/officeDocument/2006/relationships/hyperlink" Target="mailto:William.VanHercke@Jacobs.com" TargetMode="External"/><Relationship Id="rId7" Type="http://schemas.openxmlformats.org/officeDocument/2006/relationships/hyperlink" Target="mailto:Bill.Furman@Jacobs.com" TargetMode="External"/><Relationship Id="rId12" Type="http://schemas.openxmlformats.org/officeDocument/2006/relationships/hyperlink" Target="mailto:Joey.Garcia@Jacobs.com" TargetMode="External"/><Relationship Id="rId2" Type="http://schemas.openxmlformats.org/officeDocument/2006/relationships/notesSlide" Target="../notesSlides/notesSlide50.xml"/><Relationship Id="rId1" Type="http://schemas.openxmlformats.org/officeDocument/2006/relationships/slideLayout" Target="../slideLayouts/slideLayout66.xml"/><Relationship Id="rId6" Type="http://schemas.openxmlformats.org/officeDocument/2006/relationships/hyperlink" Target="mailto:Chad.Picard@Jacobs.com" TargetMode="External"/><Relationship Id="rId11" Type="http://schemas.openxmlformats.org/officeDocument/2006/relationships/hyperlink" Target="mailto:Bryan.Smith2@Jacobs.com" TargetMode="External"/><Relationship Id="rId5" Type="http://schemas.openxmlformats.org/officeDocument/2006/relationships/hyperlink" Target="mailto:Claire.Marshall@Jacobs.com" TargetMode="External"/><Relationship Id="rId10" Type="http://schemas.openxmlformats.org/officeDocument/2006/relationships/hyperlink" Target="mailto:Courtney.Smith@Jacobs.com" TargetMode="External"/><Relationship Id="rId4" Type="http://schemas.openxmlformats.org/officeDocument/2006/relationships/hyperlink" Target="mailto:Brett.Hartle@Jacobs.com" TargetMode="External"/><Relationship Id="rId9" Type="http://schemas.openxmlformats.org/officeDocument/2006/relationships/hyperlink" Target="mailto:Greg.Straight@Jacob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1.xml"/><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74.png"/><Relationship Id="rId5" Type="http://schemas.openxmlformats.org/officeDocument/2006/relationships/image" Target="../media/image73.png"/><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52.xml"/><Relationship Id="rId1" Type="http://schemas.openxmlformats.org/officeDocument/2006/relationships/slideLayout" Target="../slideLayouts/slideLayout43.xml"/></Relationships>
</file>

<file path=ppt/slides/_rels/slide61.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53.xml"/><Relationship Id="rId1" Type="http://schemas.openxmlformats.org/officeDocument/2006/relationships/slideLayout" Target="../slideLayouts/slideLayout90.xml"/><Relationship Id="rId5" Type="http://schemas.openxmlformats.org/officeDocument/2006/relationships/image" Target="../media/image203.jpeg"/><Relationship Id="rId4" Type="http://schemas.openxmlformats.org/officeDocument/2006/relationships/image" Target="../media/image202.png"/></Relationships>
</file>

<file path=ppt/slides/_rels/slide65.xml.rels><?xml version="1.0" encoding="UTF-8" standalone="yes"?>
<Relationships xmlns="http://schemas.openxmlformats.org/package/2006/relationships"><Relationship Id="rId3" Type="http://schemas.openxmlformats.org/officeDocument/2006/relationships/image" Target="../media/image204.png"/><Relationship Id="rId2" Type="http://schemas.microsoft.com/office/2018/10/relationships/comments" Target="../comments/modernComment_107_CE223A0C.xml"/><Relationship Id="rId1" Type="http://schemas.openxmlformats.org/officeDocument/2006/relationships/slideLayout" Target="../slideLayouts/slideLayout90.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s>
</file>

<file path=ppt/slides/_rels/slide66.xml.rels><?xml version="1.0" encoding="UTF-8" standalone="yes"?>
<Relationships xmlns="http://schemas.openxmlformats.org/package/2006/relationships"><Relationship Id="rId8" Type="http://schemas.openxmlformats.org/officeDocument/2006/relationships/image" Target="../media/image213.png"/><Relationship Id="rId13" Type="http://schemas.openxmlformats.org/officeDocument/2006/relationships/image" Target="../media/image218.svg"/><Relationship Id="rId3" Type="http://schemas.openxmlformats.org/officeDocument/2006/relationships/image" Target="../media/image208.png"/><Relationship Id="rId7" Type="http://schemas.openxmlformats.org/officeDocument/2006/relationships/image" Target="../media/image212.svg"/><Relationship Id="rId12" Type="http://schemas.openxmlformats.org/officeDocument/2006/relationships/image" Target="../media/image217.png"/><Relationship Id="rId2" Type="http://schemas.openxmlformats.org/officeDocument/2006/relationships/image" Target="../media/image207.png"/><Relationship Id="rId1" Type="http://schemas.openxmlformats.org/officeDocument/2006/relationships/slideLayout" Target="../slideLayouts/slideLayout90.xml"/><Relationship Id="rId6" Type="http://schemas.openxmlformats.org/officeDocument/2006/relationships/image" Target="../media/image211.png"/><Relationship Id="rId11" Type="http://schemas.openxmlformats.org/officeDocument/2006/relationships/image" Target="../media/image216.svg"/><Relationship Id="rId5" Type="http://schemas.openxmlformats.org/officeDocument/2006/relationships/image" Target="../media/image210.svg"/><Relationship Id="rId15" Type="http://schemas.openxmlformats.org/officeDocument/2006/relationships/image" Target="../media/image220.svg"/><Relationship Id="rId10" Type="http://schemas.openxmlformats.org/officeDocument/2006/relationships/image" Target="../media/image215.png"/><Relationship Id="rId4" Type="http://schemas.openxmlformats.org/officeDocument/2006/relationships/image" Target="../media/image209.png"/><Relationship Id="rId9" Type="http://schemas.openxmlformats.org/officeDocument/2006/relationships/image" Target="../media/image214.svg"/><Relationship Id="rId14" Type="http://schemas.openxmlformats.org/officeDocument/2006/relationships/image" Target="../media/image219.png"/></Relationships>
</file>

<file path=ppt/slides/_rels/slide67.xml.rels><?xml version="1.0" encoding="UTF-8" standalone="yes"?>
<Relationships xmlns="http://schemas.openxmlformats.org/package/2006/relationships"><Relationship Id="rId8" Type="http://schemas.openxmlformats.org/officeDocument/2006/relationships/image" Target="../media/image225.jpeg"/><Relationship Id="rId3" Type="http://schemas.microsoft.com/office/2018/10/relationships/comments" Target="../comments/modernComment_102_84DF03EE.xml"/><Relationship Id="rId7" Type="http://schemas.openxmlformats.org/officeDocument/2006/relationships/image" Target="../media/image224.png"/><Relationship Id="rId12" Type="http://schemas.openxmlformats.org/officeDocument/2006/relationships/image" Target="../media/image207.png"/><Relationship Id="rId2" Type="http://schemas.openxmlformats.org/officeDocument/2006/relationships/notesSlide" Target="../notesSlides/notesSlide54.xml"/><Relationship Id="rId1" Type="http://schemas.openxmlformats.org/officeDocument/2006/relationships/slideLayout" Target="../slideLayouts/slideLayout90.xml"/><Relationship Id="rId6" Type="http://schemas.openxmlformats.org/officeDocument/2006/relationships/image" Target="../media/image223.png"/><Relationship Id="rId11" Type="http://schemas.openxmlformats.org/officeDocument/2006/relationships/image" Target="../media/image228.png"/><Relationship Id="rId5" Type="http://schemas.openxmlformats.org/officeDocument/2006/relationships/image" Target="../media/image222.jpeg"/><Relationship Id="rId10" Type="http://schemas.openxmlformats.org/officeDocument/2006/relationships/image" Target="../media/image227.png"/><Relationship Id="rId4" Type="http://schemas.openxmlformats.org/officeDocument/2006/relationships/image" Target="../media/image221.png"/><Relationship Id="rId9" Type="http://schemas.openxmlformats.org/officeDocument/2006/relationships/image" Target="../media/image226.png"/></Relationships>
</file>

<file path=ppt/slides/_rels/slide6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55.xml"/><Relationship Id="rId1" Type="http://schemas.openxmlformats.org/officeDocument/2006/relationships/slideLayout" Target="../slideLayouts/slideLayout90.xml"/><Relationship Id="rId4" Type="http://schemas.openxmlformats.org/officeDocument/2006/relationships/image" Target="../media/image229.jpeg"/></Relationships>
</file>

<file path=ppt/slides/_rels/slide69.xml.rels><?xml version="1.0" encoding="UTF-8" standalone="yes"?>
<Relationships xmlns="http://schemas.openxmlformats.org/package/2006/relationships"><Relationship Id="rId3" Type="http://schemas.microsoft.com/office/2018/10/relationships/comments" Target="../comments/modernComment_7FFFF23E_CA5F2B64.xml"/><Relationship Id="rId2" Type="http://schemas.openxmlformats.org/officeDocument/2006/relationships/notesSlide" Target="../notesSlides/notesSlide56.xml"/><Relationship Id="rId1" Type="http://schemas.openxmlformats.org/officeDocument/2006/relationships/slideLayout" Target="../slideLayouts/slideLayout90.xml"/><Relationship Id="rId6" Type="http://schemas.openxmlformats.org/officeDocument/2006/relationships/image" Target="../media/image231.png"/><Relationship Id="rId5" Type="http://schemas.openxmlformats.org/officeDocument/2006/relationships/image" Target="../media/image207.png"/><Relationship Id="rId4" Type="http://schemas.openxmlformats.org/officeDocument/2006/relationships/image" Target="../media/image230.png"/></Relationships>
</file>

<file path=ppt/slides/_rels/slide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70.xml.rels><?xml version="1.0" encoding="UTF-8" standalone="yes"?>
<Relationships xmlns="http://schemas.openxmlformats.org/package/2006/relationships"><Relationship Id="rId3" Type="http://schemas.openxmlformats.org/officeDocument/2006/relationships/image" Target="../media/image232.jpeg"/><Relationship Id="rId2" Type="http://schemas.openxmlformats.org/officeDocument/2006/relationships/notesSlide" Target="../notesSlides/notesSlide57.xml"/><Relationship Id="rId1" Type="http://schemas.openxmlformats.org/officeDocument/2006/relationships/slideLayout" Target="../slideLayouts/slideLayout90.xml"/><Relationship Id="rId5" Type="http://schemas.openxmlformats.org/officeDocument/2006/relationships/image" Target="../media/image207.png"/><Relationship Id="rId4" Type="http://schemas.openxmlformats.org/officeDocument/2006/relationships/image" Target="../media/image233.jpeg"/></Relationships>
</file>

<file path=ppt/slides/_rels/slide71.xml.rels><?xml version="1.0" encoding="UTF-8" standalone="yes"?>
<Relationships xmlns="http://schemas.openxmlformats.org/package/2006/relationships"><Relationship Id="rId3" Type="http://schemas.openxmlformats.org/officeDocument/2006/relationships/hyperlink" Target="http://www.flydenver.com/business-and-community/outreach-and-engagement/#pastevents" TargetMode="External"/><Relationship Id="rId2" Type="http://schemas.openxmlformats.org/officeDocument/2006/relationships/notesSlide" Target="../notesSlides/notesSlide58.xml"/><Relationship Id="rId1" Type="http://schemas.openxmlformats.org/officeDocument/2006/relationships/slideLayout" Target="../slideLayouts/slideLayout20.xml"/><Relationship Id="rId4" Type="http://schemas.openxmlformats.org/officeDocument/2006/relationships/image" Target="../media/image234.png"/></Relationships>
</file>

<file path=ppt/slides/_rels/slide8.xml.rels><?xml version="1.0" encoding="UTF-8" standalone="yes"?>
<Relationships xmlns="http://schemas.openxmlformats.org/package/2006/relationships"><Relationship Id="rId3" Type="http://schemas.openxmlformats.org/officeDocument/2006/relationships/image" Target="../media/image81.jpeg"/><Relationship Id="rId7" Type="http://schemas.openxmlformats.org/officeDocument/2006/relationships/image" Target="../media/image82.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hyperlink" Target="mailto:DENTrainingAcademy@flydenver.com" TargetMode="External"/><Relationship Id="rId5" Type="http://schemas.openxmlformats.org/officeDocument/2006/relationships/hyperlink" Target="https://lp.constantcontactpages.com/sl/QFiuIds" TargetMode="External"/><Relationship Id="rId4" Type="http://schemas.openxmlformats.org/officeDocument/2006/relationships/hyperlink" Target="https://www.flydenver.com/business-and-community/ceea/bdta/"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oBusinessWithDEN@flydenver.com"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83.png"/><Relationship Id="rId4" Type="http://schemas.openxmlformats.org/officeDocument/2006/relationships/hyperlink" Target="https://lp.constantcontactpages.com/sl/QFiuI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82CAAC-5511-40A6-FFB6-EBEF3926B130}"/>
              </a:ext>
              <a:ext uri="{C183D7F6-B498-43B3-948B-1728B52AA6E4}">
                <adec:decorative xmlns:adec="http://schemas.microsoft.com/office/drawing/2017/decorative" val="1"/>
              </a:ext>
            </a:extLst>
          </p:cNvPr>
          <p:cNvSpPr>
            <a:spLocks noGrp="1"/>
          </p:cNvSpPr>
          <p:nvPr>
            <p:ph type="title" idx="4294967295"/>
          </p:nvPr>
        </p:nvSpPr>
        <p:spPr>
          <a:xfrm>
            <a:off x="762418" y="4547937"/>
            <a:ext cx="8694403" cy="11887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600">
                <a:solidFill>
                  <a:schemeClr val="bg1"/>
                </a:solidFill>
                <a:latin typeface="+mn-lt"/>
                <a:ea typeface="+mn-ea"/>
                <a:cs typeface="+mn-cs"/>
              </a:rPr>
              <a:t>Meet the Primes</a:t>
            </a:r>
            <a:endParaRPr lang="en-US">
              <a:solidFill>
                <a:schemeClr val="bg1"/>
              </a:solidFill>
              <a:ea typeface="+mn-ea"/>
              <a:cs typeface="+mn-cs"/>
            </a:endParaRPr>
          </a:p>
        </p:txBody>
      </p:sp>
      <p:sp>
        <p:nvSpPr>
          <p:cNvPr id="2" name="Text Placeholder 1">
            <a:extLst>
              <a:ext uri="{FF2B5EF4-FFF2-40B4-BE49-F238E27FC236}">
                <a16:creationId xmlns:a16="http://schemas.microsoft.com/office/drawing/2014/main" id="{5CF596FF-602A-92B7-11D4-E6638E367E24}"/>
              </a:ext>
              <a:ext uri="{C183D7F6-B498-43B3-948B-1728B52AA6E4}">
                <adec:decorative xmlns:adec="http://schemas.microsoft.com/office/drawing/2017/decorative" val="1"/>
              </a:ext>
            </a:extLst>
          </p:cNvPr>
          <p:cNvSpPr>
            <a:spLocks noGrp="1"/>
          </p:cNvSpPr>
          <p:nvPr>
            <p:ph type="body" sz="quarter" idx="12"/>
          </p:nvPr>
        </p:nvSpPr>
        <p:spPr>
          <a:xfrm>
            <a:off x="754062" y="6080418"/>
            <a:ext cx="3070686" cy="432677"/>
          </a:xfrm>
        </p:spPr>
        <p:txBody>
          <a:bodyPr lIns="91440" tIns="45720" rIns="91440" bIns="45720" anchor="t"/>
          <a:lstStyle/>
          <a:p>
            <a:r>
              <a:rPr lang="en-US"/>
              <a:t>December 2025</a:t>
            </a:r>
          </a:p>
        </p:txBody>
      </p:sp>
    </p:spTree>
    <p:custDataLst>
      <p:tags r:id="rId1"/>
    </p:custDataLst>
    <p:extLst>
      <p:ext uri="{BB962C8B-B14F-4D97-AF65-F5344CB8AC3E}">
        <p14:creationId xmlns:p14="http://schemas.microsoft.com/office/powerpoint/2010/main" val="170341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8AD4769-389A-AB62-6068-A6E30BFB903D}"/>
            </a:ext>
          </a:extLst>
        </p:cNvPr>
        <p:cNvGrpSpPr/>
        <p:nvPr/>
      </p:nvGrpSpPr>
      <p:grpSpPr>
        <a:xfrm>
          <a:off x="0" y="0"/>
          <a:ext cx="0" cy="0"/>
          <a:chOff x="0" y="0"/>
          <a:chExt cx="0" cy="0"/>
        </a:xfrm>
      </p:grpSpPr>
      <p:sp>
        <p:nvSpPr>
          <p:cNvPr id="15" name="Text Placeholder 14">
            <a:extLst>
              <a:ext uri="{FF2B5EF4-FFF2-40B4-BE49-F238E27FC236}">
                <a16:creationId xmlns:a16="http://schemas.microsoft.com/office/drawing/2014/main" id="{DD5339D3-EE70-2AA7-98FE-30B7C6BA6994}"/>
              </a:ext>
              <a:ext uri="{C183D7F6-B498-43B3-948B-1728B52AA6E4}">
                <adec:decorative xmlns:adec="http://schemas.microsoft.com/office/drawing/2017/decorative" val="1"/>
              </a:ext>
            </a:extLst>
          </p:cNvPr>
          <p:cNvSpPr>
            <a:spLocks noGrp="1"/>
          </p:cNvSpPr>
          <p:nvPr>
            <p:ph type="body" sz="quarter" idx="10"/>
          </p:nvPr>
        </p:nvSpPr>
        <p:spPr>
          <a:xfrm>
            <a:off x="837114" y="1710444"/>
            <a:ext cx="7908301" cy="1547201"/>
          </a:xfrm>
        </p:spPr>
        <p:txBody>
          <a:bodyPr/>
          <a:lstStyle/>
          <a:p>
            <a:pPr marL="0" indent="0">
              <a:buNone/>
            </a:pPr>
            <a:r>
              <a:rPr lang="en-US" sz="2800" b="1">
                <a:solidFill>
                  <a:srgbClr val="440099"/>
                </a:solidFill>
              </a:rPr>
              <a:t>Learn about upcoming events and opportunities</a:t>
            </a:r>
          </a:p>
          <a:p>
            <a:pPr marL="0" indent="0">
              <a:buNone/>
            </a:pPr>
            <a:endParaRPr lang="en-US" sz="2000"/>
          </a:p>
          <a:p>
            <a:r>
              <a:rPr lang="en-US" sz="2000"/>
              <a:t>DEN Outreach Event Email Notifications</a:t>
            </a:r>
          </a:p>
          <a:p>
            <a:r>
              <a:rPr lang="en-US" sz="2000"/>
              <a:t>Stay Up-To-Date On Procurement Opportunities</a:t>
            </a:r>
          </a:p>
          <a:p>
            <a:r>
              <a:rPr lang="en-US" sz="2000"/>
              <a:t>Get Resources For Doing Business With DEN</a:t>
            </a:r>
          </a:p>
        </p:txBody>
      </p:sp>
      <p:sp>
        <p:nvSpPr>
          <p:cNvPr id="12" name="Text Placeholder 11">
            <a:extLst>
              <a:ext uri="{FF2B5EF4-FFF2-40B4-BE49-F238E27FC236}">
                <a16:creationId xmlns:a16="http://schemas.microsoft.com/office/drawing/2014/main" id="{6941E192-8AB6-7DF2-B2D9-9AC03E5B10BA}"/>
              </a:ext>
              <a:ext uri="{C183D7F6-B498-43B3-948B-1728B52AA6E4}">
                <adec:decorative xmlns:adec="http://schemas.microsoft.com/office/drawing/2017/decorative" val="1"/>
              </a:ext>
            </a:extLst>
          </p:cNvPr>
          <p:cNvSpPr>
            <a:spLocks noGrp="1"/>
          </p:cNvSpPr>
          <p:nvPr>
            <p:ph type="title" idx="4294967295"/>
          </p:nvPr>
        </p:nvSpPr>
        <p:spPr>
          <a:xfrm>
            <a:off x="0" y="463550"/>
            <a:ext cx="8694738" cy="5794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000"/>
              </a:spcBef>
              <a:defRPr/>
            </a:pPr>
            <a:r>
              <a:rPr lang="en-US" sz="3200">
                <a:solidFill>
                  <a:srgbClr val="440099"/>
                </a:solidFill>
                <a:latin typeface="+mn-lt"/>
                <a:ea typeface="+mn-ea"/>
                <a:cs typeface="+mn-cs"/>
              </a:rPr>
              <a:t>Connect with Us on LinkedIn</a:t>
            </a:r>
          </a:p>
        </p:txBody>
      </p:sp>
      <p:sp>
        <p:nvSpPr>
          <p:cNvPr id="2" name="TextBox 1">
            <a:extLst>
              <a:ext uri="{FF2B5EF4-FFF2-40B4-BE49-F238E27FC236}">
                <a16:creationId xmlns:a16="http://schemas.microsoft.com/office/drawing/2014/main" id="{2C3FC9D8-6958-DEAD-53E6-F7A71CF95DEF}"/>
              </a:ext>
            </a:extLst>
          </p:cNvPr>
          <p:cNvSpPr txBox="1"/>
          <p:nvPr/>
        </p:nvSpPr>
        <p:spPr>
          <a:xfrm>
            <a:off x="9531517" y="2950154"/>
            <a:ext cx="1117433" cy="1015663"/>
          </a:xfrm>
          <a:prstGeom prst="rect">
            <a:avLst/>
          </a:prstGeom>
          <a:noFill/>
        </p:spPr>
        <p:txBody>
          <a:bodyPr wrap="square" rtlCol="0">
            <a:spAutoFit/>
          </a:bodyPr>
          <a:lstStyle/>
          <a:p>
            <a:r>
              <a:rPr lang="en-US" sz="2000" b="1">
                <a:solidFill>
                  <a:srgbClr val="440099"/>
                </a:solidFill>
              </a:rPr>
              <a:t>Follow us on LinkedIn</a:t>
            </a:r>
          </a:p>
        </p:txBody>
      </p:sp>
      <p:sp>
        <p:nvSpPr>
          <p:cNvPr id="3" name="Arrow: Curved Right 2">
            <a:extLst>
              <a:ext uri="{FF2B5EF4-FFF2-40B4-BE49-F238E27FC236}">
                <a16:creationId xmlns:a16="http://schemas.microsoft.com/office/drawing/2014/main" id="{60EC88DC-8445-6AC4-FBF4-CF4AF034901C}"/>
              </a:ext>
              <a:ext uri="{C183D7F6-B498-43B3-948B-1728B52AA6E4}">
                <adec:decorative xmlns:adec="http://schemas.microsoft.com/office/drawing/2017/decorative" val="1"/>
              </a:ext>
            </a:extLst>
          </p:cNvPr>
          <p:cNvSpPr/>
          <p:nvPr/>
        </p:nvSpPr>
        <p:spPr>
          <a:xfrm>
            <a:off x="8321063" y="3925798"/>
            <a:ext cx="1117432" cy="1977768"/>
          </a:xfrm>
          <a:prstGeom prst="curvedRightArrow">
            <a:avLst/>
          </a:prstGeom>
          <a:solidFill>
            <a:srgbClr val="E35B2A"/>
          </a:solidFill>
          <a:ln>
            <a:solidFill>
              <a:srgbClr val="E35B2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 name="Picture 4" descr="A qr code redirecting to https://www.linkedin.com/company/city-&amp;-county-of-denver---department-of-aviation">
            <a:extLst>
              <a:ext uri="{FF2B5EF4-FFF2-40B4-BE49-F238E27FC236}">
                <a16:creationId xmlns:a16="http://schemas.microsoft.com/office/drawing/2014/main" id="{6FA9268B-CD1F-D628-36C1-990A3B813871}"/>
              </a:ext>
            </a:extLst>
          </p:cNvPr>
          <p:cNvPicPr>
            <a:picLocks noChangeAspect="1"/>
          </p:cNvPicPr>
          <p:nvPr/>
        </p:nvPicPr>
        <p:blipFill>
          <a:blip r:embed="rId3" cstate="email">
            <a:extLst>
              <a:ext uri="{28A0092B-C50C-407E-A947-70E740481C1C}">
                <a14:useLocalDpi xmlns:a14="http://schemas.microsoft.com/office/drawing/2010/main"/>
              </a:ext>
            </a:extLst>
          </a:blip>
          <a:srcRect l="11076" t="12532" r="12062" b="11333"/>
          <a:stretch>
            <a:fillRect/>
          </a:stretch>
        </p:blipFill>
        <p:spPr>
          <a:xfrm>
            <a:off x="9464675" y="4139243"/>
            <a:ext cx="2060576" cy="1937707"/>
          </a:xfrm>
          <a:prstGeom prst="rect">
            <a:avLst/>
          </a:prstGeom>
        </p:spPr>
      </p:pic>
    </p:spTree>
    <p:extLst>
      <p:ext uri="{BB962C8B-B14F-4D97-AF65-F5344CB8AC3E}">
        <p14:creationId xmlns:p14="http://schemas.microsoft.com/office/powerpoint/2010/main" val="2369472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DE74E068-F882-44D6-816D-9C74AB071209}"/>
              </a:ext>
              <a:ext uri="{C183D7F6-B498-43B3-948B-1728B52AA6E4}">
                <adec:decorative xmlns:adec="http://schemas.microsoft.com/office/drawing/2017/decorative" val="1"/>
              </a:ext>
            </a:extLst>
          </p:cNvPr>
          <p:cNvSpPr txBox="1">
            <a:spLocks/>
          </p:cNvSpPr>
          <p:nvPr/>
        </p:nvSpPr>
        <p:spPr>
          <a:xfrm>
            <a:off x="0" y="432560"/>
            <a:ext cx="6705600" cy="2362201"/>
          </a:xfrm>
          <a:prstGeom prst="rect">
            <a:avLst/>
          </a:prstGeom>
          <a:solidFill>
            <a:schemeClr val="tx1"/>
          </a:solidFill>
        </p:spPr>
        <p:txBody>
          <a:bodyP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en-US" sz="2400" b="0" i="0" u="none" strike="noStrike" kern="1200" cap="none" spc="0" normalizeH="0" baseline="0" noProof="0">
              <a:ln>
                <a:noFill/>
              </a:ln>
              <a:solidFill>
                <a:srgbClr val="1B2D38"/>
              </a:solidFill>
              <a:effectLst/>
              <a:uLnTx/>
              <a:uFillTx/>
              <a:latin typeface="Arial" panose="020B0604020202020204" pitchFamily="34" charset="0"/>
              <a:ea typeface="+mn-ea"/>
              <a:cs typeface="Arial" panose="020B0604020202020204" pitchFamily="34" charset="0"/>
            </a:endParaRPr>
          </a:p>
        </p:txBody>
      </p:sp>
      <p:sp>
        <p:nvSpPr>
          <p:cNvPr id="6" name="Title 5">
            <a:extLst>
              <a:ext uri="{FF2B5EF4-FFF2-40B4-BE49-F238E27FC236}">
                <a16:creationId xmlns:a16="http://schemas.microsoft.com/office/drawing/2014/main" id="{6BD7D3A5-08D2-4D78-96CF-0E3292AAF75D}"/>
              </a:ext>
            </a:extLst>
          </p:cNvPr>
          <p:cNvSpPr>
            <a:spLocks noGrp="1"/>
          </p:cNvSpPr>
          <p:nvPr>
            <p:ph type="ctrTitle"/>
          </p:nvPr>
        </p:nvSpPr>
        <p:spPr>
          <a:xfrm>
            <a:off x="156524" y="543746"/>
            <a:ext cx="6415087" cy="1276350"/>
          </a:xfrm>
        </p:spPr>
        <p:txBody>
          <a:bodyPr>
            <a:normAutofit/>
          </a:bodyPr>
          <a:lstStyle/>
          <a:p>
            <a:r>
              <a:rPr lang="en-US"/>
              <a:t>Meet the Primes  </a:t>
            </a:r>
          </a:p>
        </p:txBody>
      </p:sp>
      <p:sp>
        <p:nvSpPr>
          <p:cNvPr id="2" name="Subtitle 1">
            <a:extLst>
              <a:ext uri="{FF2B5EF4-FFF2-40B4-BE49-F238E27FC236}">
                <a16:creationId xmlns:a16="http://schemas.microsoft.com/office/drawing/2014/main" id="{66ABFA99-D5DC-86C2-7CF6-1120285AAC27}"/>
              </a:ext>
            </a:extLst>
          </p:cNvPr>
          <p:cNvSpPr>
            <a:spLocks noGrp="1"/>
          </p:cNvSpPr>
          <p:nvPr>
            <p:ph type="subTitle" idx="1"/>
          </p:nvPr>
        </p:nvSpPr>
        <p:spPr>
          <a:xfrm>
            <a:off x="156524" y="2023296"/>
            <a:ext cx="6096000" cy="654050"/>
          </a:xfrm>
        </p:spPr>
        <p:txBody>
          <a:bodyPr>
            <a:normAutofit fontScale="77500" lnSpcReduction="20000"/>
          </a:bodyPr>
          <a:lstStyle/>
          <a:p>
            <a:r>
              <a:rPr lang="en-US" b="1">
                <a:solidFill>
                  <a:schemeClr val="accent1"/>
                </a:solidFill>
              </a:rPr>
              <a:t>Denver International Airport</a:t>
            </a:r>
          </a:p>
          <a:p>
            <a:r>
              <a:rPr lang="en-US"/>
              <a:t>December 18, 2025</a:t>
            </a:r>
          </a:p>
        </p:txBody>
      </p:sp>
    </p:spTree>
    <p:extLst>
      <p:ext uri="{BB962C8B-B14F-4D97-AF65-F5344CB8AC3E}">
        <p14:creationId xmlns:p14="http://schemas.microsoft.com/office/powerpoint/2010/main" val="4081331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48BBF-AFAA-97BD-99FF-C50B738F520B}"/>
              </a:ext>
            </a:extLst>
          </p:cNvPr>
          <p:cNvSpPr>
            <a:spLocks noGrp="1"/>
          </p:cNvSpPr>
          <p:nvPr>
            <p:ph type="title"/>
          </p:nvPr>
        </p:nvSpPr>
        <p:spPr/>
        <p:txBody>
          <a:bodyPr anchor="ctr">
            <a:normAutofit fontScale="90000"/>
          </a:bodyPr>
          <a:lstStyle/>
          <a:p>
            <a:pPr>
              <a:lnSpc>
                <a:spcPct val="90000"/>
              </a:lnSpc>
            </a:pPr>
            <a:r>
              <a:rPr lang="en-US"/>
              <a:t>HNTB Aviation</a:t>
            </a:r>
          </a:p>
        </p:txBody>
      </p:sp>
      <p:pic>
        <p:nvPicPr>
          <p:cNvPr id="20" name="Content Placeholder 19" descr="The Westin Hotel &amp; Transit Center at DEN lit up in the evening light">
            <a:extLst>
              <a:ext uri="{FF2B5EF4-FFF2-40B4-BE49-F238E27FC236}">
                <a16:creationId xmlns:a16="http://schemas.microsoft.com/office/drawing/2014/main" id="{B226BC5F-7C6C-5CFB-847A-D3B889866B6E}"/>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rcRect/>
          <a:stretch/>
        </p:blipFill>
        <p:spPr>
          <a:xfrm>
            <a:off x="609600" y="1217754"/>
            <a:ext cx="2396890" cy="1346060"/>
          </a:xfrm>
          <a:prstGeom prst="rect">
            <a:avLst/>
          </a:prstGeom>
        </p:spPr>
      </p:pic>
      <p:sp>
        <p:nvSpPr>
          <p:cNvPr id="4" name="TextBox 3">
            <a:extLst>
              <a:ext uri="{FF2B5EF4-FFF2-40B4-BE49-F238E27FC236}">
                <a16:creationId xmlns:a16="http://schemas.microsoft.com/office/drawing/2014/main" id="{2AE009F0-DEF0-CFD6-90E0-50BAF0974D5F}"/>
              </a:ext>
            </a:extLst>
          </p:cNvPr>
          <p:cNvSpPr txBox="1"/>
          <p:nvPr/>
        </p:nvSpPr>
        <p:spPr>
          <a:xfrm>
            <a:off x="609601" y="2263843"/>
            <a:ext cx="2078368"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Westin Hotel &amp; Transit Center</a:t>
            </a:r>
          </a:p>
        </p:txBody>
      </p:sp>
      <p:pic>
        <p:nvPicPr>
          <p:cNvPr id="25" name="Content Placeholder 24" descr="A person with their luggage walking through the recently renovated B Gates at DEN">
            <a:extLst>
              <a:ext uri="{FF2B5EF4-FFF2-40B4-BE49-F238E27FC236}">
                <a16:creationId xmlns:a16="http://schemas.microsoft.com/office/drawing/2014/main" id="{1DD7DEA0-4D95-8AAF-B1B2-9FBC15640CA6}"/>
              </a:ext>
            </a:extLst>
          </p:cNvPr>
          <p:cNvPicPr>
            <a:picLocks noGrp="1" noChangeAspect="1"/>
          </p:cNvPicPr>
          <p:nvPr>
            <p:ph sz="half" idx="12"/>
          </p:nvPr>
        </p:nvPicPr>
        <p:blipFill rotWithShape="1">
          <a:blip r:embed="rId4" cstate="email">
            <a:extLst>
              <a:ext uri="{28A0092B-C50C-407E-A947-70E740481C1C}">
                <a14:useLocalDpi xmlns:a14="http://schemas.microsoft.com/office/drawing/2010/main"/>
              </a:ext>
            </a:extLst>
          </a:blip>
          <a:srcRect/>
          <a:stretch/>
        </p:blipFill>
        <p:spPr>
          <a:xfrm>
            <a:off x="610148" y="2638925"/>
            <a:ext cx="2398161" cy="3142739"/>
          </a:xfrm>
          <a:prstGeom prst="rect">
            <a:avLst/>
          </a:prstGeom>
        </p:spPr>
      </p:pic>
      <p:sp>
        <p:nvSpPr>
          <p:cNvPr id="3" name="TextBox 2">
            <a:extLst>
              <a:ext uri="{FF2B5EF4-FFF2-40B4-BE49-F238E27FC236}">
                <a16:creationId xmlns:a16="http://schemas.microsoft.com/office/drawing/2014/main" id="{9C38E853-5CEB-AAAA-B597-0D307660BF57}"/>
              </a:ext>
            </a:extLst>
          </p:cNvPr>
          <p:cNvSpPr txBox="1"/>
          <p:nvPr/>
        </p:nvSpPr>
        <p:spPr>
          <a:xfrm>
            <a:off x="610149" y="2674297"/>
            <a:ext cx="1758700"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Concourse B Expansion</a:t>
            </a:r>
          </a:p>
        </p:txBody>
      </p:sp>
      <p:pic>
        <p:nvPicPr>
          <p:cNvPr id="45" name="Content Placeholder 44" descr="A night-time image of a brightly lit parking garage and airport terminal&#10;">
            <a:extLst>
              <a:ext uri="{FF2B5EF4-FFF2-40B4-BE49-F238E27FC236}">
                <a16:creationId xmlns:a16="http://schemas.microsoft.com/office/drawing/2014/main" id="{2661228F-4341-02FE-A1AE-E3DE85634EA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090519" y="1217752"/>
            <a:ext cx="6351322" cy="2336223"/>
          </a:xfrm>
          <a:prstGeom prst="rect">
            <a:avLst/>
          </a:prstGeom>
        </p:spPr>
      </p:pic>
      <p:sp>
        <p:nvSpPr>
          <p:cNvPr id="18" name="TextBox 17">
            <a:extLst>
              <a:ext uri="{FF2B5EF4-FFF2-40B4-BE49-F238E27FC236}">
                <a16:creationId xmlns:a16="http://schemas.microsoft.com/office/drawing/2014/main" id="{FB5CCC4D-D3AD-3777-D42D-B8B544CE8E47}"/>
              </a:ext>
            </a:extLst>
          </p:cNvPr>
          <p:cNvSpPr txBox="1"/>
          <p:nvPr/>
        </p:nvSpPr>
        <p:spPr>
          <a:xfrm>
            <a:off x="3088700" y="1268439"/>
            <a:ext cx="3373499"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Orlando South Terminal </a:t>
            </a:r>
          </a:p>
        </p:txBody>
      </p:sp>
      <p:pic>
        <p:nvPicPr>
          <p:cNvPr id="26" name="Content Placeholder 25" descr="A wide photo of the renovated terminal at night">
            <a:extLst>
              <a:ext uri="{FF2B5EF4-FFF2-40B4-BE49-F238E27FC236}">
                <a16:creationId xmlns:a16="http://schemas.microsoft.com/office/drawing/2014/main" id="{D582F581-9F01-51DE-A9F7-8AA991CF766D}"/>
              </a:ext>
            </a:extLst>
          </p:cNvPr>
          <p:cNvPicPr>
            <a:picLocks noGrp="1" noChangeAspect="1"/>
          </p:cNvPicPr>
          <p:nvPr>
            <p:ph sz="half" idx="13"/>
          </p:nvPr>
        </p:nvPicPr>
        <p:blipFill rotWithShape="1">
          <a:blip r:embed="rId6" cstate="email">
            <a:extLst>
              <a:ext uri="{28A0092B-C50C-407E-A947-70E740481C1C}">
                <a14:useLocalDpi xmlns:a14="http://schemas.microsoft.com/office/drawing/2010/main"/>
              </a:ext>
            </a:extLst>
          </a:blip>
          <a:srcRect/>
          <a:stretch/>
        </p:blipFill>
        <p:spPr>
          <a:xfrm>
            <a:off x="3092338" y="3609474"/>
            <a:ext cx="6365987" cy="2172189"/>
          </a:xfrm>
          <a:prstGeom prst="rect">
            <a:avLst/>
          </a:prstGeom>
        </p:spPr>
      </p:pic>
      <p:sp>
        <p:nvSpPr>
          <p:cNvPr id="6" name="TextBox 5">
            <a:extLst>
              <a:ext uri="{FF2B5EF4-FFF2-40B4-BE49-F238E27FC236}">
                <a16:creationId xmlns:a16="http://schemas.microsoft.com/office/drawing/2014/main" id="{D24303B5-C9CB-CA15-6AA5-E4A871090FF5}"/>
              </a:ext>
            </a:extLst>
          </p:cNvPr>
          <p:cNvSpPr txBox="1"/>
          <p:nvPr/>
        </p:nvSpPr>
        <p:spPr>
          <a:xfrm>
            <a:off x="3092338" y="5479944"/>
            <a:ext cx="2752825"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A West Concourse Expansion</a:t>
            </a:r>
          </a:p>
        </p:txBody>
      </p:sp>
      <p:pic>
        <p:nvPicPr>
          <p:cNvPr id="28" name="Content Placeholder 27" descr="Travelers relax in comfortable seating around a fire pit on an overlook lounge designed for the Denver airport">
            <a:extLst>
              <a:ext uri="{FF2B5EF4-FFF2-40B4-BE49-F238E27FC236}">
                <a16:creationId xmlns:a16="http://schemas.microsoft.com/office/drawing/2014/main" id="{1D22BCDE-A9EA-869D-6000-67F1E162838B}"/>
              </a:ext>
            </a:extLst>
          </p:cNvPr>
          <p:cNvPicPr>
            <a:picLocks noGrp="1" noChangeAspect="1"/>
          </p:cNvPicPr>
          <p:nvPr>
            <p:ph sz="half" idx="17"/>
          </p:nvPr>
        </p:nvPicPr>
        <p:blipFill rotWithShape="1">
          <a:blip r:embed="rId7" cstate="email">
            <a:extLst>
              <a:ext uri="{28A0092B-C50C-407E-A947-70E740481C1C}">
                <a14:useLocalDpi xmlns:a14="http://schemas.microsoft.com/office/drawing/2010/main"/>
              </a:ext>
            </a:extLst>
          </a:blip>
          <a:srcRect/>
          <a:stretch/>
        </p:blipFill>
        <p:spPr>
          <a:xfrm>
            <a:off x="9542351" y="1217753"/>
            <a:ext cx="2140062" cy="2913089"/>
          </a:xfrm>
          <a:prstGeom prst="rect">
            <a:avLst/>
          </a:prstGeom>
        </p:spPr>
      </p:pic>
      <p:sp>
        <p:nvSpPr>
          <p:cNvPr id="7" name="TextBox 6">
            <a:extLst>
              <a:ext uri="{FF2B5EF4-FFF2-40B4-BE49-F238E27FC236}">
                <a16:creationId xmlns:a16="http://schemas.microsoft.com/office/drawing/2014/main" id="{FDE1F38C-9C67-ACE4-C412-4550F0FCF21D}"/>
              </a:ext>
            </a:extLst>
          </p:cNvPr>
          <p:cNvSpPr txBox="1"/>
          <p:nvPr/>
        </p:nvSpPr>
        <p:spPr>
          <a:xfrm>
            <a:off x="9542351" y="1268440"/>
            <a:ext cx="1964360"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Concourse A + B Expansion</a:t>
            </a:r>
          </a:p>
        </p:txBody>
      </p:sp>
      <p:pic>
        <p:nvPicPr>
          <p:cNvPr id="14" name="Content Placeholder 46" descr="A rendering of Tampa Airside D">
            <a:extLst>
              <a:ext uri="{FF2B5EF4-FFF2-40B4-BE49-F238E27FC236}">
                <a16:creationId xmlns:a16="http://schemas.microsoft.com/office/drawing/2014/main" id="{E68F014E-0ED6-C4AA-780F-7368C90C964A}"/>
              </a:ext>
            </a:extLst>
          </p:cNvPr>
          <p:cNvPicPr>
            <a:picLocks noGrp="1" noChangeAspect="1"/>
          </p:cNvPicPr>
          <p:nvPr>
            <p:ph sz="half" idx="15"/>
          </p:nvPr>
        </p:nvPicPr>
        <p:blipFill>
          <a:blip r:embed="rId8" cstate="email">
            <a:extLst>
              <a:ext uri="{28A0092B-C50C-407E-A947-70E740481C1C}">
                <a14:useLocalDpi xmlns:a14="http://schemas.microsoft.com/office/drawing/2010/main"/>
              </a:ext>
            </a:extLst>
          </a:blip>
          <a:srcRect/>
          <a:stretch>
            <a:fillRect/>
          </a:stretch>
        </p:blipFill>
        <p:spPr>
          <a:xfrm>
            <a:off x="9542352" y="4181530"/>
            <a:ext cx="2140061" cy="1600134"/>
          </a:xfrm>
          <a:prstGeom prst="rect">
            <a:avLst/>
          </a:prstGeom>
        </p:spPr>
      </p:pic>
      <p:sp>
        <p:nvSpPr>
          <p:cNvPr id="17" name="TextBox 16">
            <a:extLst>
              <a:ext uri="{FF2B5EF4-FFF2-40B4-BE49-F238E27FC236}">
                <a16:creationId xmlns:a16="http://schemas.microsoft.com/office/drawing/2014/main" id="{35593BB8-9977-725F-1733-B1216CF5F154}"/>
              </a:ext>
            </a:extLst>
          </p:cNvPr>
          <p:cNvSpPr txBox="1"/>
          <p:nvPr/>
        </p:nvSpPr>
        <p:spPr>
          <a:xfrm>
            <a:off x="9542351" y="5535442"/>
            <a:ext cx="2752825" cy="246221"/>
          </a:xfrm>
          <a:prstGeom prst="rect">
            <a:avLst/>
          </a:prstGeom>
          <a:noFill/>
        </p:spPr>
        <p:txBody>
          <a:bodyPr wrap="square" rtlCol="0">
            <a:spAutoFit/>
          </a:bodyPr>
          <a:lstStyle>
            <a:defPPr>
              <a:defRPr lang="en-US"/>
            </a:defPPr>
            <a:lvl1pPr>
              <a:defRPr sz="1000" b="1">
                <a:solidFill>
                  <a:schemeClr val="bg1"/>
                </a:solidFill>
                <a:latin typeface="+mj-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Tampa Airside D</a:t>
            </a:r>
          </a:p>
        </p:txBody>
      </p:sp>
      <p:sp>
        <p:nvSpPr>
          <p:cNvPr id="29" name="Footer Placeholder 28">
            <a:extLst>
              <a:ext uri="{FF2B5EF4-FFF2-40B4-BE49-F238E27FC236}">
                <a16:creationId xmlns:a16="http://schemas.microsoft.com/office/drawing/2014/main" id="{2A63EE8E-4601-1BC3-1394-87FB567CEC9A}"/>
              </a:ext>
              <a:ext uri="{C183D7F6-B498-43B3-948B-1728B52AA6E4}">
                <adec:decorative xmlns:adec="http://schemas.microsoft.com/office/drawing/2017/decorative" val="1"/>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rPr>
              <a:t>Meet the Primes | Denver International Airport</a:t>
            </a:r>
          </a:p>
        </p:txBody>
      </p:sp>
      <p:sp>
        <p:nvSpPr>
          <p:cNvPr id="30" name="Slide Number Placeholder 29">
            <a:extLst>
              <a:ext uri="{FF2B5EF4-FFF2-40B4-BE49-F238E27FC236}">
                <a16:creationId xmlns:a16="http://schemas.microsoft.com/office/drawing/2014/main" id="{DE80BD3E-6C71-50BC-4A43-1C49C6D276E7}"/>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0562F0D-1E28-4754-8F56-3AC0578EFE04}" type="slidenum">
              <a:rPr kumimoji="0" lang="en-US" sz="1100" b="0" i="0" u="none" strike="noStrike" kern="1200" cap="none" spc="0" normalizeH="0" baseline="0" noProof="0" smtClean="0">
                <a:ln>
                  <a:noFill/>
                </a:ln>
                <a:solidFill>
                  <a:srgbClr val="1B2D38">
                    <a:tint val="75000"/>
                  </a:srgbClr>
                </a:solidFill>
                <a:effectLst/>
                <a:uLnTx/>
                <a:uFillTx/>
                <a:latin typeface="Aptos Display"/>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endParaRPr>
          </a:p>
        </p:txBody>
      </p:sp>
    </p:spTree>
    <p:extLst>
      <p:ext uri="{BB962C8B-B14F-4D97-AF65-F5344CB8AC3E}">
        <p14:creationId xmlns:p14="http://schemas.microsoft.com/office/powerpoint/2010/main" val="850450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DD2AE-CA7A-F3DF-D1F9-38BF60BAEB24}"/>
            </a:ext>
          </a:extLst>
        </p:cNvPr>
        <p:cNvGrpSpPr/>
        <p:nvPr/>
      </p:nvGrpSpPr>
      <p:grpSpPr>
        <a:xfrm>
          <a:off x="0" y="0"/>
          <a:ext cx="0" cy="0"/>
          <a:chOff x="0" y="0"/>
          <a:chExt cx="0" cy="0"/>
        </a:xfrm>
      </p:grpSpPr>
      <p:sp>
        <p:nvSpPr>
          <p:cNvPr id="26" name="Text Placeholder 3">
            <a:extLst>
              <a:ext uri="{FF2B5EF4-FFF2-40B4-BE49-F238E27FC236}">
                <a16:creationId xmlns:a16="http://schemas.microsoft.com/office/drawing/2014/main" id="{6B7A9027-25BA-268D-2267-13C8AE32B4BF}"/>
              </a:ext>
              <a:ext uri="{C183D7F6-B498-43B3-948B-1728B52AA6E4}">
                <adec:decorative xmlns:adec="http://schemas.microsoft.com/office/drawing/2017/decorative" val="1"/>
              </a:ext>
            </a:extLst>
          </p:cNvPr>
          <p:cNvSpPr txBox="1">
            <a:spLocks/>
          </p:cNvSpPr>
          <p:nvPr/>
        </p:nvSpPr>
        <p:spPr>
          <a:xfrm>
            <a:off x="1" y="1210348"/>
            <a:ext cx="8610599" cy="2928839"/>
          </a:xfrm>
          <a:prstGeom prst="rect">
            <a:avLst/>
          </a:prstGeom>
          <a:solidFill>
            <a:schemeClr val="bg1">
              <a:lumMod val="95000"/>
            </a:schemeClr>
          </a:solidFill>
        </p:spPr>
        <p:txBody>
          <a:bodyP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en-US" sz="2400" b="0" i="0" u="none" strike="noStrike" kern="1200" cap="none" spc="0" normalizeH="0" baseline="0" noProof="0">
              <a:ln>
                <a:noFill/>
              </a:ln>
              <a:solidFill>
                <a:srgbClr val="1B2D38"/>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4D691354-91B6-07EC-8DD8-860FB6BDB19E}"/>
              </a:ext>
            </a:extLst>
          </p:cNvPr>
          <p:cNvSpPr>
            <a:spLocks noGrp="1"/>
          </p:cNvSpPr>
          <p:nvPr>
            <p:ph type="title"/>
          </p:nvPr>
        </p:nvSpPr>
        <p:spPr>
          <a:xfrm>
            <a:off x="112713" y="136525"/>
            <a:ext cx="9983795" cy="1187705"/>
          </a:xfrm>
        </p:spPr>
        <p:txBody>
          <a:bodyPr>
            <a:normAutofit/>
          </a:bodyPr>
          <a:lstStyle/>
          <a:p>
            <a:r>
              <a:rPr lang="en-US" err="1"/>
              <a:t>MWBE</a:t>
            </a:r>
            <a:r>
              <a:rPr lang="en-US"/>
              <a:t>/DBE Commitment &amp; Success Stories </a:t>
            </a:r>
          </a:p>
        </p:txBody>
      </p:sp>
      <p:sp>
        <p:nvSpPr>
          <p:cNvPr id="8" name="TextBox 7">
            <a:extLst>
              <a:ext uri="{FF2B5EF4-FFF2-40B4-BE49-F238E27FC236}">
                <a16:creationId xmlns:a16="http://schemas.microsoft.com/office/drawing/2014/main" id="{A83DA351-383F-62C8-C1AB-AAE3C73CCE39}"/>
              </a:ext>
            </a:extLst>
          </p:cNvPr>
          <p:cNvSpPr txBox="1"/>
          <p:nvPr/>
        </p:nvSpPr>
        <p:spPr>
          <a:xfrm>
            <a:off x="373716" y="1324230"/>
            <a:ext cx="4636884" cy="64633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err="1">
                <a:ln>
                  <a:noFill/>
                </a:ln>
                <a:solidFill>
                  <a:srgbClr val="1B2D38"/>
                </a:solidFill>
                <a:effectLst/>
                <a:uLnTx/>
                <a:uFillTx/>
                <a:latin typeface="Aptos"/>
                <a:ea typeface="+mn-ea"/>
                <a:cs typeface="+mn-cs"/>
              </a:rPr>
              <a:t>HNTB</a:t>
            </a:r>
            <a:r>
              <a:rPr kumimoji="0" lang="en-US" sz="1800" b="1" i="0" u="none" strike="noStrike" kern="1200" cap="none" spc="0" normalizeH="0" baseline="0" noProof="0">
                <a:ln>
                  <a:noFill/>
                </a:ln>
                <a:solidFill>
                  <a:srgbClr val="1B2D38"/>
                </a:solidFill>
                <a:effectLst/>
                <a:uLnTx/>
                <a:uFillTx/>
                <a:latin typeface="Aptos"/>
                <a:ea typeface="+mn-ea"/>
                <a:cs typeface="+mn-cs"/>
              </a:rPr>
              <a:t> is a Founding Sponsor of Equity in Infrastructure Project (</a:t>
            </a:r>
            <a:r>
              <a:rPr kumimoji="0" lang="en-US" sz="1800" b="1" i="0" u="none" strike="noStrike" kern="1200" cap="none" spc="0" normalizeH="0" baseline="0" noProof="0" err="1">
                <a:ln>
                  <a:noFill/>
                </a:ln>
                <a:solidFill>
                  <a:srgbClr val="1B2D38"/>
                </a:solidFill>
                <a:effectLst/>
                <a:uLnTx/>
                <a:uFillTx/>
                <a:latin typeface="Aptos"/>
                <a:ea typeface="+mn-ea"/>
                <a:cs typeface="+mn-cs"/>
              </a:rPr>
              <a:t>EIP</a:t>
            </a:r>
            <a:r>
              <a:rPr kumimoji="0" lang="en-US" sz="1800" b="1" i="0" u="none" strike="noStrike" kern="1200" cap="none" spc="0" normalizeH="0" baseline="0" noProof="0">
                <a:ln>
                  <a:noFill/>
                </a:ln>
                <a:solidFill>
                  <a:srgbClr val="1B2D38"/>
                </a:solidFill>
                <a:effectLst/>
                <a:uLnTx/>
                <a:uFillTx/>
                <a:latin typeface="Aptos"/>
                <a:ea typeface="+mn-ea"/>
                <a:cs typeface="+mn-cs"/>
              </a:rPr>
              <a:t>)</a:t>
            </a:r>
          </a:p>
        </p:txBody>
      </p:sp>
      <p:grpSp>
        <p:nvGrpSpPr>
          <p:cNvPr id="1093" name="Group 1092" descr="An image advertising the EIP Advisory Council containing the quote, &quot;It's not just what we build. It's who builds it.&quot;">
            <a:extLst>
              <a:ext uri="{FF2B5EF4-FFF2-40B4-BE49-F238E27FC236}">
                <a16:creationId xmlns:a16="http://schemas.microsoft.com/office/drawing/2014/main" id="{1297243A-DCE8-C188-C58F-9D526D8221A8}"/>
              </a:ext>
            </a:extLst>
          </p:cNvPr>
          <p:cNvGrpSpPr/>
          <p:nvPr/>
        </p:nvGrpSpPr>
        <p:grpSpPr>
          <a:xfrm>
            <a:off x="453539" y="2056983"/>
            <a:ext cx="4557061" cy="1797623"/>
            <a:chOff x="350747" y="1570642"/>
            <a:chExt cx="4695930" cy="1852402"/>
          </a:xfrm>
        </p:grpSpPr>
        <p:pic>
          <p:nvPicPr>
            <p:cNvPr id="1094" name="Picture 1093">
              <a:extLst>
                <a:ext uri="{FF2B5EF4-FFF2-40B4-BE49-F238E27FC236}">
                  <a16:creationId xmlns:a16="http://schemas.microsoft.com/office/drawing/2014/main" id="{0A4491AE-74E1-C444-37D2-0039045FA6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50747" y="1570642"/>
              <a:ext cx="4695930" cy="835291"/>
            </a:xfrm>
            <a:prstGeom prst="rect">
              <a:avLst/>
            </a:prstGeom>
          </p:spPr>
        </p:pic>
        <p:pic>
          <p:nvPicPr>
            <p:cNvPr id="1095" name="Picture 1094">
              <a:extLst>
                <a:ext uri="{FF2B5EF4-FFF2-40B4-BE49-F238E27FC236}">
                  <a16:creationId xmlns:a16="http://schemas.microsoft.com/office/drawing/2014/main" id="{734A7B4D-7B01-EE0B-E98D-1C74756DAC3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0747" y="2400209"/>
              <a:ext cx="4695930" cy="1022835"/>
            </a:xfrm>
            <a:prstGeom prst="rect">
              <a:avLst/>
            </a:prstGeom>
          </p:spPr>
        </p:pic>
      </p:grpSp>
      <p:sp>
        <p:nvSpPr>
          <p:cNvPr id="18" name="Content Placeholder 17">
            <a:extLst>
              <a:ext uri="{FF2B5EF4-FFF2-40B4-BE49-F238E27FC236}">
                <a16:creationId xmlns:a16="http://schemas.microsoft.com/office/drawing/2014/main" id="{3962A9B6-FECD-E309-29BB-798F6D715AC6}"/>
              </a:ext>
            </a:extLst>
          </p:cNvPr>
          <p:cNvSpPr>
            <a:spLocks noGrp="1"/>
          </p:cNvSpPr>
          <p:nvPr>
            <p:ph sz="half" idx="1"/>
          </p:nvPr>
        </p:nvSpPr>
        <p:spPr>
          <a:xfrm>
            <a:off x="5304413" y="1864693"/>
            <a:ext cx="2848987" cy="867015"/>
          </a:xfrm>
        </p:spPr>
        <p:txBody>
          <a:bodyPr lIns="0" tIns="0" rIns="0" bIns="0" anchor="b">
            <a:noAutofit/>
          </a:bodyPr>
          <a:lstStyle/>
          <a:p>
            <a:pPr>
              <a:spcBef>
                <a:spcPts val="600"/>
              </a:spcBef>
            </a:pPr>
            <a:r>
              <a:rPr lang="en-US" sz="1400" b="1">
                <a:solidFill>
                  <a:schemeClr val="accent1">
                    <a:lumMod val="75000"/>
                  </a:schemeClr>
                </a:solidFill>
                <a:latin typeface="+mj-lt"/>
              </a:rPr>
              <a:t>CHAIR</a:t>
            </a:r>
            <a:r>
              <a:rPr lang="en-US" sz="1400" b="1"/>
              <a:t> </a:t>
            </a:r>
          </a:p>
          <a:p>
            <a:pPr>
              <a:spcBef>
                <a:spcPts val="0"/>
              </a:spcBef>
            </a:pPr>
            <a:r>
              <a:rPr lang="en-US" sz="1600" b="1">
                <a:latin typeface="+mj-lt"/>
              </a:rPr>
              <a:t>Phil Washington</a:t>
            </a:r>
          </a:p>
          <a:p>
            <a:pPr marL="0" marR="0" lvl="0" indent="0" algn="l" defTabSz="914400" rtl="0" eaLnBrk="1" fontAlgn="auto" latinLnBrk="0" hangingPunct="1">
              <a:lnSpc>
                <a:spcPct val="90000"/>
              </a:lnSpc>
              <a:spcBef>
                <a:spcPts val="600"/>
              </a:spcBef>
              <a:buClrTx/>
              <a:buSzTx/>
              <a:buFont typeface="Wingdings" panose="05000000000000000000" pitchFamily="2" charset="2"/>
              <a:buNone/>
              <a:tabLst/>
              <a:defRPr/>
            </a:pPr>
            <a:r>
              <a:rPr kumimoji="0" lang="en-US" sz="1400" b="0" i="0" u="none" strike="noStrike" kern="1200" cap="none" spc="0" normalizeH="0" baseline="0" noProof="0">
                <a:ln>
                  <a:noFill/>
                </a:ln>
                <a:solidFill>
                  <a:srgbClr val="E7E6E6">
                    <a:lumMod val="25000"/>
                  </a:srgbClr>
                </a:solidFill>
                <a:effectLst/>
                <a:uLnTx/>
                <a:uFillTx/>
                <a:latin typeface="Arial"/>
                <a:ea typeface="+mn-ea"/>
                <a:cs typeface="+mn-cs"/>
              </a:rPr>
              <a:t>Chief Executive Officer, Denver International Airport</a:t>
            </a:r>
            <a:endParaRPr lang="en-US" sz="1800" b="1"/>
          </a:p>
        </p:txBody>
      </p:sp>
      <p:sp>
        <p:nvSpPr>
          <p:cNvPr id="20" name="Content Placeholder 19">
            <a:extLst>
              <a:ext uri="{FF2B5EF4-FFF2-40B4-BE49-F238E27FC236}">
                <a16:creationId xmlns:a16="http://schemas.microsoft.com/office/drawing/2014/main" id="{0E2B7E63-D1A1-415D-AE77-3136264279AE}"/>
              </a:ext>
            </a:extLst>
          </p:cNvPr>
          <p:cNvSpPr>
            <a:spLocks noGrp="1"/>
          </p:cNvSpPr>
          <p:nvPr>
            <p:ph sz="half" idx="14"/>
          </p:nvPr>
        </p:nvSpPr>
        <p:spPr>
          <a:xfrm>
            <a:off x="5281278" y="2988721"/>
            <a:ext cx="2848987" cy="865885"/>
          </a:xfrm>
        </p:spPr>
        <p:txBody>
          <a:bodyPr lIns="0" tIns="0" rIns="0" bIns="0" anchor="b">
            <a:noAutofit/>
          </a:bodyPr>
          <a:lstStyle/>
          <a:p>
            <a:pPr>
              <a:spcBef>
                <a:spcPts val="600"/>
              </a:spcBef>
            </a:pPr>
            <a:r>
              <a:rPr lang="en-US" sz="1400" b="1">
                <a:solidFill>
                  <a:schemeClr val="accent1">
                    <a:lumMod val="75000"/>
                  </a:schemeClr>
                </a:solidFill>
                <a:latin typeface="+mj-lt"/>
              </a:rPr>
              <a:t>ADVISORY COUNCIL CHAIR</a:t>
            </a:r>
            <a:endParaRPr lang="en-US" sz="1400">
              <a:solidFill>
                <a:schemeClr val="accent1">
                  <a:lumMod val="75000"/>
                </a:schemeClr>
              </a:solidFill>
              <a:latin typeface="+mj-lt"/>
            </a:endParaRPr>
          </a:p>
          <a:p>
            <a:pPr>
              <a:spcBef>
                <a:spcPts val="0"/>
              </a:spcBef>
            </a:pPr>
            <a:r>
              <a:rPr lang="en-US" sz="1600" b="1">
                <a:latin typeface="+mj-lt"/>
              </a:rPr>
              <a:t>Diana Mendes</a:t>
            </a:r>
          </a:p>
          <a:p>
            <a:pPr>
              <a:spcBef>
                <a:spcPts val="600"/>
              </a:spcBef>
            </a:pPr>
            <a:r>
              <a:rPr lang="en-US" sz="1400">
                <a:solidFill>
                  <a:srgbClr val="E7E6E6">
                    <a:lumMod val="25000"/>
                  </a:srgbClr>
                </a:solidFill>
                <a:latin typeface="Arial"/>
              </a:rPr>
              <a:t>Corporate President for Infrastructure and Mobility, </a:t>
            </a:r>
            <a:r>
              <a:rPr lang="en-US" sz="1400" err="1">
                <a:solidFill>
                  <a:srgbClr val="E7E6E6">
                    <a:lumMod val="25000"/>
                  </a:srgbClr>
                </a:solidFill>
                <a:latin typeface="Arial"/>
              </a:rPr>
              <a:t>HNTB</a:t>
            </a:r>
            <a:endParaRPr lang="en-US" sz="1400">
              <a:solidFill>
                <a:srgbClr val="E7E6E6">
                  <a:lumMod val="25000"/>
                </a:srgbClr>
              </a:solidFill>
              <a:latin typeface="Arial"/>
            </a:endParaRPr>
          </a:p>
        </p:txBody>
      </p:sp>
      <p:sp>
        <p:nvSpPr>
          <p:cNvPr id="3" name="Footer Placeholder 2">
            <a:extLst>
              <a:ext uri="{FF2B5EF4-FFF2-40B4-BE49-F238E27FC236}">
                <a16:creationId xmlns:a16="http://schemas.microsoft.com/office/drawing/2014/main" id="{A42B1094-B99C-3EFD-5CF2-B09830D32171}"/>
              </a:ext>
              <a:ext uri="{C183D7F6-B498-43B3-948B-1728B52AA6E4}">
                <adec:decorative xmlns:adec="http://schemas.microsoft.com/office/drawing/2017/decorative" val="1"/>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rPr>
              <a:t>Meet the Primes | Denver International Airport</a:t>
            </a:r>
          </a:p>
        </p:txBody>
      </p:sp>
      <p:sp>
        <p:nvSpPr>
          <p:cNvPr id="4" name="Slide Number Placeholder 3">
            <a:extLst>
              <a:ext uri="{FF2B5EF4-FFF2-40B4-BE49-F238E27FC236}">
                <a16:creationId xmlns:a16="http://schemas.microsoft.com/office/drawing/2014/main" id="{D756BF39-DF5D-4536-1646-B62835CEBD14}"/>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0562F0D-1E28-4754-8F56-3AC0578EFE04}" type="slidenum">
              <a:rPr kumimoji="0" lang="en-US" sz="1100" b="0" i="0" u="none" strike="noStrike" kern="1200" cap="none" spc="0" normalizeH="0" baseline="0" noProof="0" smtClean="0">
                <a:ln>
                  <a:noFill/>
                </a:ln>
                <a:solidFill>
                  <a:srgbClr val="1B2D38">
                    <a:tint val="75000"/>
                  </a:srgbClr>
                </a:solidFill>
                <a:effectLst/>
                <a:uLnTx/>
                <a:uFillTx/>
                <a:latin typeface="Aptos Display"/>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endParaRPr>
          </a:p>
        </p:txBody>
      </p:sp>
      <p:sp>
        <p:nvSpPr>
          <p:cNvPr id="9" name="TextBox 8">
            <a:extLst>
              <a:ext uri="{FF2B5EF4-FFF2-40B4-BE49-F238E27FC236}">
                <a16:creationId xmlns:a16="http://schemas.microsoft.com/office/drawing/2014/main" id="{B803EF80-9043-E27E-5110-03222F49D1B7}"/>
              </a:ext>
            </a:extLst>
          </p:cNvPr>
          <p:cNvSpPr txBox="1"/>
          <p:nvPr/>
        </p:nvSpPr>
        <p:spPr>
          <a:xfrm>
            <a:off x="373716" y="4580280"/>
            <a:ext cx="6794813"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B2D38"/>
                </a:solidFill>
                <a:effectLst/>
                <a:uLnTx/>
                <a:uFillTx/>
                <a:latin typeface="Aptos"/>
                <a:ea typeface="+mn-ea"/>
                <a:cs typeface="+mn-cs"/>
              </a:rPr>
              <a:t>Supported three firms in securing prime contracts at DEN: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B2D38"/>
                </a:solidFill>
                <a:effectLst/>
                <a:uLnTx/>
                <a:uFillTx/>
                <a:latin typeface="Aptos"/>
                <a:ea typeface="+mn-ea"/>
                <a:cs typeface="+mn-cs"/>
              </a:rPr>
              <a:t>LS Gallegos – Great Hall Program Management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B2D38"/>
                </a:solidFill>
                <a:effectLst/>
                <a:uLnTx/>
                <a:uFillTx/>
                <a:latin typeface="Aptos"/>
                <a:ea typeface="+mn-ea"/>
                <a:cs typeface="+mn-cs"/>
              </a:rPr>
              <a:t>Peak Consulting – Environmental On-Call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B2D38"/>
                </a:solidFill>
                <a:effectLst/>
                <a:uLnTx/>
                <a:uFillTx/>
                <a:latin typeface="Aptos"/>
                <a:ea typeface="+mn-ea"/>
                <a:cs typeface="+mn-cs"/>
              </a:rPr>
              <a:t>Airport Planning Group (APG) – Airport Planning On-Call </a:t>
            </a:r>
          </a:p>
        </p:txBody>
      </p:sp>
      <p:sp>
        <p:nvSpPr>
          <p:cNvPr id="11" name="TextBox 10">
            <a:extLst>
              <a:ext uri="{FF2B5EF4-FFF2-40B4-BE49-F238E27FC236}">
                <a16:creationId xmlns:a16="http://schemas.microsoft.com/office/drawing/2014/main" id="{7F07C981-5834-355E-4E28-9F1C1AAA8E56}"/>
              </a:ext>
            </a:extLst>
          </p:cNvPr>
          <p:cNvSpPr txBox="1"/>
          <p:nvPr/>
        </p:nvSpPr>
        <p:spPr>
          <a:xfrm>
            <a:off x="8851375" y="1100241"/>
            <a:ext cx="2572681"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B2D38"/>
                </a:solidFill>
                <a:effectLst/>
                <a:uLnTx/>
                <a:uFillTx/>
                <a:latin typeface="Aptos"/>
                <a:ea typeface="+mn-ea"/>
                <a:cs typeface="+mn-cs"/>
              </a:rPr>
              <a:t>Constantly Expanding Our Partnerships</a:t>
            </a:r>
          </a:p>
        </p:txBody>
      </p:sp>
      <p:pic>
        <p:nvPicPr>
          <p:cNvPr id="19" name="Picture 18" descr="HNTB team members and small business representatives chat at an HNTB Colorado office MWBE event ">
            <a:extLst>
              <a:ext uri="{FF2B5EF4-FFF2-40B4-BE49-F238E27FC236}">
                <a16:creationId xmlns:a16="http://schemas.microsoft.com/office/drawing/2014/main" id="{35F56BC9-E387-5CAB-52B4-99F5F644858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086468" y="1806594"/>
            <a:ext cx="2103728" cy="994677"/>
          </a:xfrm>
          <a:prstGeom prst="rect">
            <a:avLst/>
          </a:prstGeom>
        </p:spPr>
      </p:pic>
      <p:pic>
        <p:nvPicPr>
          <p:cNvPr id="22" name="Picture 21" descr="HNTB team members and small business representatives chat at an HNTB Colorado office MWBE event ">
            <a:extLst>
              <a:ext uri="{FF2B5EF4-FFF2-40B4-BE49-F238E27FC236}">
                <a16:creationId xmlns:a16="http://schemas.microsoft.com/office/drawing/2014/main" id="{DC007818-03AC-0061-61E5-9CA232A5AEF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085236" y="2889156"/>
            <a:ext cx="2104960" cy="1136768"/>
          </a:xfrm>
          <a:prstGeom prst="rect">
            <a:avLst/>
          </a:prstGeom>
        </p:spPr>
      </p:pic>
      <p:pic>
        <p:nvPicPr>
          <p:cNvPr id="28" name="Picture 27" descr="A group of people sitting at tables in a classroom setting at an MWBE event facilitated by HNTB">
            <a:extLst>
              <a:ext uri="{FF2B5EF4-FFF2-40B4-BE49-F238E27FC236}">
                <a16:creationId xmlns:a16="http://schemas.microsoft.com/office/drawing/2014/main" id="{31197018-EC38-A106-43FA-ADD0E3AFE63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085236" y="4097238"/>
            <a:ext cx="2104960" cy="967008"/>
          </a:xfrm>
          <a:prstGeom prst="rect">
            <a:avLst/>
          </a:prstGeom>
        </p:spPr>
      </p:pic>
      <p:pic>
        <p:nvPicPr>
          <p:cNvPr id="1122" name="Picture 1121" descr="HNTB team members and small business representatives chat at an HNTB Colorado office MWBE event ">
            <a:extLst>
              <a:ext uri="{FF2B5EF4-FFF2-40B4-BE49-F238E27FC236}">
                <a16:creationId xmlns:a16="http://schemas.microsoft.com/office/drawing/2014/main" id="{0D9B0001-24FE-1CB4-5E68-3A907D45A75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085236" y="5131697"/>
            <a:ext cx="2104960" cy="969563"/>
          </a:xfrm>
          <a:prstGeom prst="rect">
            <a:avLst/>
          </a:prstGeom>
        </p:spPr>
      </p:pic>
    </p:spTree>
    <p:extLst>
      <p:ext uri="{BB962C8B-B14F-4D97-AF65-F5344CB8AC3E}">
        <p14:creationId xmlns:p14="http://schemas.microsoft.com/office/powerpoint/2010/main" val="29196588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4D1BF-A96B-493B-9548-B3238CBA5427}"/>
              </a:ext>
            </a:extLst>
          </p:cNvPr>
          <p:cNvSpPr>
            <a:spLocks noGrp="1"/>
          </p:cNvSpPr>
          <p:nvPr>
            <p:ph type="title"/>
          </p:nvPr>
        </p:nvSpPr>
        <p:spPr/>
        <p:txBody>
          <a:bodyPr>
            <a:normAutofit fontScale="90000"/>
          </a:bodyPr>
          <a:lstStyle/>
          <a:p>
            <a:r>
              <a:rPr lang="en-US" sz="3600"/>
              <a:t>Opportunities</a:t>
            </a:r>
            <a:r>
              <a:rPr lang="en-US"/>
              <a:t> to Partner</a:t>
            </a:r>
            <a:endParaRPr lang="en-US" sz="3600"/>
          </a:p>
        </p:txBody>
      </p:sp>
      <p:sp>
        <p:nvSpPr>
          <p:cNvPr id="3" name="Text Placeholder 2">
            <a:extLst>
              <a:ext uri="{FF2B5EF4-FFF2-40B4-BE49-F238E27FC236}">
                <a16:creationId xmlns:a16="http://schemas.microsoft.com/office/drawing/2014/main" id="{75617482-BFFB-42C9-ADA9-891661E57F98}"/>
              </a:ext>
            </a:extLst>
          </p:cNvPr>
          <p:cNvSpPr>
            <a:spLocks noGrp="1"/>
          </p:cNvSpPr>
          <p:nvPr>
            <p:ph sz="half" idx="1"/>
          </p:nvPr>
        </p:nvSpPr>
        <p:spPr>
          <a:xfrm>
            <a:off x="514350" y="1390650"/>
            <a:ext cx="5314951" cy="4210050"/>
          </a:xfrm>
        </p:spPr>
        <p:txBody>
          <a:bodyPr wrap="square" numCol="2" spcCol="457200">
            <a:normAutofit/>
          </a:bodyPr>
          <a:lstStyle/>
          <a:p>
            <a:pPr lvl="0"/>
            <a:r>
              <a:rPr lang="en-US" sz="1800"/>
              <a:t>Architecture</a:t>
            </a:r>
          </a:p>
          <a:p>
            <a:r>
              <a:rPr lang="en-US" sz="1800"/>
              <a:t>Program Management Support</a:t>
            </a:r>
          </a:p>
          <a:p>
            <a:pPr lvl="0"/>
            <a:r>
              <a:rPr lang="en-US" sz="1800"/>
              <a:t>Structural Engineering</a:t>
            </a:r>
          </a:p>
          <a:p>
            <a:pPr lvl="0"/>
            <a:r>
              <a:rPr lang="en-US" sz="1800"/>
              <a:t>Civil Engineering (airside and landside)</a:t>
            </a:r>
          </a:p>
          <a:p>
            <a:pPr lvl="0"/>
            <a:r>
              <a:rPr lang="en-US" sz="1800"/>
              <a:t>Mechanical/ Electrical/Plumbing</a:t>
            </a:r>
          </a:p>
          <a:p>
            <a:pPr lvl="0"/>
            <a:r>
              <a:rPr lang="en-US" sz="1800"/>
              <a:t>Technology</a:t>
            </a:r>
          </a:p>
          <a:p>
            <a:pPr lvl="0"/>
            <a:r>
              <a:rPr lang="en-US" sz="1800"/>
              <a:t>Specialty Lighting</a:t>
            </a:r>
          </a:p>
          <a:p>
            <a:pPr lvl="0"/>
            <a:r>
              <a:rPr lang="en-US" sz="1800"/>
              <a:t>Fire Alarm/Fire Suppression</a:t>
            </a:r>
          </a:p>
          <a:p>
            <a:pPr lvl="0"/>
            <a:r>
              <a:rPr lang="en-US" sz="1800"/>
              <a:t>Life Safety/Code Consulting</a:t>
            </a:r>
          </a:p>
          <a:p>
            <a:pPr lvl="0"/>
            <a:r>
              <a:rPr lang="en-US" sz="1800"/>
              <a:t>Sustainable Design Consulting</a:t>
            </a:r>
          </a:p>
          <a:p>
            <a:pPr lvl="0"/>
            <a:r>
              <a:rPr lang="en-US" sz="1800"/>
              <a:t>Planning</a:t>
            </a:r>
          </a:p>
          <a:p>
            <a:pPr lvl="0"/>
            <a:r>
              <a:rPr lang="en-US" sz="1800"/>
              <a:t>Document Control</a:t>
            </a:r>
          </a:p>
          <a:p>
            <a:pPr lvl="0"/>
            <a:r>
              <a:rPr lang="en-US" sz="1800"/>
              <a:t>Cost Estimating</a:t>
            </a:r>
          </a:p>
          <a:p>
            <a:pPr lvl="0"/>
            <a:r>
              <a:rPr lang="en-US" sz="1800"/>
              <a:t>Wayfinding</a:t>
            </a:r>
          </a:p>
          <a:p>
            <a:pPr lvl="0"/>
            <a:r>
              <a:rPr lang="en-US" sz="1800"/>
              <a:t>Construction Management</a:t>
            </a:r>
          </a:p>
        </p:txBody>
      </p:sp>
      <p:pic>
        <p:nvPicPr>
          <p:cNvPr id="8" name="Content Placeholder 7" descr="A picture of the Denver international airport transit center.">
            <a:extLst>
              <a:ext uri="{FF2B5EF4-FFF2-40B4-BE49-F238E27FC236}">
                <a16:creationId xmlns:a16="http://schemas.microsoft.com/office/drawing/2014/main" id="{CAEFA23C-729E-47C2-B689-711EF4615F0E}"/>
              </a:ext>
            </a:extLst>
          </p:cNvPr>
          <p:cNvPicPr>
            <a:picLocks noGrp="1" noChangeAspect="1"/>
          </p:cNvPicPr>
          <p:nvPr>
            <p:ph sz="half" idx="2"/>
          </p:nvPr>
        </p:nvPicPr>
        <p:blipFill rotWithShape="1">
          <a:blip r:embed="rId3" cstate="email">
            <a:extLst>
              <a:ext uri="{28A0092B-C50C-407E-A947-70E740481C1C}">
                <a14:useLocalDpi xmlns:a14="http://schemas.microsoft.com/office/drawing/2010/main"/>
              </a:ext>
            </a:extLst>
          </a:blip>
          <a:srcRect/>
          <a:stretch/>
        </p:blipFill>
        <p:spPr>
          <a:xfrm>
            <a:off x="6096000" y="1198318"/>
            <a:ext cx="5702639" cy="4210050"/>
          </a:xfrm>
          <a:prstGeom prst="rect">
            <a:avLst/>
          </a:prstGeom>
        </p:spPr>
      </p:pic>
      <p:sp>
        <p:nvSpPr>
          <p:cNvPr id="9" name="Footer Placeholder 8">
            <a:extLst>
              <a:ext uri="{FF2B5EF4-FFF2-40B4-BE49-F238E27FC236}">
                <a16:creationId xmlns:a16="http://schemas.microsoft.com/office/drawing/2014/main" id="{C0309323-5940-28F8-3C7A-F053A93C5191}"/>
              </a:ext>
              <a:ext uri="{C183D7F6-B498-43B3-948B-1728B52AA6E4}">
                <adec:decorative xmlns:adec="http://schemas.microsoft.com/office/drawing/2017/decorative" val="1"/>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rPr>
              <a:t>Meet the Primes | Denver International Airport</a:t>
            </a:r>
          </a:p>
        </p:txBody>
      </p:sp>
      <p:sp>
        <p:nvSpPr>
          <p:cNvPr id="10" name="Slide Number Placeholder 9">
            <a:extLst>
              <a:ext uri="{FF2B5EF4-FFF2-40B4-BE49-F238E27FC236}">
                <a16:creationId xmlns:a16="http://schemas.microsoft.com/office/drawing/2014/main" id="{90513D28-6983-778F-F2D4-79D751926EBB}"/>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0562F0D-1E28-4754-8F56-3AC0578EFE04}" type="slidenum">
              <a:rPr kumimoji="0" lang="en-US" sz="1100" b="0" i="0" u="none" strike="noStrike" kern="1200" cap="none" spc="0" normalizeH="0" baseline="0" noProof="0" smtClean="0">
                <a:ln>
                  <a:noFill/>
                </a:ln>
                <a:solidFill>
                  <a:srgbClr val="1B2D38">
                    <a:tint val="75000"/>
                  </a:srgbClr>
                </a:solidFill>
                <a:effectLst/>
                <a:uLnTx/>
                <a:uFillTx/>
                <a:latin typeface="Aptos Display"/>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endParaRPr>
          </a:p>
        </p:txBody>
      </p:sp>
    </p:spTree>
    <p:extLst>
      <p:ext uri="{BB962C8B-B14F-4D97-AF65-F5344CB8AC3E}">
        <p14:creationId xmlns:p14="http://schemas.microsoft.com/office/powerpoint/2010/main" val="1031665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20897"/>
            <a:ext cx="11129865" cy="586597"/>
          </a:xfrm>
        </p:spPr>
        <p:txBody>
          <a:bodyPr lIns="0">
            <a:normAutofit fontScale="90000"/>
          </a:bodyPr>
          <a:lstStyle/>
          <a:p>
            <a:r>
              <a:rPr lang="en-US"/>
              <a:t>Let’s Connect - </a:t>
            </a:r>
            <a:r>
              <a:rPr lang="en-US" err="1"/>
              <a:t>HNTB</a:t>
            </a:r>
            <a:r>
              <a:rPr lang="en-US"/>
              <a:t> Contacts</a:t>
            </a:r>
          </a:p>
        </p:txBody>
      </p:sp>
      <p:pic>
        <p:nvPicPr>
          <p:cNvPr id="26" name="Content Placeholder 25">
            <a:extLst>
              <a:ext uri="{FF2B5EF4-FFF2-40B4-BE49-F238E27FC236}">
                <a16:creationId xmlns:a16="http://schemas.microsoft.com/office/drawing/2014/main" id="{C04FD0DD-E28B-4680-8AAB-7CB626AD45AF}"/>
              </a:ext>
              <a:ext uri="{C183D7F6-B498-43B3-948B-1728B52AA6E4}">
                <adec:decorative xmlns:adec="http://schemas.microsoft.com/office/drawing/2017/decorative" val="1"/>
              </a:ext>
            </a:extLst>
          </p:cNvPr>
          <p:cNvPicPr>
            <a:picLocks noGrp="1" noChangeAspect="1"/>
          </p:cNvPicPr>
          <p:nvPr>
            <p:ph sz="half" idx="2"/>
          </p:nvPr>
        </p:nvPicPr>
        <p:blipFill rotWithShape="1">
          <a:blip r:embed="rId3" cstate="email">
            <a:extLst>
              <a:ext uri="{28A0092B-C50C-407E-A947-70E740481C1C}">
                <a14:useLocalDpi xmlns:a14="http://schemas.microsoft.com/office/drawing/2010/main"/>
              </a:ext>
            </a:extLst>
          </a:blip>
          <a:srcRect/>
          <a:stretch/>
        </p:blipFill>
        <p:spPr>
          <a:xfrm>
            <a:off x="412765" y="1882429"/>
            <a:ext cx="1248770" cy="1258971"/>
          </a:xfrm>
          <a:prstGeom prst="rect">
            <a:avLst/>
          </a:prstGeom>
        </p:spPr>
      </p:pic>
      <p:sp>
        <p:nvSpPr>
          <p:cNvPr id="8" name="Content Placeholder 7">
            <a:extLst>
              <a:ext uri="{FF2B5EF4-FFF2-40B4-BE49-F238E27FC236}">
                <a16:creationId xmlns:a16="http://schemas.microsoft.com/office/drawing/2014/main" id="{EDD5E83A-D5C9-6ED2-A659-90D74842C3E2}"/>
              </a:ext>
            </a:extLst>
          </p:cNvPr>
          <p:cNvSpPr>
            <a:spLocks noGrp="1"/>
          </p:cNvSpPr>
          <p:nvPr>
            <p:ph sz="half" idx="12"/>
          </p:nvPr>
        </p:nvSpPr>
        <p:spPr>
          <a:xfrm>
            <a:off x="1684793" y="1882429"/>
            <a:ext cx="1642882" cy="1253182"/>
          </a:xfrm>
        </p:spPr>
        <p:txBody>
          <a:bodyPr tIns="0">
            <a:normAutofit/>
          </a:bodyPr>
          <a:lstStyle/>
          <a:p>
            <a:pPr marL="53657"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1B2D38"/>
                </a:solidFill>
                <a:effectLst/>
                <a:uLnTx/>
                <a:uFillTx/>
                <a:latin typeface="+mj-lt"/>
                <a:ea typeface="+mn-ea"/>
                <a:cs typeface="Arial"/>
              </a:rPr>
              <a:t>Chris Johnson</a:t>
            </a:r>
          </a:p>
          <a:p>
            <a:pPr marL="53657"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1B2D38"/>
                </a:solidFill>
                <a:effectLst/>
                <a:uLnTx/>
                <a:uFillTx/>
                <a:latin typeface="+mj-lt"/>
                <a:ea typeface="+mn-ea"/>
                <a:cs typeface="Arial"/>
              </a:rPr>
              <a:t>Vice President</a:t>
            </a:r>
          </a:p>
          <a:p>
            <a:pPr marL="53657" marR="0" lvl="0" fontAlgn="base">
              <a:lnSpc>
                <a:spcPct val="100000"/>
              </a:lnSpc>
              <a:spcBef>
                <a:spcPct val="0"/>
              </a:spcBef>
              <a:buClrTx/>
              <a:buSzTx/>
              <a:tabLst/>
              <a:defRPr/>
            </a:pPr>
            <a:r>
              <a:rPr lang="en-US" sz="1400" b="0" i="1">
                <a:solidFill>
                  <a:srgbClr val="1B2D38"/>
                </a:solidFill>
                <a:cs typeface="Arial"/>
              </a:rPr>
              <a:t>National Pursuit Champion</a:t>
            </a:r>
          </a:p>
        </p:txBody>
      </p:sp>
      <p:sp>
        <p:nvSpPr>
          <p:cNvPr id="1038" name="TextBox 1037">
            <a:extLst>
              <a:ext uri="{FF2B5EF4-FFF2-40B4-BE49-F238E27FC236}">
                <a16:creationId xmlns:a16="http://schemas.microsoft.com/office/drawing/2014/main" id="{428C2C34-5658-95F4-EE38-7D47F3AE476D}"/>
              </a:ext>
            </a:extLst>
          </p:cNvPr>
          <p:cNvSpPr txBox="1"/>
          <p:nvPr/>
        </p:nvSpPr>
        <p:spPr>
          <a:xfrm>
            <a:off x="1684793" y="2879252"/>
            <a:ext cx="1591423" cy="287258"/>
          </a:xfrm>
          <a:prstGeom prst="rect">
            <a:avLst/>
          </a:prstGeom>
          <a:noFill/>
        </p:spPr>
        <p:txBody>
          <a:bodyPr wrap="square" lIns="0">
            <a:spAutoFit/>
          </a:bodyPr>
          <a:lstStyle/>
          <a:p>
            <a:pPr marL="53657" marR="0" lvl="0" indent="0" algn="l" defTabSz="914400" rtl="0" eaLnBrk="1" fontAlgn="base" latinLnBrk="0" hangingPunct="1">
              <a:lnSpc>
                <a:spcPct val="110000"/>
              </a:lnSpc>
              <a:spcBef>
                <a:spcPct val="0"/>
              </a:spcBef>
              <a:spcAft>
                <a:spcPct val="0"/>
              </a:spcAft>
              <a:buClrTx/>
              <a:buSzTx/>
              <a:buFontTx/>
              <a:buNone/>
              <a:tabLst/>
              <a:defRPr/>
            </a:pPr>
            <a:r>
              <a:rPr kumimoji="0" lang="en-US" sz="1200" b="0" i="1" u="none" strike="noStrike" kern="1200" cap="none" spc="0" normalizeH="0" baseline="0" noProof="0">
                <a:ln>
                  <a:noFill/>
                </a:ln>
                <a:solidFill>
                  <a:srgbClr val="1B2D38"/>
                </a:solidFill>
                <a:effectLst/>
                <a:uLnTx/>
                <a:uFillTx/>
                <a:latin typeface="Aptos Display"/>
                <a:ea typeface="+mn-ea"/>
                <a:cs typeface="Arial"/>
              </a:rPr>
              <a:t>chrjohnson@hntb.com</a:t>
            </a:r>
          </a:p>
        </p:txBody>
      </p:sp>
      <p:sp>
        <p:nvSpPr>
          <p:cNvPr id="23" name="Content Placeholder 22">
            <a:extLst>
              <a:ext uri="{FF2B5EF4-FFF2-40B4-BE49-F238E27FC236}">
                <a16:creationId xmlns:a16="http://schemas.microsoft.com/office/drawing/2014/main" id="{528A110D-3643-1DD5-689B-444C2B09578C}"/>
              </a:ext>
            </a:extLst>
          </p:cNvPr>
          <p:cNvSpPr>
            <a:spLocks noGrp="1"/>
          </p:cNvSpPr>
          <p:nvPr>
            <p:ph sz="half" idx="16"/>
          </p:nvPr>
        </p:nvSpPr>
        <p:spPr>
          <a:xfrm>
            <a:off x="4722527" y="1882429"/>
            <a:ext cx="1615687" cy="978038"/>
          </a:xfrm>
        </p:spPr>
        <p:txBody>
          <a:bodyPr tIns="0">
            <a:normAutofit/>
          </a:bodyPr>
          <a:lstStyle/>
          <a:p>
            <a:pPr marL="53657">
              <a:lnSpc>
                <a:spcPct val="100000"/>
              </a:lnSpc>
              <a:spcBef>
                <a:spcPct val="0"/>
              </a:spcBef>
              <a:defRPr/>
            </a:pPr>
            <a:r>
              <a:rPr lang="en-US" sz="1800">
                <a:solidFill>
                  <a:srgbClr val="1B2D38"/>
                </a:solidFill>
                <a:latin typeface="+mj-lt"/>
                <a:cs typeface="Arial"/>
              </a:rPr>
              <a:t>Jena Hall, AIA</a:t>
            </a:r>
          </a:p>
          <a:p>
            <a:pPr marL="53657" fontAlgn="base">
              <a:lnSpc>
                <a:spcPct val="100000"/>
              </a:lnSpc>
              <a:spcBef>
                <a:spcPct val="0"/>
              </a:spcBef>
              <a:defRPr/>
            </a:pPr>
            <a:r>
              <a:rPr lang="en-US" sz="1200">
                <a:solidFill>
                  <a:srgbClr val="1B2D38"/>
                </a:solidFill>
                <a:latin typeface="+mj-lt"/>
                <a:cs typeface="Arial"/>
              </a:rPr>
              <a:t>Sr. Project Manager</a:t>
            </a:r>
          </a:p>
          <a:p>
            <a:pPr marL="53657" fontAlgn="base">
              <a:lnSpc>
                <a:spcPct val="100000"/>
              </a:lnSpc>
              <a:spcBef>
                <a:spcPct val="0"/>
              </a:spcBef>
              <a:defRPr/>
            </a:pPr>
            <a:r>
              <a:rPr lang="en-US" sz="1400" b="0" i="1">
                <a:solidFill>
                  <a:srgbClr val="1B2D38"/>
                </a:solidFill>
                <a:cs typeface="Arial"/>
              </a:rPr>
              <a:t>Architecture</a:t>
            </a:r>
          </a:p>
        </p:txBody>
      </p:sp>
      <p:sp>
        <p:nvSpPr>
          <p:cNvPr id="1037" name="TextBox 1036">
            <a:extLst>
              <a:ext uri="{FF2B5EF4-FFF2-40B4-BE49-F238E27FC236}">
                <a16:creationId xmlns:a16="http://schemas.microsoft.com/office/drawing/2014/main" id="{9B532863-A0BD-6EC3-BE19-A65634D51993}"/>
              </a:ext>
            </a:extLst>
          </p:cNvPr>
          <p:cNvSpPr txBox="1"/>
          <p:nvPr/>
        </p:nvSpPr>
        <p:spPr>
          <a:xfrm>
            <a:off x="4739184" y="2879252"/>
            <a:ext cx="1321160" cy="276999"/>
          </a:xfrm>
          <a:prstGeom prst="rect">
            <a:avLst/>
          </a:prstGeom>
          <a:noFill/>
        </p:spPr>
        <p:txBody>
          <a:bodyPr wrap="square" lIns="0">
            <a:spAutoFit/>
          </a:bodyPr>
          <a:lstStyle/>
          <a:p>
            <a:pPr marL="53657"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1B2D38"/>
                </a:solidFill>
                <a:effectLst/>
                <a:uLnTx/>
                <a:uFillTx/>
                <a:latin typeface="Aptos Display"/>
                <a:ea typeface="+mn-ea"/>
                <a:cs typeface="Arial"/>
              </a:rPr>
              <a:t>jlhall@hntb.com</a:t>
            </a:r>
          </a:p>
        </p:txBody>
      </p:sp>
      <p:pic>
        <p:nvPicPr>
          <p:cNvPr id="28" name="Content Placeholder 27">
            <a:extLst>
              <a:ext uri="{FF2B5EF4-FFF2-40B4-BE49-F238E27FC236}">
                <a16:creationId xmlns:a16="http://schemas.microsoft.com/office/drawing/2014/main" id="{669A0E05-BE0A-4186-8147-B49E9E0C7CEA}"/>
              </a:ext>
              <a:ext uri="{C183D7F6-B498-43B3-948B-1728B52AA6E4}">
                <adec:decorative xmlns:adec="http://schemas.microsoft.com/office/drawing/2017/decorative" val="1"/>
              </a:ext>
            </a:extLst>
          </p:cNvPr>
          <p:cNvPicPr>
            <a:picLocks noGrp="1" noChangeAspect="1"/>
          </p:cNvPicPr>
          <p:nvPr>
            <p:ph sz="half" idx="15"/>
          </p:nvPr>
        </p:nvPicPr>
        <p:blipFill>
          <a:blip r:embed="rId4" cstate="email">
            <a:extLst>
              <a:ext uri="{28A0092B-C50C-407E-A947-70E740481C1C}">
                <a14:useLocalDpi xmlns:a14="http://schemas.microsoft.com/office/drawing/2010/main"/>
              </a:ext>
            </a:extLst>
          </a:blip>
          <a:srcRect/>
          <a:stretch/>
        </p:blipFill>
        <p:spPr>
          <a:xfrm>
            <a:off x="3466050" y="1882429"/>
            <a:ext cx="1222431" cy="1266511"/>
          </a:xfrm>
          <a:prstGeom prst="rect">
            <a:avLst/>
          </a:prstGeom>
        </p:spPr>
      </p:pic>
      <p:sp>
        <p:nvSpPr>
          <p:cNvPr id="4" name="Content Placeholder 22">
            <a:extLst>
              <a:ext uri="{FF2B5EF4-FFF2-40B4-BE49-F238E27FC236}">
                <a16:creationId xmlns:a16="http://schemas.microsoft.com/office/drawing/2014/main" id="{972C0697-2491-326C-6A51-91622D557D13}"/>
              </a:ext>
            </a:extLst>
          </p:cNvPr>
          <p:cNvSpPr txBox="1">
            <a:spLocks/>
          </p:cNvSpPr>
          <p:nvPr/>
        </p:nvSpPr>
        <p:spPr>
          <a:xfrm>
            <a:off x="7725874" y="1882429"/>
            <a:ext cx="2221523" cy="1010652"/>
          </a:xfrm>
          <a:prstGeom prst="rect">
            <a:avLst/>
          </a:prstGeom>
        </p:spPr>
        <p:txBody>
          <a:bodyPr vert="horz" lIns="0" tIns="0" rIns="91440" bIns="45720" rtlCol="0">
            <a:normAutofit/>
          </a:bodyPr>
          <a:lstStyle>
            <a:lvl1pPr marL="0" indent="0" algn="l" defTabSz="914400" rtl="0" eaLnBrk="1" latinLnBrk="0" hangingPunct="1">
              <a:lnSpc>
                <a:spcPct val="90000"/>
              </a:lnSpc>
              <a:spcBef>
                <a:spcPts val="1000"/>
              </a:spcBef>
              <a:buFont typeface="Wingdings" panose="05000000000000000000" pitchFamily="2" charset="2"/>
              <a:buNone/>
              <a:defRPr sz="2000" b="1"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657" marR="0" lvl="0" indent="0" algn="l" defTabSz="91440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B2D38"/>
                </a:solidFill>
                <a:effectLst/>
                <a:uLnTx/>
                <a:uFillTx/>
                <a:latin typeface="Aptos"/>
                <a:ea typeface="+mn-ea"/>
                <a:cs typeface="Arial"/>
              </a:rPr>
              <a:t>Scott Steckler</a:t>
            </a:r>
          </a:p>
          <a:p>
            <a:pPr marL="53657" marR="0" lvl="0" indent="0" algn="l" defTabSz="914400" rtl="0" eaLnBrk="1" fontAlgn="base" latinLnBrk="0" hangingPunct="1">
              <a:lnSpc>
                <a:spcPct val="100000"/>
              </a:lnSpc>
              <a:spcBef>
                <a:spcPct val="0"/>
              </a:spcBef>
              <a:spcAft>
                <a:spcPts val="0"/>
              </a:spcAft>
              <a:buClrTx/>
              <a:buSzTx/>
              <a:buFont typeface="Wingdings" panose="05000000000000000000" pitchFamily="2" charset="2"/>
              <a:buNone/>
              <a:tabLst/>
              <a:defRPr/>
            </a:pPr>
            <a:r>
              <a:rPr kumimoji="0" lang="en-US" sz="1200" b="1" i="0" u="none" strike="noStrike" kern="1200" cap="none" spc="0" normalizeH="0" baseline="0" noProof="0">
                <a:ln>
                  <a:noFill/>
                </a:ln>
                <a:solidFill>
                  <a:srgbClr val="1B2D38"/>
                </a:solidFill>
                <a:effectLst/>
                <a:uLnTx/>
                <a:uFillTx/>
                <a:latin typeface="Aptos"/>
                <a:ea typeface="+mn-ea"/>
                <a:cs typeface="Arial"/>
              </a:rPr>
              <a:t>Vice President</a:t>
            </a:r>
          </a:p>
          <a:p>
            <a:pPr marL="53657" marR="0" lvl="0" indent="0" algn="l" defTabSz="914400" rtl="0" eaLnBrk="1" fontAlgn="base" latinLnBrk="0" hangingPunct="1">
              <a:lnSpc>
                <a:spcPct val="100000"/>
              </a:lnSpc>
              <a:spcBef>
                <a:spcPct val="0"/>
              </a:spcBef>
              <a:spcAft>
                <a:spcPts val="0"/>
              </a:spcAft>
              <a:buClrTx/>
              <a:buSzTx/>
              <a:buFont typeface="Wingdings" panose="05000000000000000000" pitchFamily="2" charset="2"/>
              <a:buNone/>
              <a:tabLst/>
              <a:defRPr/>
            </a:pPr>
            <a:r>
              <a:rPr kumimoji="0" lang="en-US" sz="1400" b="0" i="1" u="none" strike="noStrike" kern="1200" cap="none" spc="0" normalizeH="0" baseline="0" noProof="0">
                <a:ln>
                  <a:noFill/>
                </a:ln>
                <a:solidFill>
                  <a:srgbClr val="1B2D38"/>
                </a:solidFill>
                <a:effectLst/>
                <a:uLnTx/>
                <a:uFillTx/>
                <a:latin typeface="Aptos Display"/>
                <a:ea typeface="+mn-ea"/>
                <a:cs typeface="Arial"/>
              </a:rPr>
              <a:t>Aviation Architecture Managing Principal</a:t>
            </a:r>
          </a:p>
        </p:txBody>
      </p:sp>
      <p:sp>
        <p:nvSpPr>
          <p:cNvPr id="5" name="TextBox 4">
            <a:extLst>
              <a:ext uri="{FF2B5EF4-FFF2-40B4-BE49-F238E27FC236}">
                <a16:creationId xmlns:a16="http://schemas.microsoft.com/office/drawing/2014/main" id="{2AF67697-BEE7-004E-26CE-B0FCE836510B}"/>
              </a:ext>
            </a:extLst>
          </p:cNvPr>
          <p:cNvSpPr txBox="1"/>
          <p:nvPr/>
        </p:nvSpPr>
        <p:spPr>
          <a:xfrm>
            <a:off x="7714604" y="2879252"/>
            <a:ext cx="2354304" cy="276999"/>
          </a:xfrm>
          <a:prstGeom prst="rect">
            <a:avLst/>
          </a:prstGeom>
          <a:noFill/>
        </p:spPr>
        <p:txBody>
          <a:bodyPr wrap="square" lIns="0">
            <a:spAutoFit/>
          </a:bodyPr>
          <a:lstStyle/>
          <a:p>
            <a:pPr marL="53657"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1B2D38"/>
                </a:solidFill>
                <a:effectLst/>
                <a:uLnTx/>
                <a:uFillTx/>
                <a:latin typeface="Aptos Display"/>
                <a:ea typeface="+mn-ea"/>
                <a:cs typeface="Arial"/>
              </a:rPr>
              <a:t>ssteckler@hntb.com</a:t>
            </a:r>
          </a:p>
        </p:txBody>
      </p:sp>
      <p:pic>
        <p:nvPicPr>
          <p:cNvPr id="6" name="Content Placeholder 27">
            <a:extLst>
              <a:ext uri="{FF2B5EF4-FFF2-40B4-BE49-F238E27FC236}">
                <a16:creationId xmlns:a16="http://schemas.microsoft.com/office/drawing/2014/main" id="{258E10CD-9182-36E5-EAB8-6CCA83212A0B}"/>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461870" y="1882429"/>
            <a:ext cx="1223385" cy="1266511"/>
          </a:xfrm>
          <a:prstGeom prst="rect">
            <a:avLst/>
          </a:prstGeom>
        </p:spPr>
      </p:pic>
      <p:sp>
        <p:nvSpPr>
          <p:cNvPr id="19" name="Content Placeholder 18">
            <a:extLst>
              <a:ext uri="{FF2B5EF4-FFF2-40B4-BE49-F238E27FC236}">
                <a16:creationId xmlns:a16="http://schemas.microsoft.com/office/drawing/2014/main" id="{C4712394-A97B-C303-F02A-8C000E2EB837}"/>
              </a:ext>
            </a:extLst>
          </p:cNvPr>
          <p:cNvSpPr>
            <a:spLocks noGrp="1"/>
          </p:cNvSpPr>
          <p:nvPr>
            <p:ph sz="half" idx="14"/>
          </p:nvPr>
        </p:nvSpPr>
        <p:spPr>
          <a:xfrm>
            <a:off x="3160441" y="3701482"/>
            <a:ext cx="1591423" cy="1072633"/>
          </a:xfrm>
        </p:spPr>
        <p:txBody>
          <a:bodyPr tIns="0">
            <a:normAutofit fontScale="92500"/>
          </a:bodyPr>
          <a:lstStyle/>
          <a:p>
            <a:pPr marL="53657">
              <a:lnSpc>
                <a:spcPct val="100000"/>
              </a:lnSpc>
              <a:spcBef>
                <a:spcPct val="0"/>
              </a:spcBef>
              <a:defRPr/>
            </a:pPr>
            <a:r>
              <a:rPr lang="en-US" sz="1800">
                <a:solidFill>
                  <a:srgbClr val="1B2D38"/>
                </a:solidFill>
                <a:latin typeface="+mj-lt"/>
                <a:cs typeface="Arial"/>
              </a:rPr>
              <a:t>Rob McFadden, PE</a:t>
            </a:r>
          </a:p>
          <a:p>
            <a:pPr marL="53657" fontAlgn="base">
              <a:lnSpc>
                <a:spcPct val="100000"/>
              </a:lnSpc>
              <a:spcBef>
                <a:spcPct val="0"/>
              </a:spcBef>
              <a:defRPr/>
            </a:pPr>
            <a:r>
              <a:rPr lang="en-US" sz="1400" b="0" i="1">
                <a:solidFill>
                  <a:srgbClr val="1B2D38"/>
                </a:solidFill>
                <a:cs typeface="Arial"/>
              </a:rPr>
              <a:t>Civil Aviation Department Manager</a:t>
            </a:r>
          </a:p>
        </p:txBody>
      </p:sp>
      <p:sp>
        <p:nvSpPr>
          <p:cNvPr id="1035" name="TextBox 1034">
            <a:extLst>
              <a:ext uri="{FF2B5EF4-FFF2-40B4-BE49-F238E27FC236}">
                <a16:creationId xmlns:a16="http://schemas.microsoft.com/office/drawing/2014/main" id="{9AFA0CA8-C490-8EAF-9DAB-0CDBCFAE5015}"/>
              </a:ext>
            </a:extLst>
          </p:cNvPr>
          <p:cNvSpPr txBox="1"/>
          <p:nvPr/>
        </p:nvSpPr>
        <p:spPr>
          <a:xfrm>
            <a:off x="3173363" y="4755640"/>
            <a:ext cx="2354304" cy="279307"/>
          </a:xfrm>
          <a:prstGeom prst="rect">
            <a:avLst/>
          </a:prstGeom>
          <a:noFill/>
        </p:spPr>
        <p:txBody>
          <a:bodyPr wrap="square" lIns="0">
            <a:spAutoFit/>
          </a:bodyPr>
          <a:lstStyle/>
          <a:p>
            <a:pPr marL="53657" marR="0" lvl="0" indent="0" algn="l" defTabSz="914400" rtl="0" eaLnBrk="1" fontAlgn="base" latinLnBrk="0" hangingPunct="1">
              <a:lnSpc>
                <a:spcPct val="110000"/>
              </a:lnSpc>
              <a:spcBef>
                <a:spcPct val="0"/>
              </a:spcBef>
              <a:spcAft>
                <a:spcPct val="0"/>
              </a:spcAft>
              <a:buClrTx/>
              <a:buSzTx/>
              <a:buFontTx/>
              <a:buNone/>
              <a:tabLst/>
              <a:defRPr/>
            </a:pPr>
            <a:r>
              <a:rPr kumimoji="0" lang="en-US" sz="1200" b="0" i="1" u="none" strike="noStrike" kern="1200" cap="none" spc="0" normalizeH="0" baseline="0" noProof="0">
                <a:ln>
                  <a:noFill/>
                </a:ln>
                <a:solidFill>
                  <a:srgbClr val="1B2D38"/>
                </a:solidFill>
                <a:effectLst/>
                <a:uLnTx/>
                <a:uFillTx/>
                <a:latin typeface="Aptos Display"/>
                <a:ea typeface="+mn-ea"/>
                <a:cs typeface="Arial"/>
              </a:rPr>
              <a:t>rmcfadden@hntb.com</a:t>
            </a:r>
          </a:p>
        </p:txBody>
      </p:sp>
      <p:pic>
        <p:nvPicPr>
          <p:cNvPr id="27" name="Content Placeholder 26">
            <a:extLst>
              <a:ext uri="{FF2B5EF4-FFF2-40B4-BE49-F238E27FC236}">
                <a16:creationId xmlns:a16="http://schemas.microsoft.com/office/drawing/2014/main" id="{ABA32637-531C-4357-B7A5-4D92858AE2B7}"/>
              </a:ext>
              <a:ext uri="{C183D7F6-B498-43B3-948B-1728B52AA6E4}">
                <adec:decorative xmlns:adec="http://schemas.microsoft.com/office/drawing/2017/decorative" val="1"/>
              </a:ext>
            </a:extLst>
          </p:cNvPr>
          <p:cNvPicPr>
            <a:picLocks noGrp="1" noChangeAspect="1"/>
          </p:cNvPicPr>
          <p:nvPr>
            <p:ph sz="half" idx="13"/>
          </p:nvPr>
        </p:nvPicPr>
        <p:blipFill rotWithShape="1">
          <a:blip r:embed="rId6" cstate="email">
            <a:extLst>
              <a:ext uri="{28A0092B-C50C-407E-A947-70E740481C1C}">
                <a14:useLocalDpi xmlns:a14="http://schemas.microsoft.com/office/drawing/2010/main"/>
              </a:ext>
            </a:extLst>
          </a:blip>
          <a:srcRect/>
          <a:stretch/>
        </p:blipFill>
        <p:spPr>
          <a:xfrm>
            <a:off x="1904037" y="3701482"/>
            <a:ext cx="1223385" cy="1272624"/>
          </a:xfrm>
          <a:prstGeom prst="rect">
            <a:avLst/>
          </a:prstGeom>
        </p:spPr>
      </p:pic>
      <p:sp>
        <p:nvSpPr>
          <p:cNvPr id="25" name="Content Placeholder 24">
            <a:extLst>
              <a:ext uri="{FF2B5EF4-FFF2-40B4-BE49-F238E27FC236}">
                <a16:creationId xmlns:a16="http://schemas.microsoft.com/office/drawing/2014/main" id="{B2A89D88-82C5-C841-0787-646DB367E774}"/>
              </a:ext>
            </a:extLst>
          </p:cNvPr>
          <p:cNvSpPr>
            <a:spLocks noGrp="1"/>
          </p:cNvSpPr>
          <p:nvPr>
            <p:ph sz="half" idx="18"/>
          </p:nvPr>
        </p:nvSpPr>
        <p:spPr>
          <a:xfrm>
            <a:off x="6225839" y="3701482"/>
            <a:ext cx="2218555" cy="1080201"/>
          </a:xfrm>
        </p:spPr>
        <p:txBody>
          <a:bodyPr tIns="0">
            <a:normAutofit/>
          </a:bodyPr>
          <a:lstStyle/>
          <a:p>
            <a:pPr marL="53657">
              <a:lnSpc>
                <a:spcPct val="110000"/>
              </a:lnSpc>
              <a:spcBef>
                <a:spcPct val="0"/>
              </a:spcBef>
              <a:defRPr/>
            </a:pPr>
            <a:r>
              <a:rPr lang="en-US" sz="1800">
                <a:solidFill>
                  <a:srgbClr val="1B2D38"/>
                </a:solidFill>
                <a:latin typeface="+mj-lt"/>
                <a:cs typeface="Arial"/>
              </a:rPr>
              <a:t>Jim Childs</a:t>
            </a:r>
          </a:p>
          <a:p>
            <a:pPr marL="53657" fontAlgn="base">
              <a:lnSpc>
                <a:spcPct val="110000"/>
              </a:lnSpc>
              <a:spcBef>
                <a:spcPct val="0"/>
              </a:spcBef>
              <a:defRPr/>
            </a:pPr>
            <a:r>
              <a:rPr lang="en-US" sz="1200">
                <a:solidFill>
                  <a:srgbClr val="1B2D38"/>
                </a:solidFill>
                <a:latin typeface="+mj-lt"/>
                <a:cs typeface="Arial"/>
              </a:rPr>
              <a:t>Associate Vice President</a:t>
            </a:r>
          </a:p>
          <a:p>
            <a:pPr marL="53657" fontAlgn="base">
              <a:lnSpc>
                <a:spcPct val="110000"/>
              </a:lnSpc>
              <a:spcBef>
                <a:spcPct val="0"/>
              </a:spcBef>
              <a:defRPr/>
            </a:pPr>
            <a:r>
              <a:rPr lang="en-US" sz="1400" b="0" i="1">
                <a:solidFill>
                  <a:srgbClr val="1B2D38"/>
                </a:solidFill>
                <a:cs typeface="Arial"/>
              </a:rPr>
              <a:t>Project Director, Architecture</a:t>
            </a:r>
          </a:p>
        </p:txBody>
      </p:sp>
      <p:sp>
        <p:nvSpPr>
          <p:cNvPr id="1036" name="TextBox 1035">
            <a:extLst>
              <a:ext uri="{FF2B5EF4-FFF2-40B4-BE49-F238E27FC236}">
                <a16:creationId xmlns:a16="http://schemas.microsoft.com/office/drawing/2014/main" id="{08430407-063C-39DD-683B-9FDEAC58F464}"/>
              </a:ext>
            </a:extLst>
          </p:cNvPr>
          <p:cNvSpPr txBox="1"/>
          <p:nvPr/>
        </p:nvSpPr>
        <p:spPr>
          <a:xfrm>
            <a:off x="6213799" y="4755640"/>
            <a:ext cx="2354304" cy="279307"/>
          </a:xfrm>
          <a:prstGeom prst="rect">
            <a:avLst/>
          </a:prstGeom>
          <a:noFill/>
        </p:spPr>
        <p:txBody>
          <a:bodyPr wrap="square" lIns="0">
            <a:spAutoFit/>
          </a:bodyPr>
          <a:lstStyle/>
          <a:p>
            <a:pPr marL="53657" marR="0" lvl="0" indent="0" algn="l" defTabSz="914400" rtl="0" eaLnBrk="1" fontAlgn="base" latinLnBrk="0" hangingPunct="1">
              <a:lnSpc>
                <a:spcPct val="110000"/>
              </a:lnSpc>
              <a:spcBef>
                <a:spcPct val="0"/>
              </a:spcBef>
              <a:spcAft>
                <a:spcPct val="0"/>
              </a:spcAft>
              <a:buClrTx/>
              <a:buSzTx/>
              <a:buFontTx/>
              <a:buNone/>
              <a:tabLst/>
              <a:defRPr/>
            </a:pPr>
            <a:r>
              <a:rPr kumimoji="0" lang="en-US" sz="1200" b="0" i="1" u="none" strike="noStrike" kern="1200" cap="none" spc="0" normalizeH="0" baseline="0" noProof="0">
                <a:ln>
                  <a:noFill/>
                </a:ln>
                <a:solidFill>
                  <a:srgbClr val="1B2D38"/>
                </a:solidFill>
                <a:effectLst/>
                <a:uLnTx/>
                <a:uFillTx/>
                <a:latin typeface="Aptos Display"/>
                <a:ea typeface="+mn-ea"/>
                <a:cs typeface="Arial"/>
              </a:rPr>
              <a:t>jchilds@hntb.com</a:t>
            </a:r>
          </a:p>
        </p:txBody>
      </p:sp>
      <p:pic>
        <p:nvPicPr>
          <p:cNvPr id="29" name="Picture 2">
            <a:extLst>
              <a:ext uri="{FF2B5EF4-FFF2-40B4-BE49-F238E27FC236}">
                <a16:creationId xmlns:a16="http://schemas.microsoft.com/office/drawing/2014/main" id="{CEEEB652-E0BA-494F-B8E9-A9ECFB5B5897}"/>
              </a:ext>
              <a:ext uri="{C183D7F6-B498-43B3-948B-1728B52AA6E4}">
                <adec:decorative xmlns:adec="http://schemas.microsoft.com/office/drawing/2017/decorative" val="1"/>
              </a:ext>
            </a:extLst>
          </p:cNvPr>
          <p:cNvPicPr>
            <a:picLocks noGrp="1" noChangeAspect="1" noChangeArrowheads="1"/>
          </p:cNvPicPr>
          <p:nvPr>
            <p:ph sz="half" idx="17"/>
          </p:nvPr>
        </p:nvPicPr>
        <p:blipFill rotWithShape="1">
          <a:blip r:embed="rId7" cstate="email">
            <a:extLst>
              <a:ext uri="{28A0092B-C50C-407E-A947-70E740481C1C}">
                <a14:useLocalDpi xmlns:a14="http://schemas.microsoft.com/office/drawing/2010/main"/>
              </a:ext>
            </a:extLst>
          </a:blip>
          <a:srcRect/>
          <a:stretch/>
        </p:blipFill>
        <p:spPr bwMode="auto">
          <a:xfrm>
            <a:off x="4960621" y="3701482"/>
            <a:ext cx="1223385" cy="1272298"/>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3">
            <a:extLst>
              <a:ext uri="{FF2B5EF4-FFF2-40B4-BE49-F238E27FC236}">
                <a16:creationId xmlns:a16="http://schemas.microsoft.com/office/drawing/2014/main" id="{B40904DB-A7F6-4186-B3B6-F624FB609B51}"/>
              </a:ext>
              <a:ext uri="{C183D7F6-B498-43B3-948B-1728B52AA6E4}">
                <adec:decorative xmlns:adec="http://schemas.microsoft.com/office/drawing/2017/decorative" val="1"/>
              </a:ext>
            </a:extLst>
          </p:cNvPr>
          <p:cNvSpPr txBox="1">
            <a:spLocks/>
          </p:cNvSpPr>
          <p:nvPr/>
        </p:nvSpPr>
        <p:spPr>
          <a:xfrm>
            <a:off x="9561410" y="0"/>
            <a:ext cx="2173746" cy="6076948"/>
          </a:xfrm>
          <a:prstGeom prst="rect">
            <a:avLst/>
          </a:prstGeom>
          <a:solidFill>
            <a:schemeClr val="bg1">
              <a:lumMod val="95000"/>
            </a:schemeClr>
          </a:solidFill>
        </p:spPr>
        <p:txBody>
          <a:bodyP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en-US" sz="2400" b="0" i="0" u="none" strike="noStrike" kern="1200" cap="none" spc="0" normalizeH="0" baseline="0" noProof="0">
              <a:ln>
                <a:noFill/>
              </a:ln>
              <a:solidFill>
                <a:srgbClr val="1B2D38"/>
              </a:solidFill>
              <a:effectLst/>
              <a:uLnTx/>
              <a:uFillTx/>
              <a:latin typeface="Arial" panose="020B0604020202020204" pitchFamily="34" charset="0"/>
              <a:ea typeface="+mn-ea"/>
              <a:cs typeface="Arial" panose="020B0604020202020204" pitchFamily="34" charset="0"/>
            </a:endParaRPr>
          </a:p>
        </p:txBody>
      </p:sp>
      <p:sp>
        <p:nvSpPr>
          <p:cNvPr id="13" name="Text Placeholder 3">
            <a:extLst>
              <a:ext uri="{FF2B5EF4-FFF2-40B4-BE49-F238E27FC236}">
                <a16:creationId xmlns:a16="http://schemas.microsoft.com/office/drawing/2014/main" id="{B59DF7F7-4675-4DA9-BD06-37D2AD791409}"/>
              </a:ext>
            </a:extLst>
          </p:cNvPr>
          <p:cNvSpPr txBox="1">
            <a:spLocks/>
          </p:cNvSpPr>
          <p:nvPr/>
        </p:nvSpPr>
        <p:spPr>
          <a:xfrm>
            <a:off x="9384890" y="65166"/>
            <a:ext cx="2514600" cy="1916032"/>
          </a:xfrm>
          <a:prstGeom prst="rect">
            <a:avLst/>
          </a:prstGeom>
          <a:noFill/>
        </p:spPr>
        <p:txBody>
          <a:bodyPr anchor="ct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ctr" defTabSz="914400" rtl="0" eaLnBrk="1" fontAlgn="auto" latinLnBrk="0" hangingPunct="1">
              <a:lnSpc>
                <a:spcPct val="100000"/>
              </a:lnSpc>
              <a:spcBef>
                <a:spcPct val="20000"/>
              </a:spcBef>
              <a:spcAft>
                <a:spcPts val="0"/>
              </a:spcAft>
              <a:buClrTx/>
              <a:buSzTx/>
              <a:buFont typeface="Wingdings" pitchFamily="2" charset="2"/>
              <a:buNone/>
              <a:tabLst/>
              <a:defRPr/>
            </a:pPr>
            <a: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t>Delivering projects at</a:t>
            </a:r>
            <a:r>
              <a:rPr kumimoji="0" lang="en-US" sz="1400" b="0" i="0" u="none" strike="noStrike" kern="1200" cap="none" spc="0" normalizeH="0" baseline="0" noProof="0">
                <a:ln>
                  <a:noFill/>
                </a:ln>
                <a:solidFill>
                  <a:srgbClr val="1B2D38"/>
                </a:solidFill>
                <a:effectLst/>
                <a:uLnTx/>
                <a:uFillTx/>
                <a:latin typeface="Arial" panose="020B0604020202020204" pitchFamily="34" charset="0"/>
                <a:ea typeface="+mn-ea"/>
                <a:cs typeface="Arial" panose="020B0604020202020204" pitchFamily="34" charset="0"/>
              </a:rPr>
              <a:t> </a:t>
            </a:r>
            <a:r>
              <a:rPr kumimoji="0" lang="en-US" sz="3600" b="1" i="0" u="none" strike="noStrike" kern="1200" cap="none" spc="0" normalizeH="0" baseline="0" noProof="0">
                <a:ln>
                  <a:noFill/>
                </a:ln>
                <a:solidFill>
                  <a:srgbClr val="532476"/>
                </a:solidFill>
                <a:effectLst/>
                <a:uLnTx/>
                <a:uFillTx/>
                <a:latin typeface="Arial Black" panose="020B0A04020102020204" pitchFamily="34" charset="0"/>
                <a:ea typeface="+mn-ea"/>
                <a:cs typeface="Arial" panose="020B0604020202020204" pitchFamily="34" charset="0"/>
              </a:rPr>
              <a:t>DEN</a:t>
            </a:r>
            <a:r>
              <a:rPr kumimoji="0" lang="en-US" sz="2800" b="1" i="0" u="none" strike="noStrike" kern="1200" cap="none" spc="0" normalizeH="0" baseline="0" noProof="0">
                <a:ln>
                  <a:noFill/>
                </a:ln>
                <a:solidFill>
                  <a:srgbClr val="1B2D38"/>
                </a:solidFill>
                <a:effectLst/>
                <a:uLnTx/>
                <a:uFillTx/>
                <a:latin typeface="Arial Black" panose="020B0A04020102020204" pitchFamily="34" charset="0"/>
                <a:ea typeface="+mn-ea"/>
                <a:cs typeface="Arial" panose="020B0604020202020204" pitchFamily="34" charset="0"/>
              </a:rPr>
              <a:t> </a:t>
            </a:r>
            <a:br>
              <a:rPr kumimoji="0" lang="en-US" sz="2800" b="1" i="0" u="none" strike="noStrike" kern="1200" cap="none" spc="0" normalizeH="0" baseline="0" noProof="0">
                <a:ln>
                  <a:noFill/>
                </a:ln>
                <a:solidFill>
                  <a:srgbClr val="1B2D38"/>
                </a:solidFill>
                <a:effectLst/>
                <a:uLnTx/>
                <a:uFillTx/>
                <a:latin typeface="Interstate-Light" panose="02000606030000020004" pitchFamily="2" charset="0"/>
                <a:ea typeface="+mn-ea"/>
                <a:cs typeface="Arial" panose="020B0604020202020204" pitchFamily="34" charset="0"/>
              </a:rPr>
            </a:br>
            <a: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t>since</a:t>
            </a:r>
            <a:r>
              <a:rPr kumimoji="0" lang="en-US" sz="1400" b="0" i="0" u="none" strike="noStrike" kern="1200" cap="none" spc="0" normalizeH="0" baseline="0" noProof="0">
                <a:ln>
                  <a:noFill/>
                </a:ln>
                <a:solidFill>
                  <a:srgbClr val="1B2D38"/>
                </a:solidFill>
                <a:effectLst/>
                <a:uLnTx/>
                <a:uFillTx/>
                <a:latin typeface="Arial" panose="020B0604020202020204" pitchFamily="34" charset="0"/>
                <a:ea typeface="+mn-ea"/>
                <a:cs typeface="Arial" panose="020B0604020202020204" pitchFamily="34" charset="0"/>
              </a:rPr>
              <a:t> </a:t>
            </a:r>
            <a:br>
              <a:rPr kumimoji="0" lang="en-US" sz="1400" b="0" i="0" u="none" strike="noStrike" kern="1200" cap="none" spc="0" normalizeH="0" baseline="0" noProof="0">
                <a:ln>
                  <a:noFill/>
                </a:ln>
                <a:solidFill>
                  <a:srgbClr val="1B2D38"/>
                </a:solidFill>
                <a:effectLst/>
                <a:uLnTx/>
                <a:uFillTx/>
                <a:latin typeface="Interstate-Light" panose="02000606030000020004" pitchFamily="2" charset="0"/>
                <a:ea typeface="+mn-ea"/>
                <a:cs typeface="Arial" panose="020B0604020202020204" pitchFamily="34" charset="0"/>
              </a:rPr>
            </a:br>
            <a:r>
              <a:rPr kumimoji="0" lang="en-US" sz="3200" b="1" i="0" u="none" strike="noStrike" kern="1200" cap="none" spc="0" normalizeH="0" baseline="0" noProof="0">
                <a:ln>
                  <a:noFill/>
                </a:ln>
                <a:solidFill>
                  <a:srgbClr val="1B2D38"/>
                </a:solidFill>
                <a:effectLst/>
                <a:uLnTx/>
                <a:uFillTx/>
                <a:latin typeface="Aptos"/>
                <a:ea typeface="+mn-ea"/>
                <a:cs typeface="Arial" panose="020B0604020202020204" pitchFamily="34" charset="0"/>
              </a:rPr>
              <a:t>1990</a:t>
            </a:r>
            <a:endParaRPr kumimoji="0" lang="en-US" sz="2800" b="1" i="0" u="none" strike="noStrike" kern="1200" cap="none" spc="0" normalizeH="0" baseline="0" noProof="0">
              <a:ln>
                <a:noFill/>
              </a:ln>
              <a:solidFill>
                <a:srgbClr val="1B2D38"/>
              </a:solidFill>
              <a:effectLst/>
              <a:uLnTx/>
              <a:uFillTx/>
              <a:latin typeface="Aptos"/>
              <a:ea typeface="+mn-ea"/>
              <a:cs typeface="Arial" panose="020B0604020202020204" pitchFamily="34" charset="0"/>
            </a:endParaRPr>
          </a:p>
        </p:txBody>
      </p:sp>
      <p:sp>
        <p:nvSpPr>
          <p:cNvPr id="21" name="Text Placeholder 3">
            <a:extLst>
              <a:ext uri="{FF2B5EF4-FFF2-40B4-BE49-F238E27FC236}">
                <a16:creationId xmlns:a16="http://schemas.microsoft.com/office/drawing/2014/main" id="{B0A1A62C-DC79-496E-BD18-725DF0E3BEAC}"/>
              </a:ext>
            </a:extLst>
          </p:cNvPr>
          <p:cNvSpPr txBox="1">
            <a:spLocks/>
          </p:cNvSpPr>
          <p:nvPr/>
        </p:nvSpPr>
        <p:spPr>
          <a:xfrm>
            <a:off x="9590809" y="2133603"/>
            <a:ext cx="2078182" cy="2285997"/>
          </a:xfrm>
          <a:prstGeom prst="rect">
            <a:avLst/>
          </a:prstGeom>
          <a:noFill/>
        </p:spPr>
        <p:txBody>
          <a:bodyPr lIns="91440" tIns="45720" rIns="91440" bIns="45720" anchor="ct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ctr" defTabSz="914400" rtl="0" eaLnBrk="1" fontAlgn="auto" latinLnBrk="0" hangingPunct="1">
              <a:lnSpc>
                <a:spcPct val="100000"/>
              </a:lnSpc>
              <a:spcBef>
                <a:spcPct val="20000"/>
              </a:spcBef>
              <a:spcAft>
                <a:spcPts val="0"/>
              </a:spcAft>
              <a:buClrTx/>
              <a:buSzTx/>
              <a:buFont typeface="Wingdings" pitchFamily="2" charset="2"/>
              <a:buNone/>
              <a:tabLst/>
              <a:defRPr/>
            </a:pPr>
            <a:r>
              <a:rPr kumimoji="0" lang="en-US" sz="3600" b="1" i="0" u="none" strike="noStrike" kern="1200" cap="none" spc="0" normalizeH="0" baseline="0" noProof="0">
                <a:ln>
                  <a:noFill/>
                </a:ln>
                <a:solidFill>
                  <a:srgbClr val="1E3040">
                    <a:lumMod val="75000"/>
                    <a:lumOff val="25000"/>
                  </a:srgbClr>
                </a:solidFill>
                <a:effectLst/>
                <a:uLnTx/>
                <a:uFillTx/>
                <a:latin typeface="Aptos"/>
                <a:ea typeface="+mn-ea"/>
                <a:cs typeface="Arial" panose="020B0604020202020204" pitchFamily="34" charset="0"/>
              </a:rPr>
              <a:t>$1B+</a:t>
            </a:r>
          </a:p>
          <a:p>
            <a:pPr marL="6350" marR="0" lvl="0" indent="0" algn="ctr" defTabSz="914400" rtl="0" eaLnBrk="1" fontAlgn="auto" latinLnBrk="0" hangingPunct="1">
              <a:lnSpc>
                <a:spcPct val="100000"/>
              </a:lnSpc>
              <a:spcBef>
                <a:spcPct val="20000"/>
              </a:spcBef>
              <a:spcAft>
                <a:spcPts val="0"/>
              </a:spcAft>
              <a:buClrTx/>
              <a:buSzTx/>
              <a:buFont typeface="Wingdings" pitchFamily="2" charset="2"/>
              <a:buNone/>
              <a:tabLst/>
              <a:defRPr/>
            </a:pPr>
            <a: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t>capital improvement projects supported at DEN in the past 10 years</a:t>
            </a:r>
          </a:p>
        </p:txBody>
      </p:sp>
      <p:sp>
        <p:nvSpPr>
          <p:cNvPr id="14" name="Text Placeholder 3">
            <a:extLst>
              <a:ext uri="{FF2B5EF4-FFF2-40B4-BE49-F238E27FC236}">
                <a16:creationId xmlns:a16="http://schemas.microsoft.com/office/drawing/2014/main" id="{FEF85660-E92C-45FC-A7BA-A931F53EA2CC}"/>
              </a:ext>
            </a:extLst>
          </p:cNvPr>
          <p:cNvSpPr txBox="1">
            <a:spLocks/>
          </p:cNvSpPr>
          <p:nvPr/>
        </p:nvSpPr>
        <p:spPr>
          <a:xfrm>
            <a:off x="9357093" y="4572001"/>
            <a:ext cx="2514600" cy="1504947"/>
          </a:xfrm>
          <a:prstGeom prst="rect">
            <a:avLst/>
          </a:prstGeom>
          <a:noFill/>
        </p:spPr>
        <p:txBody>
          <a:bodyPr anchor="ctr"/>
          <a:lstStyle>
            <a:lvl1pPr marL="346075" indent="-339725" algn="l" defTabSz="914400" rtl="0" eaLnBrk="1" latinLnBrk="0" hangingPunct="1">
              <a:spcBef>
                <a:spcPct val="20000"/>
              </a:spcBef>
              <a:buFont typeface="Wingdings" pitchFamily="2" charset="2"/>
              <a:buChar char="§"/>
              <a:tabLst/>
              <a:defRPr sz="2400" kern="1200">
                <a:solidFill>
                  <a:schemeClr val="tx1"/>
                </a:solidFill>
                <a:latin typeface="Arial" panose="020B0604020202020204" pitchFamily="34" charset="0"/>
                <a:ea typeface="+mn-ea"/>
                <a:cs typeface="Arial" panose="020B0604020202020204" pitchFamily="34" charset="0"/>
              </a:defRPr>
            </a:lvl1pPr>
            <a:lvl2pPr marL="630238" indent="-292100" algn="l" defTabSz="914400" rtl="0" eaLnBrk="1" latinLnBrk="0" hangingPunct="1">
              <a:spcBef>
                <a:spcPct val="20000"/>
              </a:spcBef>
              <a:buFont typeface="Arial"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Font typeface="Arial"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2065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435100" indent="-228600" algn="l" defTabSz="914400" rtl="0" eaLnBrk="1" latinLnBrk="0" hangingPunct="1">
              <a:spcBef>
                <a:spcPct val="20000"/>
              </a:spcBef>
              <a:buFont typeface="Arial" pitchFamily="34" charset="0"/>
              <a:buChar char="−"/>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marR="0" lvl="0" indent="0" algn="ctr" defTabSz="914400" rtl="0" eaLnBrk="1" fontAlgn="auto" latinLnBrk="0" hangingPunct="1">
              <a:lnSpc>
                <a:spcPct val="100000"/>
              </a:lnSpc>
              <a:spcBef>
                <a:spcPct val="20000"/>
              </a:spcBef>
              <a:spcAft>
                <a:spcPts val="0"/>
              </a:spcAft>
              <a:buClrTx/>
              <a:buSzTx/>
              <a:buFont typeface="Wingdings" pitchFamily="2" charset="2"/>
              <a:buNone/>
              <a:tabLst/>
              <a:defRPr/>
            </a:pPr>
            <a:r>
              <a:rPr kumimoji="0" lang="en-US" sz="3600" b="1" i="0" u="none" strike="noStrike" kern="1200" cap="none" spc="0" normalizeH="0" baseline="0" noProof="0">
                <a:ln>
                  <a:noFill/>
                </a:ln>
                <a:solidFill>
                  <a:srgbClr val="1E3040">
                    <a:lumMod val="75000"/>
                    <a:lumOff val="25000"/>
                  </a:srgbClr>
                </a:solidFill>
                <a:effectLst/>
                <a:uLnTx/>
                <a:uFillTx/>
                <a:latin typeface="Aptos"/>
                <a:ea typeface="+mn-ea"/>
                <a:cs typeface="Arial" panose="020B0604020202020204" pitchFamily="34" charset="0"/>
              </a:rPr>
              <a:t>$11M+</a:t>
            </a:r>
            <a:br>
              <a:rPr kumimoji="0" lang="en-US" sz="1400" b="0" i="0" u="none" strike="noStrike" kern="1200" cap="none" spc="0" normalizeH="0" baseline="0" noProof="0">
                <a:ln>
                  <a:noFill/>
                </a:ln>
                <a:solidFill>
                  <a:srgbClr val="1B2D38"/>
                </a:solidFill>
                <a:effectLst/>
                <a:uLnTx/>
                <a:uFillTx/>
                <a:latin typeface="Arial Black" panose="020B0A04020102020204" pitchFamily="34" charset="0"/>
                <a:ea typeface="+mn-ea"/>
                <a:cs typeface="Arial" panose="020B0604020202020204" pitchFamily="34" charset="0"/>
              </a:rPr>
            </a:br>
            <a: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t>in small business </a:t>
            </a:r>
            <a:b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br>
            <a:r>
              <a:rPr kumimoji="0" lang="en-US" sz="1400" b="0" i="0" u="none" strike="noStrike" kern="1200" cap="none" spc="0" normalizeH="0" baseline="0" noProof="0">
                <a:ln>
                  <a:noFill/>
                </a:ln>
                <a:solidFill>
                  <a:srgbClr val="1B2D38"/>
                </a:solidFill>
                <a:effectLst/>
                <a:uLnTx/>
                <a:uFillTx/>
                <a:latin typeface="Aptos Display"/>
                <a:ea typeface="+mn-ea"/>
                <a:cs typeface="Arial" panose="020B0604020202020204" pitchFamily="34" charset="0"/>
              </a:rPr>
              <a:t>contracts</a:t>
            </a:r>
          </a:p>
        </p:txBody>
      </p:sp>
      <p:cxnSp>
        <p:nvCxnSpPr>
          <p:cNvPr id="7" name="Straight Connector 6">
            <a:extLst>
              <a:ext uri="{FF2B5EF4-FFF2-40B4-BE49-F238E27FC236}">
                <a16:creationId xmlns:a16="http://schemas.microsoft.com/office/drawing/2014/main" id="{3F553C34-2694-45F5-9C7A-34AEF5B5C39C}"/>
              </a:ext>
              <a:ext uri="{C183D7F6-B498-43B3-948B-1728B52AA6E4}">
                <adec:decorative xmlns:adec="http://schemas.microsoft.com/office/drawing/2017/decorative" val="1"/>
              </a:ext>
            </a:extLst>
          </p:cNvPr>
          <p:cNvCxnSpPr/>
          <p:nvPr/>
        </p:nvCxnSpPr>
        <p:spPr>
          <a:xfrm>
            <a:off x="9748484" y="2057400"/>
            <a:ext cx="1731818" cy="0"/>
          </a:xfrm>
          <a:prstGeom prst="line">
            <a:avLst/>
          </a:prstGeom>
          <a:ln w="28575">
            <a:solidFill>
              <a:schemeClr val="tx1">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F4B4308-89F7-4DCA-A9C8-8B5C7A7C4FEA}"/>
              </a:ext>
              <a:ext uri="{C183D7F6-B498-43B3-948B-1728B52AA6E4}">
                <adec:decorative xmlns:adec="http://schemas.microsoft.com/office/drawing/2017/decorative" val="1"/>
              </a:ext>
            </a:extLst>
          </p:cNvPr>
          <p:cNvCxnSpPr/>
          <p:nvPr/>
        </p:nvCxnSpPr>
        <p:spPr>
          <a:xfrm>
            <a:off x="9763991" y="4495800"/>
            <a:ext cx="1731818" cy="0"/>
          </a:xfrm>
          <a:prstGeom prst="line">
            <a:avLst/>
          </a:prstGeom>
          <a:ln w="28575">
            <a:solidFill>
              <a:schemeClr val="tx1">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2" name="Footer Placeholder 1031">
            <a:extLst>
              <a:ext uri="{FF2B5EF4-FFF2-40B4-BE49-F238E27FC236}">
                <a16:creationId xmlns:a16="http://schemas.microsoft.com/office/drawing/2014/main" id="{4EA8CD3A-AB8A-342B-5609-4F84898ECAB1}"/>
              </a:ext>
              <a:ext uri="{C183D7F6-B498-43B3-948B-1728B52AA6E4}">
                <adec:decorative xmlns:adec="http://schemas.microsoft.com/office/drawing/2017/decorative" val="1"/>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rPr>
              <a:t>Meet the Primes | Denver International Airport</a:t>
            </a:r>
          </a:p>
        </p:txBody>
      </p:sp>
      <p:sp>
        <p:nvSpPr>
          <p:cNvPr id="1033" name="Slide Number Placeholder 1032">
            <a:extLst>
              <a:ext uri="{FF2B5EF4-FFF2-40B4-BE49-F238E27FC236}">
                <a16:creationId xmlns:a16="http://schemas.microsoft.com/office/drawing/2014/main" id="{16D75AAF-4E6F-89E8-788A-34DCA5AB51D6}"/>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0562F0D-1E28-4754-8F56-3AC0578EFE04}" type="slidenum">
              <a:rPr kumimoji="0" lang="en-US" sz="1100" b="0" i="0" u="none" strike="noStrike" kern="1200" cap="none" spc="0" normalizeH="0" baseline="0" noProof="0" smtClean="0">
                <a:ln>
                  <a:noFill/>
                </a:ln>
                <a:solidFill>
                  <a:srgbClr val="1B2D38">
                    <a:tint val="75000"/>
                  </a:srgbClr>
                </a:solidFill>
                <a:effectLst/>
                <a:uLnTx/>
                <a:uFillTx/>
                <a:latin typeface="Aptos Display"/>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100" b="0" i="0" u="none" strike="noStrike" kern="1200" cap="none" spc="0" normalizeH="0" baseline="0" noProof="0">
              <a:ln>
                <a:noFill/>
              </a:ln>
              <a:solidFill>
                <a:srgbClr val="1B2D38">
                  <a:tint val="75000"/>
                </a:srgbClr>
              </a:solidFill>
              <a:effectLst/>
              <a:uLnTx/>
              <a:uFillTx/>
              <a:latin typeface="Aptos Display"/>
              <a:ea typeface="+mn-ea"/>
              <a:cs typeface="+mn-cs"/>
            </a:endParaRPr>
          </a:p>
        </p:txBody>
      </p:sp>
    </p:spTree>
    <p:extLst>
      <p:ext uri="{BB962C8B-B14F-4D97-AF65-F5344CB8AC3E}">
        <p14:creationId xmlns:p14="http://schemas.microsoft.com/office/powerpoint/2010/main" val="2707775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1AC745E-8764-EDE7-11F2-E641DC18AF27}"/>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78830" y="-907271"/>
            <a:ext cx="2822411" cy="3652529"/>
          </a:xfrm>
          <a:prstGeom prst="rect">
            <a:avLst/>
          </a:prstGeom>
        </p:spPr>
      </p:pic>
      <p:sp>
        <p:nvSpPr>
          <p:cNvPr id="3" name="Title 1">
            <a:extLst>
              <a:ext uri="{FF2B5EF4-FFF2-40B4-BE49-F238E27FC236}">
                <a16:creationId xmlns:a16="http://schemas.microsoft.com/office/drawing/2014/main" id="{2BE0DE2E-8A1A-13E4-4363-0A550ECBCDB4}"/>
              </a:ext>
            </a:extLst>
          </p:cNvPr>
          <p:cNvSpPr txBox="1">
            <a:spLocks noGrp="1"/>
          </p:cNvSpPr>
          <p:nvPr>
            <p:ph type="title" idx="4294967295"/>
          </p:nvPr>
        </p:nvSpPr>
        <p:spPr>
          <a:xfrm>
            <a:off x="2212549" y="1289509"/>
            <a:ext cx="5678212" cy="13255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Source Sans Pro Black" panose="020B0803030403020204" pitchFamily="34" charset="0"/>
                <a:ea typeface="Source Sans Pro Black" panose="020B0803030403020204" pitchFamily="34" charset="0"/>
                <a:cs typeface="Arial" panose="020B0604020202020204" pitchFamily="34" charset="0"/>
              </a:rPr>
              <a:t>MEET THE PRIMES EVENT </a:t>
            </a:r>
          </a:p>
        </p:txBody>
      </p:sp>
    </p:spTree>
    <p:extLst>
      <p:ext uri="{BB962C8B-B14F-4D97-AF65-F5344CB8AC3E}">
        <p14:creationId xmlns:p14="http://schemas.microsoft.com/office/powerpoint/2010/main" val="2367659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9E7E0A-4A93-1697-82DA-417615FC9FC9}"/>
              </a:ext>
            </a:extLst>
          </p:cNvPr>
          <p:cNvSpPr>
            <a:spLocks noGrp="1"/>
          </p:cNvSpPr>
          <p:nvPr>
            <p:ph type="title" idx="4294967295"/>
          </p:nvPr>
        </p:nvSpPr>
        <p:spPr/>
        <p:txBody>
          <a:bodyPr/>
          <a:lstStyle/>
          <a:p>
            <a:r>
              <a:rPr lang="en-US">
                <a:solidFill>
                  <a:schemeClr val="bg1"/>
                </a:solidFill>
              </a:rPr>
              <a:t>Stats</a:t>
            </a:r>
          </a:p>
        </p:txBody>
      </p:sp>
      <p:pic>
        <p:nvPicPr>
          <p:cNvPr id="4" name="Picture 3" descr="#5 on the Top 70 Airport Facility Engineering Firms&#10;#84 on the Top 100 Green Design Firms in 2024, highlighting the firm's dedication to sustainability, resilience, and occupant health and wellness in infrastructure projects.&#10;AIA 2030 Commitment&#10;Employee owned with over 30% shareholders (fyi exact number currently is 31%)">
            <a:extLst>
              <a:ext uri="{FF2B5EF4-FFF2-40B4-BE49-F238E27FC236}">
                <a16:creationId xmlns:a16="http://schemas.microsoft.com/office/drawing/2014/main" id="{210E9B30-2B9A-E6D6-87D8-F8C21A5530A0}"/>
              </a:ext>
            </a:extLst>
          </p:cNvPr>
          <p:cNvPicPr>
            <a:picLocks noChangeAspect="1"/>
          </p:cNvPicPr>
          <p:nvPr/>
        </p:nvPicPr>
        <p:blipFill>
          <a:blip r:embed="rId3"/>
          <a:stretch>
            <a:fillRect/>
          </a:stretch>
        </p:blipFill>
        <p:spPr>
          <a:xfrm>
            <a:off x="0" y="-11579"/>
            <a:ext cx="12192000" cy="6881157"/>
          </a:xfrm>
          <a:prstGeom prst="rect">
            <a:avLst/>
          </a:prstGeom>
        </p:spPr>
      </p:pic>
    </p:spTree>
    <p:extLst>
      <p:ext uri="{BB962C8B-B14F-4D97-AF65-F5344CB8AC3E}">
        <p14:creationId xmlns:p14="http://schemas.microsoft.com/office/powerpoint/2010/main" val="1178437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4175F3F2-539B-5ADE-6EE7-E789EE3996A3}"/>
              </a:ext>
            </a:extLst>
          </p:cNvPr>
          <p:cNvSpPr txBox="1">
            <a:spLocks noGrp="1"/>
          </p:cNvSpPr>
          <p:nvPr>
            <p:ph type="title" idx="4294967295"/>
          </p:nvPr>
        </p:nvSpPr>
        <p:spPr>
          <a:xfrm>
            <a:off x="425399" y="403781"/>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mn-lt"/>
                <a:ea typeface="+mn-ea"/>
                <a:cs typeface="Arial" panose="020B0604020202020204" pitchFamily="34" charset="0"/>
              </a:rPr>
              <a:t>Our Values</a:t>
            </a:r>
          </a:p>
        </p:txBody>
      </p:sp>
      <p:sp>
        <p:nvSpPr>
          <p:cNvPr id="14" name="Title 1">
            <a:extLst>
              <a:ext uri="{FF2B5EF4-FFF2-40B4-BE49-F238E27FC236}">
                <a16:creationId xmlns:a16="http://schemas.microsoft.com/office/drawing/2014/main" id="{52E141AD-3ED5-0EB9-2710-EED5F2993FA9}"/>
              </a:ext>
              <a:ext uri="{C183D7F6-B498-43B3-948B-1728B52AA6E4}">
                <adec:decorative xmlns:adec="http://schemas.microsoft.com/office/drawing/2017/decorative" val="1"/>
              </a:ext>
            </a:extLst>
          </p:cNvPr>
          <p:cNvSpPr txBox="1">
            <a:spLocks/>
          </p:cNvSpPr>
          <p:nvPr/>
        </p:nvSpPr>
        <p:spPr>
          <a:xfrm rot="16200000">
            <a:off x="8582675" y="34888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s Event</a:t>
            </a:r>
          </a:p>
        </p:txBody>
      </p:sp>
      <p:pic>
        <p:nvPicPr>
          <p:cNvPr id="15" name="Graphic 14">
            <a:extLst>
              <a:ext uri="{FF2B5EF4-FFF2-40B4-BE49-F238E27FC236}">
                <a16:creationId xmlns:a16="http://schemas.microsoft.com/office/drawing/2014/main" id="{8E6C442F-BD2F-4245-106F-CC1B612F8AB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27046" y="-1182129"/>
            <a:ext cx="2819191" cy="3648364"/>
          </a:xfrm>
          <a:prstGeom prst="rect">
            <a:avLst/>
          </a:prstGeom>
        </p:spPr>
      </p:pic>
      <p:sp>
        <p:nvSpPr>
          <p:cNvPr id="26" name="TextBox 25">
            <a:extLst>
              <a:ext uri="{FF2B5EF4-FFF2-40B4-BE49-F238E27FC236}">
                <a16:creationId xmlns:a16="http://schemas.microsoft.com/office/drawing/2014/main" id="{D58AFE58-54D5-F9A9-6D0B-2BFE0312449F}"/>
              </a:ext>
            </a:extLst>
          </p:cNvPr>
          <p:cNvSpPr txBox="1"/>
          <p:nvPr/>
        </p:nvSpPr>
        <p:spPr>
          <a:xfrm>
            <a:off x="4261664" y="260875"/>
            <a:ext cx="546847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A2DD"/>
                </a:solidFill>
                <a:effectLst/>
                <a:uLnTx/>
                <a:uFillTx/>
                <a:latin typeface="Calibri" panose="020F0502020204030204"/>
                <a:ea typeface="+mn-ea"/>
                <a:cs typeface="+mn-cs"/>
              </a:rPr>
              <a:t>We are empowered to…</a:t>
            </a: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3" descr="Three icons with captions: “Take Care of People,” “Do the Right Thing,” and “Do What Makes Sense,” with community activity photos.">
            <a:extLst>
              <a:ext uri="{FF2B5EF4-FFF2-40B4-BE49-F238E27FC236}">
                <a16:creationId xmlns:a16="http://schemas.microsoft.com/office/drawing/2014/main" id="{CE9EBC07-7C03-7551-3A58-E7B185C21BD0}"/>
              </a:ext>
            </a:extLst>
          </p:cNvPr>
          <p:cNvPicPr>
            <a:picLocks noChangeAspect="1"/>
          </p:cNvPicPr>
          <p:nvPr/>
        </p:nvPicPr>
        <p:blipFill>
          <a:blip r:embed="rId5"/>
          <a:stretch>
            <a:fillRect/>
          </a:stretch>
        </p:blipFill>
        <p:spPr>
          <a:xfrm>
            <a:off x="127645" y="806555"/>
            <a:ext cx="11498280" cy="6382641"/>
          </a:xfrm>
          <a:prstGeom prst="rect">
            <a:avLst/>
          </a:prstGeom>
        </p:spPr>
      </p:pic>
    </p:spTree>
    <p:extLst>
      <p:ext uri="{BB962C8B-B14F-4D97-AF65-F5344CB8AC3E}">
        <p14:creationId xmlns:p14="http://schemas.microsoft.com/office/powerpoint/2010/main" val="3197485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9E7D2-AB48-0713-E2A4-79FD7715DD1D}"/>
            </a:ext>
          </a:extLst>
        </p:cNvPr>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CD56493A-BB4D-C9F7-E6D0-34347C4D4FE2}"/>
              </a:ext>
            </a:extLst>
          </p:cNvPr>
          <p:cNvSpPr txBox="1">
            <a:spLocks noGrp="1"/>
          </p:cNvSpPr>
          <p:nvPr>
            <p:ph type="title" idx="4294967295"/>
          </p:nvPr>
        </p:nvSpPr>
        <p:spPr>
          <a:xfrm>
            <a:off x="425399" y="403781"/>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mn-lt"/>
                <a:ea typeface="+mn-ea"/>
                <a:cs typeface="Arial" panose="020B0604020202020204" pitchFamily="34" charset="0"/>
              </a:rPr>
              <a:t>About Mead &amp; Hunt</a:t>
            </a:r>
          </a:p>
        </p:txBody>
      </p:sp>
      <p:sp>
        <p:nvSpPr>
          <p:cNvPr id="14" name="Title 1">
            <a:extLst>
              <a:ext uri="{FF2B5EF4-FFF2-40B4-BE49-F238E27FC236}">
                <a16:creationId xmlns:a16="http://schemas.microsoft.com/office/drawing/2014/main" id="{5506B552-24EA-814F-F180-E3B431769F3D}"/>
              </a:ext>
            </a:extLst>
          </p:cNvPr>
          <p:cNvSpPr txBox="1">
            <a:spLocks/>
          </p:cNvSpPr>
          <p:nvPr/>
        </p:nvSpPr>
        <p:spPr>
          <a:xfrm rot="16200000">
            <a:off x="8582675" y="34888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s Event</a:t>
            </a:r>
          </a:p>
        </p:txBody>
      </p:sp>
      <p:pic>
        <p:nvPicPr>
          <p:cNvPr id="15" name="Graphic 14">
            <a:extLst>
              <a:ext uri="{FF2B5EF4-FFF2-40B4-BE49-F238E27FC236}">
                <a16:creationId xmlns:a16="http://schemas.microsoft.com/office/drawing/2014/main" id="{69BAA259-B7AC-4E96-0D2E-6AA0150762DA}"/>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27046" y="-1182129"/>
            <a:ext cx="2819191" cy="3648364"/>
          </a:xfrm>
          <a:prstGeom prst="rect">
            <a:avLst/>
          </a:prstGeom>
        </p:spPr>
      </p:pic>
      <p:grpSp>
        <p:nvGrpSpPr>
          <p:cNvPr id="6" name="Group 5">
            <a:extLst>
              <a:ext uri="{FF2B5EF4-FFF2-40B4-BE49-F238E27FC236}">
                <a16:creationId xmlns:a16="http://schemas.microsoft.com/office/drawing/2014/main" id="{02B73822-293D-A412-9239-79EAAD0B2E82}"/>
              </a:ext>
              <a:ext uri="{C183D7F6-B498-43B3-948B-1728B52AA6E4}">
                <adec:decorative xmlns:adec="http://schemas.microsoft.com/office/drawing/2017/decorative" val="1"/>
              </a:ext>
            </a:extLst>
          </p:cNvPr>
          <p:cNvGrpSpPr/>
          <p:nvPr/>
        </p:nvGrpSpPr>
        <p:grpSpPr>
          <a:xfrm>
            <a:off x="5286781" y="1755325"/>
            <a:ext cx="5685068" cy="4584758"/>
            <a:chOff x="1949116" y="1898942"/>
            <a:chExt cx="5685068" cy="3781414"/>
          </a:xfrm>
        </p:grpSpPr>
        <p:pic>
          <p:nvPicPr>
            <p:cNvPr id="2" name="Graphic 1" descr="Social network with solid fill">
              <a:extLst>
                <a:ext uri="{FF2B5EF4-FFF2-40B4-BE49-F238E27FC236}">
                  <a16:creationId xmlns:a16="http://schemas.microsoft.com/office/drawing/2014/main" id="{3C664092-5D3F-D463-D55D-11063DB33D9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49116" y="1898942"/>
              <a:ext cx="1133016" cy="1133016"/>
            </a:xfrm>
            <a:prstGeom prst="rect">
              <a:avLst/>
            </a:prstGeom>
          </p:spPr>
        </p:pic>
        <p:sp>
          <p:nvSpPr>
            <p:cNvPr id="3" name="TextBox 2" descr="We grow. You grow. DBE / MWBE/ SBE  Liaison Officer committed to our partnership and your success. Mentor-Protégé opportunities. &#10;">
              <a:extLst>
                <a:ext uri="{FF2B5EF4-FFF2-40B4-BE49-F238E27FC236}">
                  <a16:creationId xmlns:a16="http://schemas.microsoft.com/office/drawing/2014/main" id="{3725007B-0DFE-B990-F7B4-64EC48BBAE83}"/>
                </a:ext>
              </a:extLst>
            </p:cNvPr>
            <p:cNvSpPr txBox="1"/>
            <p:nvPr/>
          </p:nvSpPr>
          <p:spPr>
            <a:xfrm>
              <a:off x="3151231" y="1903191"/>
              <a:ext cx="425172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2DD"/>
                  </a:solidFill>
                  <a:effectLst/>
                  <a:uLnTx/>
                  <a:uFillTx/>
                  <a:latin typeface="Calibri" panose="020F0502020204030204"/>
                  <a:ea typeface="+mn-ea"/>
                  <a:cs typeface="+mn-cs"/>
                </a:rPr>
                <a:t>We grow. You grow.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BE / MWBE/ SBE  Liaison Officer committed to our partnership and your success. Mentor-Protégé opportun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Graphic 3" descr="Business Growth with solid fill">
              <a:extLst>
                <a:ext uri="{FF2B5EF4-FFF2-40B4-BE49-F238E27FC236}">
                  <a16:creationId xmlns:a16="http://schemas.microsoft.com/office/drawing/2014/main" id="{CFFA2E6E-9C21-9935-BBF8-C74194215C6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84904" y="3826043"/>
              <a:ext cx="997228" cy="954504"/>
            </a:xfrm>
            <a:prstGeom prst="rect">
              <a:avLst/>
            </a:prstGeom>
          </p:spPr>
        </p:pic>
        <p:sp>
          <p:nvSpPr>
            <p:cNvPr id="5" name="TextBox 4" descr="Synergies and training. We map opportunities for synergies in our work, and offer cross-training to help DBE/ MWBE/ SBE grow skills and experience on various projects. &#10;">
              <a:extLst>
                <a:ext uri="{FF2B5EF4-FFF2-40B4-BE49-F238E27FC236}">
                  <a16:creationId xmlns:a16="http://schemas.microsoft.com/office/drawing/2014/main" id="{36CFDF93-A531-2041-E2B9-7EB674689DB2}"/>
                </a:ext>
              </a:extLst>
            </p:cNvPr>
            <p:cNvSpPr txBox="1"/>
            <p:nvPr/>
          </p:nvSpPr>
          <p:spPr>
            <a:xfrm>
              <a:off x="3151231" y="3741364"/>
              <a:ext cx="4482953"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A2DD"/>
                  </a:solidFill>
                  <a:effectLst/>
                  <a:uLnTx/>
                  <a:uFillTx/>
                  <a:latin typeface="Calibri" panose="020F0502020204030204"/>
                  <a:ea typeface="+mn-ea"/>
                  <a:cs typeface="+mn-cs"/>
                </a:rPr>
                <a:t>Synergies and training.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We map opportunities for synergies in our work, and offer cross-training to help DBE/ MWBE/ SBE grow skills and experience on various projects. </a:t>
              </a:r>
            </a:p>
          </p:txBody>
        </p:sp>
      </p:grpSp>
      <p:pic>
        <p:nvPicPr>
          <p:cNvPr id="7" name="Picture 6">
            <a:extLst>
              <a:ext uri="{FF2B5EF4-FFF2-40B4-BE49-F238E27FC236}">
                <a16:creationId xmlns:a16="http://schemas.microsoft.com/office/drawing/2014/main" id="{BCCEB39C-C300-3AE4-39E5-F080D7C68945}"/>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02688" y="1755325"/>
            <a:ext cx="5037959" cy="3778469"/>
          </a:xfrm>
          <a:prstGeom prst="rect">
            <a:avLst/>
          </a:prstGeom>
          <a:effectLst>
            <a:softEdge rad="177800"/>
          </a:effectLst>
        </p:spPr>
      </p:pic>
    </p:spTree>
    <p:extLst>
      <p:ext uri="{BB962C8B-B14F-4D97-AF65-F5344CB8AC3E}">
        <p14:creationId xmlns:p14="http://schemas.microsoft.com/office/powerpoint/2010/main" val="1844500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descr="Housekeeping&#10;Please note the following Zoom housekeeping items as you enter:&#10;All cameras and microphones must remain off during the main session&#10;We encourage you to use the Q&amp;A function &#10;">
            <a:extLst>
              <a:ext uri="{FF2B5EF4-FFF2-40B4-BE49-F238E27FC236}">
                <a16:creationId xmlns:a16="http://schemas.microsoft.com/office/drawing/2014/main" id="{90003090-4EA3-A38E-7DF8-853A56FC6CCD}"/>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Housekeeping</a:t>
            </a:r>
          </a:p>
        </p:txBody>
      </p:sp>
      <p:sp>
        <p:nvSpPr>
          <p:cNvPr id="12" name="Text Placeholder 11">
            <a:extLst>
              <a:ext uri="{FF2B5EF4-FFF2-40B4-BE49-F238E27FC236}">
                <a16:creationId xmlns:a16="http://schemas.microsoft.com/office/drawing/2014/main" id="{F3A340E0-1503-4007-DE5B-398218D4AA5D}"/>
              </a:ext>
              <a:ext uri="{C183D7F6-B498-43B3-948B-1728B52AA6E4}">
                <adec:decorative xmlns:adec="http://schemas.microsoft.com/office/drawing/2017/decorative" val="1"/>
              </a:ext>
            </a:extLst>
          </p:cNvPr>
          <p:cNvSpPr>
            <a:spLocks noGrp="1"/>
          </p:cNvSpPr>
          <p:nvPr>
            <p:ph type="body" sz="quarter" idx="13"/>
          </p:nvPr>
        </p:nvSpPr>
        <p:spPr/>
        <p:txBody>
          <a:bodyPr/>
          <a:lstStyle/>
          <a:p>
            <a:r>
              <a:rPr lang="en-US" sz="2000"/>
              <a:t>Please note the following Zoom housekeeping items as you enter:</a:t>
            </a:r>
          </a:p>
          <a:p>
            <a:pPr marL="285750" indent="-285750">
              <a:buClr>
                <a:srgbClr val="E35B2A"/>
              </a:buClr>
              <a:buFont typeface="Arial" panose="020B0604020202020204" pitchFamily="34" charset="0"/>
              <a:buChar char="•"/>
            </a:pPr>
            <a:r>
              <a:rPr lang="en-US" sz="2000"/>
              <a:t>All cameras and microphones must remain off during the main session</a:t>
            </a:r>
          </a:p>
          <a:p>
            <a:pPr marL="285750" indent="-285750">
              <a:buClr>
                <a:srgbClr val="E35B2A"/>
              </a:buClr>
              <a:buFont typeface="Arial" panose="020B0604020202020204" pitchFamily="34" charset="0"/>
              <a:buChar char="•"/>
            </a:pPr>
            <a:r>
              <a:rPr lang="en-US" sz="2000"/>
              <a:t>Please note that the Chat and Q&amp;A Functions are closed</a:t>
            </a:r>
          </a:p>
          <a:p>
            <a:pPr marL="971550" lvl="1" indent="-285750">
              <a:buClr>
                <a:srgbClr val="E35B2A"/>
              </a:buClr>
            </a:pPr>
            <a:r>
              <a:rPr lang="en-US" sz="2000"/>
              <a:t>If you would like to introduce your firm to everyone, please scan the QR Code and let us know the projects you are interested in. </a:t>
            </a:r>
          </a:p>
          <a:p>
            <a:pPr marL="971550" lvl="1" indent="-285750">
              <a:buClr>
                <a:srgbClr val="E35B2A"/>
              </a:buClr>
            </a:pPr>
            <a:endParaRPr lang="en-US" sz="2800"/>
          </a:p>
          <a:p>
            <a:endParaRPr lang="en-US"/>
          </a:p>
        </p:txBody>
      </p:sp>
    </p:spTree>
    <p:extLst>
      <p:ext uri="{BB962C8B-B14F-4D97-AF65-F5344CB8AC3E}">
        <p14:creationId xmlns:p14="http://schemas.microsoft.com/office/powerpoint/2010/main" val="7353309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99E3F-D221-4B97-106C-C686FA4C1991}"/>
            </a:ext>
          </a:extLst>
        </p:cNvPr>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3A382BF7-F8B4-96AE-1A47-5FBD26D7CD59}"/>
              </a:ext>
              <a:ext uri="{C183D7F6-B498-43B3-948B-1728B52AA6E4}">
                <adec:decorative xmlns:adec="http://schemas.microsoft.com/office/drawing/2017/decorative" val="1"/>
              </a:ext>
            </a:extLst>
          </p:cNvPr>
          <p:cNvSpPr txBox="1">
            <a:spLocks noGrp="1"/>
          </p:cNvSpPr>
          <p:nvPr>
            <p:ph type="title" idx="4294967295"/>
          </p:nvPr>
        </p:nvSpPr>
        <p:spPr>
          <a:xfrm>
            <a:off x="271099" y="378354"/>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mn-lt"/>
                <a:ea typeface="+mn-ea"/>
                <a:cs typeface="Arial" panose="020B0604020202020204" pitchFamily="34" charset="0"/>
              </a:rPr>
              <a:t>Our Aviation Focused Services</a:t>
            </a:r>
          </a:p>
        </p:txBody>
      </p:sp>
      <p:sp>
        <p:nvSpPr>
          <p:cNvPr id="5" name="Title 1">
            <a:extLst>
              <a:ext uri="{FF2B5EF4-FFF2-40B4-BE49-F238E27FC236}">
                <a16:creationId xmlns:a16="http://schemas.microsoft.com/office/drawing/2014/main" id="{132878B6-FA7D-1828-D195-C0DBF60C86F5}"/>
              </a:ext>
              <a:ext uri="{C183D7F6-B498-43B3-948B-1728B52AA6E4}">
                <adec:decorative xmlns:adec="http://schemas.microsoft.com/office/drawing/2017/decorative" val="1"/>
              </a:ext>
            </a:extLst>
          </p:cNvPr>
          <p:cNvSpPr txBox="1">
            <a:spLocks/>
          </p:cNvSpPr>
          <p:nvPr/>
        </p:nvSpPr>
        <p:spPr>
          <a:xfrm rot="16200000">
            <a:off x="8582675" y="34888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s Event</a:t>
            </a:r>
          </a:p>
        </p:txBody>
      </p:sp>
      <p:pic>
        <p:nvPicPr>
          <p:cNvPr id="9" name="Picture 8" descr="Icons for services: Architecture, Construction, Design, Environmental, Planning, Sustainability, Tech, Cybersecurity, Civic.">
            <a:extLst>
              <a:ext uri="{FF2B5EF4-FFF2-40B4-BE49-F238E27FC236}">
                <a16:creationId xmlns:a16="http://schemas.microsoft.com/office/drawing/2014/main" id="{0BF4A7E5-7C44-3871-8C7F-3F6F608CED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473933" y="1597670"/>
            <a:ext cx="8739502" cy="4304766"/>
          </a:xfrm>
          <a:prstGeom prst="rect">
            <a:avLst/>
          </a:prstGeom>
        </p:spPr>
      </p:pic>
      <p:pic>
        <p:nvPicPr>
          <p:cNvPr id="10" name="Picture Placeholder 7" descr="A black and white sign">
            <a:extLst>
              <a:ext uri="{FF2B5EF4-FFF2-40B4-BE49-F238E27FC236}">
                <a16:creationId xmlns:a16="http://schemas.microsoft.com/office/drawing/2014/main" id="{322E0DD9-E368-50D3-7972-4B2A1DF0C424}"/>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183856" y="6281648"/>
            <a:ext cx="651031" cy="395996"/>
          </a:xfrm>
          <a:prstGeom prst="rect">
            <a:avLst/>
          </a:prstGeom>
        </p:spPr>
      </p:pic>
    </p:spTree>
    <p:extLst>
      <p:ext uri="{BB962C8B-B14F-4D97-AF65-F5344CB8AC3E}">
        <p14:creationId xmlns:p14="http://schemas.microsoft.com/office/powerpoint/2010/main" val="10791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10FA7-35CC-2E74-59C4-CE68619A4CD5}"/>
            </a:ext>
          </a:extLst>
        </p:cNvPr>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7008AF6C-DBA5-75C8-D1E0-5C369451FF1E}"/>
              </a:ext>
              <a:ext uri="{C183D7F6-B498-43B3-948B-1728B52AA6E4}">
                <adec:decorative xmlns:adec="http://schemas.microsoft.com/office/drawing/2017/decorative" val="1"/>
              </a:ext>
            </a:extLst>
          </p:cNvPr>
          <p:cNvSpPr txBox="1">
            <a:spLocks noGrp="1"/>
          </p:cNvSpPr>
          <p:nvPr>
            <p:ph type="title" idx="4294967295"/>
          </p:nvPr>
        </p:nvSpPr>
        <p:spPr>
          <a:xfrm>
            <a:off x="425399" y="403781"/>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mn-lt"/>
                <a:ea typeface="+mn-ea"/>
                <a:cs typeface="Arial" panose="020B0604020202020204" pitchFamily="34" charset="0"/>
              </a:rPr>
              <a:t>Our Scopes of Work at DEN</a:t>
            </a:r>
          </a:p>
        </p:txBody>
      </p:sp>
      <p:sp>
        <p:nvSpPr>
          <p:cNvPr id="14" name="Title 1">
            <a:extLst>
              <a:ext uri="{FF2B5EF4-FFF2-40B4-BE49-F238E27FC236}">
                <a16:creationId xmlns:a16="http://schemas.microsoft.com/office/drawing/2014/main" id="{044AD90B-0A49-14EA-EF38-A2BCB27569AE}"/>
              </a:ext>
              <a:ext uri="{C183D7F6-B498-43B3-948B-1728B52AA6E4}">
                <adec:decorative xmlns:adec="http://schemas.microsoft.com/office/drawing/2017/decorative" val="1"/>
              </a:ext>
            </a:extLst>
          </p:cNvPr>
          <p:cNvSpPr txBox="1">
            <a:spLocks/>
          </p:cNvSpPr>
          <p:nvPr/>
        </p:nvSpPr>
        <p:spPr>
          <a:xfrm rot="16200000">
            <a:off x="8582675" y="34888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 Event</a:t>
            </a:r>
          </a:p>
        </p:txBody>
      </p:sp>
      <p:pic>
        <p:nvPicPr>
          <p:cNvPr id="15" name="Graphic 14">
            <a:extLst>
              <a:ext uri="{FF2B5EF4-FFF2-40B4-BE49-F238E27FC236}">
                <a16:creationId xmlns:a16="http://schemas.microsoft.com/office/drawing/2014/main" id="{8311DD33-448F-FE25-EC73-D5EBB771E75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27046" y="-1182129"/>
            <a:ext cx="2819191" cy="3648364"/>
          </a:xfrm>
          <a:prstGeom prst="rect">
            <a:avLst/>
          </a:prstGeom>
        </p:spPr>
      </p:pic>
      <p:pic>
        <p:nvPicPr>
          <p:cNvPr id="18" name="Picture 17">
            <a:extLst>
              <a:ext uri="{FF2B5EF4-FFF2-40B4-BE49-F238E27FC236}">
                <a16:creationId xmlns:a16="http://schemas.microsoft.com/office/drawing/2014/main" id="{C845817B-1818-8F60-AAEF-3675FE255279}"/>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6213" y="1249934"/>
            <a:ext cx="7307645" cy="5337708"/>
          </a:xfrm>
          <a:prstGeom prst="rect">
            <a:avLst/>
          </a:prstGeom>
        </p:spPr>
      </p:pic>
    </p:spTree>
    <p:extLst>
      <p:ext uri="{BB962C8B-B14F-4D97-AF65-F5344CB8AC3E}">
        <p14:creationId xmlns:p14="http://schemas.microsoft.com/office/powerpoint/2010/main" val="31184647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21A7F-0B37-D998-A690-ED1AF071395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C261956-EC9E-3627-34B1-CFE9CB523512}"/>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423" y="1275349"/>
            <a:ext cx="10486282" cy="5582652"/>
          </a:xfrm>
          <a:prstGeom prst="rect">
            <a:avLst/>
          </a:prstGeom>
        </p:spPr>
      </p:pic>
      <p:sp>
        <p:nvSpPr>
          <p:cNvPr id="16" name="Title 1">
            <a:extLst>
              <a:ext uri="{FF2B5EF4-FFF2-40B4-BE49-F238E27FC236}">
                <a16:creationId xmlns:a16="http://schemas.microsoft.com/office/drawing/2014/main" id="{1EAF5B2F-8DCC-4F95-CFCB-67A57E1E955D}"/>
              </a:ext>
              <a:ext uri="{C183D7F6-B498-43B3-948B-1728B52AA6E4}">
                <adec:decorative xmlns:adec="http://schemas.microsoft.com/office/drawing/2017/decorative" val="1"/>
              </a:ext>
            </a:extLst>
          </p:cNvPr>
          <p:cNvSpPr txBox="1">
            <a:spLocks/>
          </p:cNvSpPr>
          <p:nvPr/>
        </p:nvSpPr>
        <p:spPr>
          <a:xfrm rot="16200000">
            <a:off x="8582675" y="34888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s Event</a:t>
            </a:r>
          </a:p>
        </p:txBody>
      </p:sp>
      <p:pic>
        <p:nvPicPr>
          <p:cNvPr id="17" name="Graphic 16">
            <a:extLst>
              <a:ext uri="{FF2B5EF4-FFF2-40B4-BE49-F238E27FC236}">
                <a16:creationId xmlns:a16="http://schemas.microsoft.com/office/drawing/2014/main" id="{329B4685-FD69-FA2F-B051-93F6F1346C7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27046" y="-1182129"/>
            <a:ext cx="2819191" cy="3648364"/>
          </a:xfrm>
          <a:prstGeom prst="rect">
            <a:avLst/>
          </a:prstGeom>
        </p:spPr>
      </p:pic>
      <p:sp>
        <p:nvSpPr>
          <p:cNvPr id="2" name="Content Placeholder 1">
            <a:extLst>
              <a:ext uri="{FF2B5EF4-FFF2-40B4-BE49-F238E27FC236}">
                <a16:creationId xmlns:a16="http://schemas.microsoft.com/office/drawing/2014/main" id="{7BD665FB-60FE-1648-E0F7-3BD0FBC3783C}"/>
              </a:ext>
            </a:extLst>
          </p:cNvPr>
          <p:cNvSpPr txBox="1">
            <a:spLocks noGrp="1"/>
          </p:cNvSpPr>
          <p:nvPr>
            <p:ph type="title" idx="4294967295"/>
          </p:nvPr>
        </p:nvSpPr>
        <p:spPr>
          <a:xfrm>
            <a:off x="425399" y="403781"/>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Arial" panose="020B0604020202020204" pitchFamily="34" charset="0"/>
                <a:ea typeface="+mn-ea"/>
                <a:cs typeface="Arial" panose="020B0604020202020204" pitchFamily="34" charset="0"/>
              </a:rPr>
              <a:t>DEN &amp; Colorado</a:t>
            </a:r>
          </a:p>
        </p:txBody>
      </p:sp>
    </p:spTree>
    <p:extLst>
      <p:ext uri="{BB962C8B-B14F-4D97-AF65-F5344CB8AC3E}">
        <p14:creationId xmlns:p14="http://schemas.microsoft.com/office/powerpoint/2010/main" val="37628547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5976B5-B2C3-D76B-C4C0-0D4D5F21004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cstate="email">
            <a:extLst>
              <a:ext uri="{28A0092B-C50C-407E-A947-70E740481C1C}">
                <a14:useLocalDpi xmlns:a14="http://schemas.microsoft.com/office/drawing/2010/main"/>
              </a:ext>
            </a:extLst>
          </a:blip>
          <a:stretch>
            <a:fillRect/>
          </a:stretch>
        </p:blipFill>
        <p:spPr>
          <a:xfrm>
            <a:off x="2589836" y="1214642"/>
            <a:ext cx="6695195" cy="4424862"/>
          </a:xfrm>
          <a:prstGeom prst="rect">
            <a:avLst/>
          </a:prstGeom>
        </p:spPr>
      </p:pic>
      <p:sp>
        <p:nvSpPr>
          <p:cNvPr id="18" name="Rectangle 17">
            <a:extLst>
              <a:ext uri="{FF2B5EF4-FFF2-40B4-BE49-F238E27FC236}">
                <a16:creationId xmlns:a16="http://schemas.microsoft.com/office/drawing/2014/main" id="{2FDE5510-8108-F452-C4E4-4A02F6ADE54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7458076" y="2597944"/>
            <a:ext cx="1826956" cy="377285"/>
          </a:xfrm>
          <a:prstGeom prst="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1">
            <a:extLst>
              <a:ext uri="{FF2B5EF4-FFF2-40B4-BE49-F238E27FC236}">
                <a16:creationId xmlns:a16="http://schemas.microsoft.com/office/drawing/2014/main" id="{50B3DF98-89C8-924E-0600-2B89F2B31ADD}"/>
              </a:ext>
              <a:ext uri="{C183D7F6-B498-43B3-948B-1728B52AA6E4}">
                <adec:decorative xmlns:adec="http://schemas.microsoft.com/office/drawing/2017/decorative" val="1"/>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ENVIRONMENTAL NATIONAL PRACTICE LEADER, AVIATION SERVIC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 name="Content Placeholder 1">
            <a:extLst>
              <a:ext uri="{FF2B5EF4-FFF2-40B4-BE49-F238E27FC236}">
                <a16:creationId xmlns:a16="http://schemas.microsoft.com/office/drawing/2014/main" id="{5FB51925-7702-A977-B97E-FD5811EFFA65}"/>
              </a:ext>
              <a:ext uri="{C183D7F6-B498-43B3-948B-1728B52AA6E4}">
                <adec:decorative xmlns:adec="http://schemas.microsoft.com/office/drawing/2017/decorative" val="1"/>
              </a:ext>
            </a:extLst>
          </p:cNvPr>
          <p:cNvSpPr txBox="1">
            <a:spLocks noGrp="1"/>
          </p:cNvSpPr>
          <p:nvPr>
            <p:ph type="title" idx="4294967295"/>
          </p:nvPr>
        </p:nvSpPr>
        <p:spPr>
          <a:xfrm>
            <a:off x="442668" y="274449"/>
            <a:ext cx="9082541" cy="7352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005C8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C89"/>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005C89"/>
                </a:solidFill>
                <a:effectLst/>
                <a:uLnTx/>
                <a:uFillTx/>
                <a:latin typeface="+mn-lt"/>
                <a:ea typeface="+mn-ea"/>
                <a:cs typeface="Arial" panose="020B0604020202020204" pitchFamily="34" charset="0"/>
              </a:rPr>
              <a:t>Our Contacts</a:t>
            </a:r>
          </a:p>
        </p:txBody>
      </p:sp>
      <p:pic>
        <p:nvPicPr>
          <p:cNvPr id="10" name="Graphic 9">
            <a:extLst>
              <a:ext uri="{FF2B5EF4-FFF2-40B4-BE49-F238E27FC236}">
                <a16:creationId xmlns:a16="http://schemas.microsoft.com/office/drawing/2014/main" id="{920176CA-65EE-B0CB-D998-AD81B900CE4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27046" y="-1182129"/>
            <a:ext cx="2819191" cy="3648364"/>
          </a:xfrm>
          <a:prstGeom prst="rect">
            <a:avLst/>
          </a:prstGeom>
        </p:spPr>
      </p:pic>
      <p:sp>
        <p:nvSpPr>
          <p:cNvPr id="11" name="Title 1">
            <a:extLst>
              <a:ext uri="{FF2B5EF4-FFF2-40B4-BE49-F238E27FC236}">
                <a16:creationId xmlns:a16="http://schemas.microsoft.com/office/drawing/2014/main" id="{9FF58F9F-57B3-670F-10DB-4C275BE59722}"/>
              </a:ext>
              <a:ext uri="{C183D7F6-B498-43B3-948B-1728B52AA6E4}">
                <adec:decorative xmlns:adec="http://schemas.microsoft.com/office/drawing/2017/decorative" val="1"/>
              </a:ext>
            </a:extLst>
          </p:cNvPr>
          <p:cNvSpPr txBox="1">
            <a:spLocks/>
          </p:cNvSpPr>
          <p:nvPr/>
        </p:nvSpPr>
        <p:spPr>
          <a:xfrm rot="16200000">
            <a:off x="8735075" y="3641254"/>
            <a:ext cx="51079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5C89"/>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5C89"/>
                </a:solidFill>
                <a:effectLst/>
                <a:uLnTx/>
                <a:uFillTx/>
                <a:latin typeface="Calibri" panose="020F0502020204030204" pitchFamily="34" charset="0"/>
                <a:ea typeface="+mj-ea"/>
                <a:cs typeface="Arial" panose="020B0604020202020204" pitchFamily="34" charset="0"/>
              </a:rPr>
              <a:t>Meet the Primes Event</a:t>
            </a:r>
          </a:p>
        </p:txBody>
      </p:sp>
      <p:pic>
        <p:nvPicPr>
          <p:cNvPr id="12" name="Graphic 11">
            <a:extLst>
              <a:ext uri="{FF2B5EF4-FFF2-40B4-BE49-F238E27FC236}">
                <a16:creationId xmlns:a16="http://schemas.microsoft.com/office/drawing/2014/main" id="{399F627A-9808-037D-748F-77C5AA3CFE9E}"/>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79446" y="-1029729"/>
            <a:ext cx="2819191" cy="3648364"/>
          </a:xfrm>
          <a:prstGeom prst="rect">
            <a:avLst/>
          </a:prstGeom>
        </p:spPr>
      </p:pic>
      <p:pic>
        <p:nvPicPr>
          <p:cNvPr id="4" name="Picture 3">
            <a:extLst>
              <a:ext uri="{FF2B5EF4-FFF2-40B4-BE49-F238E27FC236}">
                <a16:creationId xmlns:a16="http://schemas.microsoft.com/office/drawing/2014/main" id="{F2DA8C7A-55ED-A46C-323C-C5DA46125573}"/>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0" y="5588508"/>
            <a:ext cx="12192000" cy="1269492"/>
          </a:xfrm>
          <a:prstGeom prst="rect">
            <a:avLst/>
          </a:prstGeom>
        </p:spPr>
      </p:pic>
      <p:pic>
        <p:nvPicPr>
          <p:cNvPr id="15" name="Picture 14">
            <a:extLst>
              <a:ext uri="{FF2B5EF4-FFF2-40B4-BE49-F238E27FC236}">
                <a16:creationId xmlns:a16="http://schemas.microsoft.com/office/drawing/2014/main" id="{838ABFF4-5CF8-81CE-31CA-B00E3DAB0CC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9" cstate="email">
            <a:extLst>
              <a:ext uri="{28A0092B-C50C-407E-A947-70E740481C1C}">
                <a14:useLocalDpi xmlns:a14="http://schemas.microsoft.com/office/drawing/2010/main"/>
              </a:ext>
            </a:extLst>
          </a:blip>
          <a:stretch>
            <a:fillRect/>
          </a:stretch>
        </p:blipFill>
        <p:spPr>
          <a:xfrm>
            <a:off x="8011716" y="2623397"/>
            <a:ext cx="719677" cy="128760"/>
          </a:xfrm>
          <a:prstGeom prst="rect">
            <a:avLst/>
          </a:prstGeom>
        </p:spPr>
      </p:pic>
      <p:pic>
        <p:nvPicPr>
          <p:cNvPr id="17" name="Picture 16">
            <a:extLst>
              <a:ext uri="{FF2B5EF4-FFF2-40B4-BE49-F238E27FC236}">
                <a16:creationId xmlns:a16="http://schemas.microsoft.com/office/drawing/2014/main" id="{AD7C1EF3-E4F8-7F1F-031E-B22D9332240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10" cstate="email">
            <a:extLst>
              <a:ext uri="{28A0092B-C50C-407E-A947-70E740481C1C}">
                <a14:useLocalDpi xmlns:a14="http://schemas.microsoft.com/office/drawing/2010/main"/>
              </a:ext>
            </a:extLst>
          </a:blip>
          <a:stretch>
            <a:fillRect/>
          </a:stretch>
        </p:blipFill>
        <p:spPr>
          <a:xfrm>
            <a:off x="7729188" y="2788931"/>
            <a:ext cx="1284732" cy="121618"/>
          </a:xfrm>
          <a:prstGeom prst="rect">
            <a:avLst/>
          </a:prstGeom>
        </p:spPr>
      </p:pic>
    </p:spTree>
    <p:extLst>
      <p:ext uri="{BB962C8B-B14F-4D97-AF65-F5344CB8AC3E}">
        <p14:creationId xmlns:p14="http://schemas.microsoft.com/office/powerpoint/2010/main" val="6087801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6000"/>
              <a:t>MEET THE PRIMES       </a:t>
            </a:r>
            <a:endParaRPr lang="en-US"/>
          </a:p>
        </p:txBody>
      </p:sp>
      <p:sp>
        <p:nvSpPr>
          <p:cNvPr id="23" name="Subtitle 22">
            <a:extLst>
              <a:ext uri="{FF2B5EF4-FFF2-40B4-BE49-F238E27FC236}">
                <a16:creationId xmlns:a16="http://schemas.microsoft.com/office/drawing/2014/main" id="{C986830F-97A6-CC41-AC1F-66BB8C3AC20C}"/>
              </a:ext>
            </a:extLst>
          </p:cNvPr>
          <p:cNvSpPr>
            <a:spLocks noGrp="1"/>
          </p:cNvSpPr>
          <p:nvPr>
            <p:ph type="subTitle" idx="1"/>
          </p:nvPr>
        </p:nvSpPr>
        <p:spPr/>
        <p:txBody>
          <a:bodyPr/>
          <a:lstStyle/>
          <a:p>
            <a:pPr>
              <a:lnSpc>
                <a:spcPts val="1600"/>
              </a:lnSpc>
            </a:pPr>
            <a:r>
              <a:rPr lang="en-US" cap="none"/>
              <a:t>Denver International Airport</a:t>
            </a:r>
          </a:p>
        </p:txBody>
      </p:sp>
      <p:sp>
        <p:nvSpPr>
          <p:cNvPr id="14" name="Content Placeholder 13">
            <a:extLst>
              <a:ext uri="{FF2B5EF4-FFF2-40B4-BE49-F238E27FC236}">
                <a16:creationId xmlns:a16="http://schemas.microsoft.com/office/drawing/2014/main" id="{949317FC-7327-4BF3-9B7D-92F8E2348FA9}"/>
              </a:ext>
            </a:extLst>
          </p:cNvPr>
          <p:cNvSpPr>
            <a:spLocks noGrp="1"/>
          </p:cNvSpPr>
          <p:nvPr>
            <p:ph sz="quarter" idx="11"/>
          </p:nvPr>
        </p:nvSpPr>
        <p:spPr/>
        <p:txBody>
          <a:bodyPr/>
          <a:lstStyle/>
          <a:p>
            <a:r>
              <a:rPr lang="en-US">
                <a:latin typeface="Franklin Gothic Book"/>
              </a:rPr>
              <a:t>December 18, 2025 (Happy Holidays!)</a:t>
            </a:r>
          </a:p>
        </p:txBody>
      </p:sp>
      <p:cxnSp>
        <p:nvCxnSpPr>
          <p:cNvPr id="9" name="Straight Connector 8">
            <a:extLst>
              <a:ext uri="{FF2B5EF4-FFF2-40B4-BE49-F238E27FC236}">
                <a16:creationId xmlns:a16="http://schemas.microsoft.com/office/drawing/2014/main" id="{D5879FE8-CA08-490E-90CB-99CB27DCF43A}"/>
              </a:ext>
              <a:ext uri="{C183D7F6-B498-43B3-948B-1728B52AA6E4}">
                <adec:decorative xmlns:adec="http://schemas.microsoft.com/office/drawing/2017/decorative" val="1"/>
              </a:ext>
            </a:extLst>
          </p:cNvPr>
          <p:cNvCxnSpPr>
            <a:cxnSpLocks/>
          </p:cNvCxnSpPr>
          <p:nvPr/>
        </p:nvCxnSpPr>
        <p:spPr>
          <a:xfrm>
            <a:off x="658254" y="2437784"/>
            <a:ext cx="0" cy="1243584"/>
          </a:xfrm>
          <a:prstGeom prst="line">
            <a:avLst/>
          </a:prstGeom>
          <a:ln w="92075">
            <a:gradFill>
              <a:gsLst>
                <a:gs pos="0">
                  <a:srgbClr val="00AEE6"/>
                </a:gs>
                <a:gs pos="80000">
                  <a:srgbClr val="50BF34"/>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2319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602CFD-7A0E-0F45-B1C7-9B797223EA3B}"/>
              </a:ext>
            </a:extLst>
          </p:cNvPr>
          <p:cNvSpPr>
            <a:spLocks noGrp="1"/>
          </p:cNvSpPr>
          <p:nvPr>
            <p:ph type="title"/>
          </p:nvPr>
        </p:nvSpPr>
        <p:spPr>
          <a:xfrm>
            <a:off x="838200" y="150001"/>
            <a:ext cx="10515600" cy="1325563"/>
          </a:xfrm>
        </p:spPr>
        <p:txBody>
          <a:bodyPr/>
          <a:lstStyle/>
          <a:p>
            <a:r>
              <a:rPr lang="en-US"/>
              <a:t>GLOBAL PRESENCE</a:t>
            </a:r>
          </a:p>
        </p:txBody>
      </p:sp>
      <p:grpSp>
        <p:nvGrpSpPr>
          <p:cNvPr id="266" name="Group 265" descr="Global map with Parsons offices.">
            <a:extLst>
              <a:ext uri="{FF2B5EF4-FFF2-40B4-BE49-F238E27FC236}">
                <a16:creationId xmlns:a16="http://schemas.microsoft.com/office/drawing/2014/main" id="{28473F1D-A3C5-9D29-A5BA-1E9532330D1F}"/>
              </a:ext>
            </a:extLst>
          </p:cNvPr>
          <p:cNvGrpSpPr/>
          <p:nvPr/>
        </p:nvGrpSpPr>
        <p:grpSpPr>
          <a:xfrm>
            <a:off x="722827" y="1177465"/>
            <a:ext cx="4154672" cy="2672834"/>
            <a:chOff x="1004658" y="1584557"/>
            <a:chExt cx="6924453" cy="4454723"/>
          </a:xfrm>
        </p:grpSpPr>
        <p:grpSp>
          <p:nvGrpSpPr>
            <p:cNvPr id="5" name="vMap : World">
              <a:extLst>
                <a:ext uri="{FF2B5EF4-FFF2-40B4-BE49-F238E27FC236}">
                  <a16:creationId xmlns:a16="http://schemas.microsoft.com/office/drawing/2014/main" id="{AF9F5494-6980-3A4D-B0B3-7345DDC064FA}"/>
                </a:ext>
                <a:ext uri="{C183D7F6-B498-43B3-948B-1728B52AA6E4}">
                  <adec:decorative xmlns:adec="http://schemas.microsoft.com/office/drawing/2017/decorative" val="1"/>
                </a:ext>
              </a:extLst>
            </p:cNvPr>
            <p:cNvGrpSpPr/>
            <p:nvPr/>
          </p:nvGrpSpPr>
          <p:grpSpPr>
            <a:xfrm>
              <a:off x="1004658" y="1584557"/>
              <a:ext cx="6882895" cy="4454723"/>
              <a:chOff x="299749" y="663933"/>
              <a:chExt cx="8544502" cy="5530136"/>
            </a:xfrm>
            <a:solidFill>
              <a:schemeClr val="bg1">
                <a:lumMod val="75000"/>
              </a:schemeClr>
            </a:solidFill>
          </p:grpSpPr>
          <p:grpSp>
            <p:nvGrpSpPr>
              <p:cNvPr id="6" name="vMap : Oceania">
                <a:extLst>
                  <a:ext uri="{FF2B5EF4-FFF2-40B4-BE49-F238E27FC236}">
                    <a16:creationId xmlns:a16="http://schemas.microsoft.com/office/drawing/2014/main" id="{B4C84B5D-DDD4-5641-A68A-452ACE732FED}"/>
                  </a:ext>
                </a:extLst>
              </p:cNvPr>
              <p:cNvGrpSpPr/>
              <p:nvPr/>
            </p:nvGrpSpPr>
            <p:grpSpPr>
              <a:xfrm>
                <a:off x="6993640" y="4644001"/>
                <a:ext cx="1788681" cy="1358815"/>
                <a:chOff x="6993640" y="4644001"/>
                <a:chExt cx="1788681" cy="1358815"/>
              </a:xfrm>
              <a:grpFill/>
            </p:grpSpPr>
            <p:sp>
              <p:nvSpPr>
                <p:cNvPr id="246" name="Fiji">
                  <a:extLst>
                    <a:ext uri="{FF2B5EF4-FFF2-40B4-BE49-F238E27FC236}">
                      <a16:creationId xmlns:a16="http://schemas.microsoft.com/office/drawing/2014/main" id="{F49EC3E7-EAD2-AA44-B3F3-A077CDCC5813}"/>
                    </a:ext>
                  </a:extLst>
                </p:cNvPr>
                <p:cNvSpPr>
                  <a:spLocks/>
                </p:cNvSpPr>
                <p:nvPr/>
              </p:nvSpPr>
              <p:spPr bwMode="auto">
                <a:xfrm>
                  <a:off x="8512744" y="4984614"/>
                  <a:ext cx="67394" cy="54646"/>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solidFill>
                  <a:srgbClr val="0077C8"/>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7" name="New Zealand (North Island)">
                  <a:extLst>
                    <a:ext uri="{FF2B5EF4-FFF2-40B4-BE49-F238E27FC236}">
                      <a16:creationId xmlns:a16="http://schemas.microsoft.com/office/drawing/2014/main" id="{54F3ECBA-D48C-2A48-93D7-DA248E7D9F7F}"/>
                    </a:ext>
                  </a:extLst>
                </p:cNvPr>
                <p:cNvSpPr>
                  <a:spLocks/>
                </p:cNvSpPr>
                <p:nvPr/>
              </p:nvSpPr>
              <p:spPr bwMode="auto">
                <a:xfrm>
                  <a:off x="8405278" y="5465482"/>
                  <a:ext cx="140254" cy="216755"/>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8" name="New Zealand (South Island)">
                  <a:extLst>
                    <a:ext uri="{FF2B5EF4-FFF2-40B4-BE49-F238E27FC236}">
                      <a16:creationId xmlns:a16="http://schemas.microsoft.com/office/drawing/2014/main" id="{B78FD73D-20B7-674C-B88D-F101818F4D8F}"/>
                    </a:ext>
                  </a:extLst>
                </p:cNvPr>
                <p:cNvSpPr>
                  <a:spLocks/>
                </p:cNvSpPr>
                <p:nvPr/>
              </p:nvSpPr>
              <p:spPr bwMode="auto">
                <a:xfrm>
                  <a:off x="8259560" y="5649450"/>
                  <a:ext cx="183969" cy="202184"/>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9" name="Stewart Island">
                  <a:extLst>
                    <a:ext uri="{FF2B5EF4-FFF2-40B4-BE49-F238E27FC236}">
                      <a16:creationId xmlns:a16="http://schemas.microsoft.com/office/drawing/2014/main" id="{D95341E4-8179-2848-B543-E89002D004F0}"/>
                    </a:ext>
                  </a:extLst>
                </p:cNvPr>
                <p:cNvSpPr>
                  <a:spLocks/>
                </p:cNvSpPr>
                <p:nvPr/>
              </p:nvSpPr>
              <p:spPr bwMode="auto">
                <a:xfrm>
                  <a:off x="8283239" y="5847991"/>
                  <a:ext cx="16394" cy="21858"/>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0" name="Auckland Island">
                  <a:extLst>
                    <a:ext uri="{FF2B5EF4-FFF2-40B4-BE49-F238E27FC236}">
                      <a16:creationId xmlns:a16="http://schemas.microsoft.com/office/drawing/2014/main" id="{2A6FCD27-BC2C-6F45-B171-5D19CAEA80B1}"/>
                    </a:ext>
                  </a:extLst>
                </p:cNvPr>
                <p:cNvSpPr>
                  <a:spLocks/>
                </p:cNvSpPr>
                <p:nvPr/>
              </p:nvSpPr>
              <p:spPr bwMode="auto">
                <a:xfrm>
                  <a:off x="8244989" y="5990065"/>
                  <a:ext cx="10929" cy="12751"/>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1" name="New Caledonia">
                  <a:extLst>
                    <a:ext uri="{FF2B5EF4-FFF2-40B4-BE49-F238E27FC236}">
                      <a16:creationId xmlns:a16="http://schemas.microsoft.com/office/drawing/2014/main" id="{27727A74-864A-3944-B1D6-13EB4A7EE0A6}"/>
                    </a:ext>
                  </a:extLst>
                </p:cNvPr>
                <p:cNvSpPr>
                  <a:spLocks/>
                </p:cNvSpPr>
                <p:nvPr/>
              </p:nvSpPr>
              <p:spPr bwMode="auto">
                <a:xfrm>
                  <a:off x="8199453" y="5084796"/>
                  <a:ext cx="98359" cy="6193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252" name="Australia">
                  <a:extLst>
                    <a:ext uri="{FF2B5EF4-FFF2-40B4-BE49-F238E27FC236}">
                      <a16:creationId xmlns:a16="http://schemas.microsoft.com/office/drawing/2014/main" id="{FF2F92FC-EEEF-4643-AC5E-718500EA93A3}"/>
                    </a:ext>
                  </a:extLst>
                </p:cNvPr>
                <p:cNvGrpSpPr/>
                <p:nvPr/>
              </p:nvGrpSpPr>
              <p:grpSpPr>
                <a:xfrm>
                  <a:off x="6993640" y="4849826"/>
                  <a:ext cx="963557" cy="896162"/>
                  <a:chOff x="6993640" y="4849826"/>
                  <a:chExt cx="963557" cy="896162"/>
                </a:xfrm>
                <a:grpFill/>
              </p:grpSpPr>
              <p:sp>
                <p:nvSpPr>
                  <p:cNvPr id="259" name="Australia - Mainland">
                    <a:extLst>
                      <a:ext uri="{FF2B5EF4-FFF2-40B4-BE49-F238E27FC236}">
                        <a16:creationId xmlns:a16="http://schemas.microsoft.com/office/drawing/2014/main" id="{2866EE3A-94B0-1846-9D5F-A821A3C69688}"/>
                      </a:ext>
                    </a:extLst>
                  </p:cNvPr>
                  <p:cNvSpPr>
                    <a:spLocks/>
                  </p:cNvSpPr>
                  <p:nvPr/>
                </p:nvSpPr>
                <p:spPr bwMode="auto">
                  <a:xfrm>
                    <a:off x="6993640" y="4849826"/>
                    <a:ext cx="963557" cy="755910"/>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60" name="Australia - Offshore">
                    <a:extLst>
                      <a:ext uri="{FF2B5EF4-FFF2-40B4-BE49-F238E27FC236}">
                        <a16:creationId xmlns:a16="http://schemas.microsoft.com/office/drawing/2014/main" id="{84F9EADC-0947-EB4F-9446-0E7D5349D52A}"/>
                      </a:ext>
                    </a:extLst>
                  </p:cNvPr>
                  <p:cNvSpPr>
                    <a:spLocks/>
                  </p:cNvSpPr>
                  <p:nvPr/>
                </p:nvSpPr>
                <p:spPr bwMode="auto">
                  <a:xfrm>
                    <a:off x="7392542" y="4862577"/>
                    <a:ext cx="559191" cy="652086"/>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61" name="Tasmania">
                    <a:extLst>
                      <a:ext uri="{FF2B5EF4-FFF2-40B4-BE49-F238E27FC236}">
                        <a16:creationId xmlns:a16="http://schemas.microsoft.com/office/drawing/2014/main" id="{CBEFB3E3-38B9-5D4C-9F32-6271443A2EFB}"/>
                      </a:ext>
                    </a:extLst>
                  </p:cNvPr>
                  <p:cNvSpPr>
                    <a:spLocks/>
                  </p:cNvSpPr>
                  <p:nvPr/>
                </p:nvSpPr>
                <p:spPr bwMode="auto">
                  <a:xfrm>
                    <a:off x="7745907" y="5622129"/>
                    <a:ext cx="89251" cy="123859"/>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253" name="Solomon Islands">
                  <a:extLst>
                    <a:ext uri="{FF2B5EF4-FFF2-40B4-BE49-F238E27FC236}">
                      <a16:creationId xmlns:a16="http://schemas.microsoft.com/office/drawing/2014/main" id="{74E8B321-A0B4-E442-B2D4-F9DA56054FAB}"/>
                    </a:ext>
                  </a:extLst>
                </p:cNvPr>
                <p:cNvSpPr>
                  <a:spLocks/>
                </p:cNvSpPr>
                <p:nvPr/>
              </p:nvSpPr>
              <p:spPr bwMode="auto">
                <a:xfrm>
                  <a:off x="7980875" y="4725966"/>
                  <a:ext cx="183969" cy="156648"/>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4" name="Papua New Guinea">
                  <a:extLst>
                    <a:ext uri="{FF2B5EF4-FFF2-40B4-BE49-F238E27FC236}">
                      <a16:creationId xmlns:a16="http://schemas.microsoft.com/office/drawing/2014/main" id="{2E950C54-7C1E-E743-97C2-011C584D02CF}"/>
                    </a:ext>
                  </a:extLst>
                </p:cNvPr>
                <p:cNvSpPr>
                  <a:spLocks/>
                </p:cNvSpPr>
                <p:nvPr/>
              </p:nvSpPr>
              <p:spPr bwMode="auto">
                <a:xfrm>
                  <a:off x="7654832" y="4644001"/>
                  <a:ext cx="293256" cy="207648"/>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5" name="Tonga">
                  <a:extLst>
                    <a:ext uri="{FF2B5EF4-FFF2-40B4-BE49-F238E27FC236}">
                      <a16:creationId xmlns:a16="http://schemas.microsoft.com/office/drawing/2014/main" id="{DDC0D92F-8FBF-684E-BD87-8F54A7E48CC6}"/>
                    </a:ext>
                  </a:extLst>
                </p:cNvPr>
                <p:cNvSpPr>
                  <a:spLocks/>
                </p:cNvSpPr>
                <p:nvPr/>
              </p:nvSpPr>
              <p:spPr bwMode="auto">
                <a:xfrm>
                  <a:off x="8685784" y="5106654"/>
                  <a:ext cx="10929" cy="7286"/>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6" name="Vanuatu">
                  <a:extLst>
                    <a:ext uri="{FF2B5EF4-FFF2-40B4-BE49-F238E27FC236}">
                      <a16:creationId xmlns:a16="http://schemas.microsoft.com/office/drawing/2014/main" id="{300C4704-FCC2-1E49-9CE7-104CF8E0EA68}"/>
                    </a:ext>
                  </a:extLst>
                </p:cNvPr>
                <p:cNvSpPr>
                  <a:spLocks/>
                </p:cNvSpPr>
                <p:nvPr/>
              </p:nvSpPr>
              <p:spPr bwMode="auto">
                <a:xfrm>
                  <a:off x="8255916" y="4946364"/>
                  <a:ext cx="49180" cy="78322"/>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7" name="Chatham Island">
                  <a:extLst>
                    <a:ext uri="{FF2B5EF4-FFF2-40B4-BE49-F238E27FC236}">
                      <a16:creationId xmlns:a16="http://schemas.microsoft.com/office/drawing/2014/main" id="{C5D1F370-54C4-C147-86D7-AB2C59296490}"/>
                    </a:ext>
                  </a:extLst>
                </p:cNvPr>
                <p:cNvSpPr>
                  <a:spLocks/>
                </p:cNvSpPr>
                <p:nvPr/>
              </p:nvSpPr>
              <p:spPr bwMode="auto">
                <a:xfrm>
                  <a:off x="8656640" y="5751452"/>
                  <a:ext cx="12751" cy="14572"/>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8" name="American Samoa">
                  <a:extLst>
                    <a:ext uri="{FF2B5EF4-FFF2-40B4-BE49-F238E27FC236}">
                      <a16:creationId xmlns:a16="http://schemas.microsoft.com/office/drawing/2014/main" id="{CDCDC26D-AF84-7248-8D47-3B5C69B49A0F}"/>
                    </a:ext>
                  </a:extLst>
                </p:cNvPr>
                <p:cNvSpPr>
                  <a:spLocks/>
                </p:cNvSpPr>
                <p:nvPr/>
              </p:nvSpPr>
              <p:spPr bwMode="auto">
                <a:xfrm>
                  <a:off x="8742249" y="4917220"/>
                  <a:ext cx="40072" cy="1639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7" name="vMap : South America">
                <a:extLst>
                  <a:ext uri="{FF2B5EF4-FFF2-40B4-BE49-F238E27FC236}">
                    <a16:creationId xmlns:a16="http://schemas.microsoft.com/office/drawing/2014/main" id="{BC726680-DC48-5744-B9A7-ABECE04F70F3}"/>
                  </a:ext>
                </a:extLst>
              </p:cNvPr>
              <p:cNvGrpSpPr/>
              <p:nvPr/>
            </p:nvGrpSpPr>
            <p:grpSpPr>
              <a:xfrm>
                <a:off x="2119395" y="4301565"/>
                <a:ext cx="1353349" cy="1892504"/>
                <a:chOff x="2119395" y="4301565"/>
                <a:chExt cx="1353349" cy="1892504"/>
              </a:xfrm>
              <a:grpFill/>
            </p:grpSpPr>
            <p:sp>
              <p:nvSpPr>
                <p:cNvPr id="228" name="Galapagos">
                  <a:extLst>
                    <a:ext uri="{FF2B5EF4-FFF2-40B4-BE49-F238E27FC236}">
                      <a16:creationId xmlns:a16="http://schemas.microsoft.com/office/drawing/2014/main" id="{AA4DC1BB-4574-C844-8F4F-45D15E79808F}"/>
                    </a:ext>
                  </a:extLst>
                </p:cNvPr>
                <p:cNvSpPr>
                  <a:spLocks/>
                </p:cNvSpPr>
                <p:nvPr/>
              </p:nvSpPr>
              <p:spPr bwMode="auto">
                <a:xfrm>
                  <a:off x="2119395" y="4596643"/>
                  <a:ext cx="38251" cy="30966"/>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9" name="Venezuela">
                  <a:extLst>
                    <a:ext uri="{FF2B5EF4-FFF2-40B4-BE49-F238E27FC236}">
                      <a16:creationId xmlns:a16="http://schemas.microsoft.com/office/drawing/2014/main" id="{D65EC796-A8A3-8C42-A02F-C7D753829466}"/>
                    </a:ext>
                  </a:extLst>
                </p:cNvPr>
                <p:cNvSpPr>
                  <a:spLocks noEditPoints="1"/>
                </p:cNvSpPr>
                <p:nvPr/>
              </p:nvSpPr>
              <p:spPr bwMode="auto">
                <a:xfrm>
                  <a:off x="2554725" y="4307029"/>
                  <a:ext cx="326043" cy="275042"/>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0" name="Uruguay">
                  <a:extLst>
                    <a:ext uri="{FF2B5EF4-FFF2-40B4-BE49-F238E27FC236}">
                      <a16:creationId xmlns:a16="http://schemas.microsoft.com/office/drawing/2014/main" id="{363A195C-903C-4343-804E-BEBB3BB20483}"/>
                    </a:ext>
                  </a:extLst>
                </p:cNvPr>
                <p:cNvSpPr>
                  <a:spLocks/>
                </p:cNvSpPr>
                <p:nvPr/>
              </p:nvSpPr>
              <p:spPr bwMode="auto">
                <a:xfrm>
                  <a:off x="2908089" y="5343444"/>
                  <a:ext cx="129325" cy="138432"/>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1" name="Trinidad &amp; Tobago">
                  <a:extLst>
                    <a:ext uri="{FF2B5EF4-FFF2-40B4-BE49-F238E27FC236}">
                      <a16:creationId xmlns:a16="http://schemas.microsoft.com/office/drawing/2014/main" id="{F9028AF3-9CAF-B541-A716-AC2E7A9A65F2}"/>
                    </a:ext>
                  </a:extLst>
                </p:cNvPr>
                <p:cNvSpPr>
                  <a:spLocks/>
                </p:cNvSpPr>
                <p:nvPr/>
              </p:nvSpPr>
              <p:spPr bwMode="auto">
                <a:xfrm>
                  <a:off x="2826124" y="4341637"/>
                  <a:ext cx="27323" cy="20037"/>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2" name="Suriname">
                  <a:extLst>
                    <a:ext uri="{FF2B5EF4-FFF2-40B4-BE49-F238E27FC236}">
                      <a16:creationId xmlns:a16="http://schemas.microsoft.com/office/drawing/2014/main" id="{5B5EBED6-FD2E-B143-AD55-C96E888F4475}"/>
                    </a:ext>
                  </a:extLst>
                </p:cNvPr>
                <p:cNvSpPr>
                  <a:spLocks/>
                </p:cNvSpPr>
                <p:nvPr/>
              </p:nvSpPr>
              <p:spPr bwMode="auto">
                <a:xfrm>
                  <a:off x="2919018" y="4454568"/>
                  <a:ext cx="100181" cy="100181"/>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3" name="Peru">
                  <a:extLst>
                    <a:ext uri="{FF2B5EF4-FFF2-40B4-BE49-F238E27FC236}">
                      <a16:creationId xmlns:a16="http://schemas.microsoft.com/office/drawing/2014/main" id="{30BE94A0-3FF3-F348-B3C5-7CD828E8FA23}"/>
                    </a:ext>
                  </a:extLst>
                </p:cNvPr>
                <p:cNvSpPr>
                  <a:spLocks/>
                </p:cNvSpPr>
                <p:nvPr/>
              </p:nvSpPr>
              <p:spPr bwMode="auto">
                <a:xfrm>
                  <a:off x="2365292" y="4602107"/>
                  <a:ext cx="300543" cy="433509"/>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4" name="Paraguay">
                  <a:extLst>
                    <a:ext uri="{FF2B5EF4-FFF2-40B4-BE49-F238E27FC236}">
                      <a16:creationId xmlns:a16="http://schemas.microsoft.com/office/drawing/2014/main" id="{324225CD-7078-E643-B007-16D7842EA792}"/>
                    </a:ext>
                  </a:extLst>
                </p:cNvPr>
                <p:cNvSpPr>
                  <a:spLocks/>
                </p:cNvSpPr>
                <p:nvPr/>
              </p:nvSpPr>
              <p:spPr bwMode="auto">
                <a:xfrm>
                  <a:off x="2807909" y="5061116"/>
                  <a:ext cx="202183" cy="2149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5" name="Isla de Margarita">
                  <a:extLst>
                    <a:ext uri="{FF2B5EF4-FFF2-40B4-BE49-F238E27FC236}">
                      <a16:creationId xmlns:a16="http://schemas.microsoft.com/office/drawing/2014/main" id="{98BAF209-40AB-B944-A538-91B746BACC66}"/>
                    </a:ext>
                  </a:extLst>
                </p:cNvPr>
                <p:cNvSpPr>
                  <a:spLocks/>
                </p:cNvSpPr>
                <p:nvPr/>
              </p:nvSpPr>
              <p:spPr bwMode="auto">
                <a:xfrm>
                  <a:off x="2769658" y="4330708"/>
                  <a:ext cx="14572" cy="10929"/>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6" name="French Guiana">
                  <a:extLst>
                    <a:ext uri="{FF2B5EF4-FFF2-40B4-BE49-F238E27FC236}">
                      <a16:creationId xmlns:a16="http://schemas.microsoft.com/office/drawing/2014/main" id="{C7ECFC80-EF41-9B4F-8317-4735C2A8DBF0}"/>
                    </a:ext>
                  </a:extLst>
                </p:cNvPr>
                <p:cNvSpPr>
                  <a:spLocks/>
                </p:cNvSpPr>
                <p:nvPr/>
              </p:nvSpPr>
              <p:spPr bwMode="auto">
                <a:xfrm>
                  <a:off x="3004628" y="4463675"/>
                  <a:ext cx="72859" cy="89252"/>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7" name="Guyana">
                  <a:extLst>
                    <a:ext uri="{FF2B5EF4-FFF2-40B4-BE49-F238E27FC236}">
                      <a16:creationId xmlns:a16="http://schemas.microsoft.com/office/drawing/2014/main" id="{3C476C63-125F-8845-96AB-D667D08460B2}"/>
                    </a:ext>
                  </a:extLst>
                </p:cNvPr>
                <p:cNvSpPr>
                  <a:spLocks/>
                </p:cNvSpPr>
                <p:nvPr/>
              </p:nvSpPr>
              <p:spPr bwMode="auto">
                <a:xfrm>
                  <a:off x="2842517" y="4401745"/>
                  <a:ext cx="116574" cy="167575"/>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8" name="Ecuador">
                  <a:extLst>
                    <a:ext uri="{FF2B5EF4-FFF2-40B4-BE49-F238E27FC236}">
                      <a16:creationId xmlns:a16="http://schemas.microsoft.com/office/drawing/2014/main" id="{63A492B7-ECCA-2144-A0A2-DD2E15250960}"/>
                    </a:ext>
                  </a:extLst>
                </p:cNvPr>
                <p:cNvSpPr>
                  <a:spLocks/>
                </p:cNvSpPr>
                <p:nvPr/>
              </p:nvSpPr>
              <p:spPr bwMode="auto">
                <a:xfrm>
                  <a:off x="2376221" y="4565677"/>
                  <a:ext cx="138431" cy="154825"/>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9" name="Bolivia">
                  <a:extLst>
                    <a:ext uri="{FF2B5EF4-FFF2-40B4-BE49-F238E27FC236}">
                      <a16:creationId xmlns:a16="http://schemas.microsoft.com/office/drawing/2014/main" id="{512887A6-1072-1B4B-B34C-4FACB6CB242F}"/>
                    </a:ext>
                  </a:extLst>
                </p:cNvPr>
                <p:cNvSpPr>
                  <a:spLocks/>
                </p:cNvSpPr>
                <p:nvPr/>
              </p:nvSpPr>
              <p:spPr bwMode="auto">
                <a:xfrm>
                  <a:off x="2643976" y="4826146"/>
                  <a:ext cx="285971" cy="327864"/>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0" name="Columbia">
                  <a:extLst>
                    <a:ext uri="{FF2B5EF4-FFF2-40B4-BE49-F238E27FC236}">
                      <a16:creationId xmlns:a16="http://schemas.microsoft.com/office/drawing/2014/main" id="{24AE67E1-DFBE-824F-B42E-6CC303DF7D28}"/>
                    </a:ext>
                  </a:extLst>
                </p:cNvPr>
                <p:cNvSpPr>
                  <a:spLocks/>
                </p:cNvSpPr>
                <p:nvPr/>
              </p:nvSpPr>
              <p:spPr bwMode="auto">
                <a:xfrm>
                  <a:off x="2421758" y="4301565"/>
                  <a:ext cx="289614" cy="393437"/>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241" name="Chile">
                  <a:extLst>
                    <a:ext uri="{FF2B5EF4-FFF2-40B4-BE49-F238E27FC236}">
                      <a16:creationId xmlns:a16="http://schemas.microsoft.com/office/drawing/2014/main" id="{8969EFAF-6EED-3D47-A7A6-ED8C06DC556B}"/>
                    </a:ext>
                  </a:extLst>
                </p:cNvPr>
                <p:cNvGrpSpPr/>
                <p:nvPr/>
              </p:nvGrpSpPr>
              <p:grpSpPr>
                <a:xfrm>
                  <a:off x="2500081" y="5019222"/>
                  <a:ext cx="205826" cy="1174847"/>
                  <a:chOff x="2500081" y="5019222"/>
                  <a:chExt cx="205826" cy="1174847"/>
                </a:xfrm>
                <a:grpFill/>
              </p:grpSpPr>
              <p:sp>
                <p:nvSpPr>
                  <p:cNvPr id="244" name="Chile - Mainland">
                    <a:extLst>
                      <a:ext uri="{FF2B5EF4-FFF2-40B4-BE49-F238E27FC236}">
                        <a16:creationId xmlns:a16="http://schemas.microsoft.com/office/drawing/2014/main" id="{9869D45B-68E2-2140-B0D3-9BBE7FF88179}"/>
                      </a:ext>
                    </a:extLst>
                  </p:cNvPr>
                  <p:cNvSpPr>
                    <a:spLocks noEditPoints="1"/>
                  </p:cNvSpPr>
                  <p:nvPr/>
                </p:nvSpPr>
                <p:spPr bwMode="auto">
                  <a:xfrm>
                    <a:off x="2500081" y="5019222"/>
                    <a:ext cx="205826" cy="1096523"/>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5" name="Chile - Offshore">
                    <a:extLst>
                      <a:ext uri="{FF2B5EF4-FFF2-40B4-BE49-F238E27FC236}">
                        <a16:creationId xmlns:a16="http://schemas.microsoft.com/office/drawing/2014/main" id="{BEF9C986-D3EE-A845-924E-657B62A55B9F}"/>
                      </a:ext>
                    </a:extLst>
                  </p:cNvPr>
                  <p:cNvSpPr>
                    <a:spLocks/>
                  </p:cNvSpPr>
                  <p:nvPr/>
                </p:nvSpPr>
                <p:spPr bwMode="auto">
                  <a:xfrm>
                    <a:off x="2503724" y="5684058"/>
                    <a:ext cx="182146" cy="510011"/>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242" name="Brazil">
                  <a:extLst>
                    <a:ext uri="{FF2B5EF4-FFF2-40B4-BE49-F238E27FC236}">
                      <a16:creationId xmlns:a16="http://schemas.microsoft.com/office/drawing/2014/main" id="{144E6B1F-84FB-1C46-835A-2E19551305B2}"/>
                    </a:ext>
                  </a:extLst>
                </p:cNvPr>
                <p:cNvSpPr>
                  <a:spLocks/>
                </p:cNvSpPr>
                <p:nvPr/>
              </p:nvSpPr>
              <p:spPr bwMode="auto">
                <a:xfrm>
                  <a:off x="2543796" y="4474603"/>
                  <a:ext cx="928948" cy="974486"/>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3" name="Argentina">
                  <a:extLst>
                    <a:ext uri="{FF2B5EF4-FFF2-40B4-BE49-F238E27FC236}">
                      <a16:creationId xmlns:a16="http://schemas.microsoft.com/office/drawing/2014/main" id="{262DE019-82E9-DC40-A027-BAF1141A7E10}"/>
                    </a:ext>
                  </a:extLst>
                </p:cNvPr>
                <p:cNvSpPr>
                  <a:spLocks/>
                </p:cNvSpPr>
                <p:nvPr/>
              </p:nvSpPr>
              <p:spPr bwMode="auto">
                <a:xfrm>
                  <a:off x="2554725" y="5124866"/>
                  <a:ext cx="471760" cy="1050988"/>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8" name="vMap : North America">
                <a:extLst>
                  <a:ext uri="{FF2B5EF4-FFF2-40B4-BE49-F238E27FC236}">
                    <a16:creationId xmlns:a16="http://schemas.microsoft.com/office/drawing/2014/main" id="{276A4017-CBD2-1443-BE95-17ACC46A1C47}"/>
                  </a:ext>
                </a:extLst>
              </p:cNvPr>
              <p:cNvGrpSpPr/>
              <p:nvPr/>
            </p:nvGrpSpPr>
            <p:grpSpPr>
              <a:xfrm>
                <a:off x="299749" y="767775"/>
                <a:ext cx="2748594" cy="3661293"/>
                <a:chOff x="299749" y="767775"/>
                <a:chExt cx="2748594" cy="3661293"/>
              </a:xfrm>
              <a:grpFill/>
            </p:grpSpPr>
            <p:sp>
              <p:nvSpPr>
                <p:cNvPr id="202" name="The Bahamas">
                  <a:extLst>
                    <a:ext uri="{FF2B5EF4-FFF2-40B4-BE49-F238E27FC236}">
                      <a16:creationId xmlns:a16="http://schemas.microsoft.com/office/drawing/2014/main" id="{726538ED-8395-6F4D-9955-7399E7615345}"/>
                    </a:ext>
                  </a:extLst>
                </p:cNvPr>
                <p:cNvSpPr>
                  <a:spLocks/>
                </p:cNvSpPr>
                <p:nvPr/>
              </p:nvSpPr>
              <p:spPr bwMode="auto">
                <a:xfrm>
                  <a:off x="2421757" y="3937270"/>
                  <a:ext cx="143897" cy="15300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203" name="Canada">
                  <a:extLst>
                    <a:ext uri="{FF2B5EF4-FFF2-40B4-BE49-F238E27FC236}">
                      <a16:creationId xmlns:a16="http://schemas.microsoft.com/office/drawing/2014/main" id="{1ABB5944-B8FA-5B4C-B0FF-8526FCB080A3}"/>
                    </a:ext>
                  </a:extLst>
                </p:cNvPr>
                <p:cNvGrpSpPr/>
                <p:nvPr/>
              </p:nvGrpSpPr>
              <p:grpSpPr>
                <a:xfrm>
                  <a:off x="944548" y="767775"/>
                  <a:ext cx="2103795" cy="2734166"/>
                  <a:chOff x="944548" y="767775"/>
                  <a:chExt cx="2103795" cy="2734166"/>
                </a:xfrm>
                <a:grpFill/>
              </p:grpSpPr>
              <p:sp>
                <p:nvSpPr>
                  <p:cNvPr id="226" name="Canada - Offshore">
                    <a:extLst>
                      <a:ext uri="{FF2B5EF4-FFF2-40B4-BE49-F238E27FC236}">
                        <a16:creationId xmlns:a16="http://schemas.microsoft.com/office/drawing/2014/main" id="{2EDEAE9E-DFE9-8B41-8ACD-B696869D13C7}"/>
                      </a:ext>
                    </a:extLst>
                  </p:cNvPr>
                  <p:cNvSpPr>
                    <a:spLocks/>
                  </p:cNvSpPr>
                  <p:nvPr/>
                </p:nvSpPr>
                <p:spPr bwMode="auto">
                  <a:xfrm>
                    <a:off x="1064764" y="767775"/>
                    <a:ext cx="1983579" cy="2617593"/>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7" name="Canada - Mainland">
                    <a:extLst>
                      <a:ext uri="{FF2B5EF4-FFF2-40B4-BE49-F238E27FC236}">
                        <a16:creationId xmlns:a16="http://schemas.microsoft.com/office/drawing/2014/main" id="{951F44EC-BF03-5247-B7AB-62B2530B853E}"/>
                      </a:ext>
                    </a:extLst>
                  </p:cNvPr>
                  <p:cNvSpPr>
                    <a:spLocks noEditPoints="1"/>
                  </p:cNvSpPr>
                  <p:nvPr/>
                </p:nvSpPr>
                <p:spPr bwMode="auto">
                  <a:xfrm>
                    <a:off x="944548" y="2097589"/>
                    <a:ext cx="2032757" cy="1404352"/>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204" name="Alaska">
                  <a:extLst>
                    <a:ext uri="{FF2B5EF4-FFF2-40B4-BE49-F238E27FC236}">
                      <a16:creationId xmlns:a16="http://schemas.microsoft.com/office/drawing/2014/main" id="{0525FC54-C35A-9D47-95E2-F4BF87E251B5}"/>
                    </a:ext>
                  </a:extLst>
                </p:cNvPr>
                <p:cNvGrpSpPr/>
                <p:nvPr/>
              </p:nvGrpSpPr>
              <p:grpSpPr>
                <a:xfrm>
                  <a:off x="299749" y="2143126"/>
                  <a:ext cx="923484" cy="1001807"/>
                  <a:chOff x="299749" y="2143126"/>
                  <a:chExt cx="923484" cy="1001807"/>
                </a:xfrm>
                <a:grpFill/>
              </p:grpSpPr>
              <p:sp>
                <p:nvSpPr>
                  <p:cNvPr id="224" name="Alaska - Mainland">
                    <a:extLst>
                      <a:ext uri="{FF2B5EF4-FFF2-40B4-BE49-F238E27FC236}">
                        <a16:creationId xmlns:a16="http://schemas.microsoft.com/office/drawing/2014/main" id="{269BE861-55E2-7945-9FDD-23FE825E0E0A}"/>
                      </a:ext>
                    </a:extLst>
                  </p:cNvPr>
                  <p:cNvSpPr>
                    <a:spLocks noEditPoints="1"/>
                  </p:cNvSpPr>
                  <p:nvPr/>
                </p:nvSpPr>
                <p:spPr bwMode="auto">
                  <a:xfrm>
                    <a:off x="299749" y="2143126"/>
                    <a:ext cx="907090" cy="899805"/>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5" name="Alaska - Offshore">
                    <a:extLst>
                      <a:ext uri="{FF2B5EF4-FFF2-40B4-BE49-F238E27FC236}">
                        <a16:creationId xmlns:a16="http://schemas.microsoft.com/office/drawing/2014/main" id="{37F522DB-FD67-CF46-AE0E-A4368619899F}"/>
                      </a:ext>
                    </a:extLst>
                  </p:cNvPr>
                  <p:cNvSpPr>
                    <a:spLocks/>
                  </p:cNvSpPr>
                  <p:nvPr/>
                </p:nvSpPr>
                <p:spPr bwMode="auto">
                  <a:xfrm>
                    <a:off x="308856" y="2438204"/>
                    <a:ext cx="914377" cy="706729"/>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205" name="USA - Mainland">
                  <a:extLst>
                    <a:ext uri="{FF2B5EF4-FFF2-40B4-BE49-F238E27FC236}">
                      <a16:creationId xmlns:a16="http://schemas.microsoft.com/office/drawing/2014/main" id="{65D4BAA3-C6F1-1C4B-B43E-263A73FBEB3C}"/>
                    </a:ext>
                  </a:extLst>
                </p:cNvPr>
                <p:cNvSpPr>
                  <a:spLocks noEditPoints="1"/>
                </p:cNvSpPr>
                <p:nvPr/>
              </p:nvSpPr>
              <p:spPr bwMode="auto">
                <a:xfrm>
                  <a:off x="1336163" y="3248756"/>
                  <a:ext cx="1371565" cy="734052"/>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6" name="USA - Offshore">
                  <a:extLst>
                    <a:ext uri="{FF2B5EF4-FFF2-40B4-BE49-F238E27FC236}">
                      <a16:creationId xmlns:a16="http://schemas.microsoft.com/office/drawing/2014/main" id="{98BCDB9D-6B4D-344B-BD1E-F2DE913735E4}"/>
                    </a:ext>
                  </a:extLst>
                </p:cNvPr>
                <p:cNvSpPr>
                  <a:spLocks/>
                </p:cNvSpPr>
                <p:nvPr/>
              </p:nvSpPr>
              <p:spPr bwMode="auto">
                <a:xfrm>
                  <a:off x="1991890" y="3525619"/>
                  <a:ext cx="595620" cy="391616"/>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7" name="Hawaii">
                  <a:extLst>
                    <a:ext uri="{FF2B5EF4-FFF2-40B4-BE49-F238E27FC236}">
                      <a16:creationId xmlns:a16="http://schemas.microsoft.com/office/drawing/2014/main" id="{E10C077F-5A7C-8842-865C-11EAF877F2E9}"/>
                    </a:ext>
                  </a:extLst>
                </p:cNvPr>
                <p:cNvSpPr>
                  <a:spLocks/>
                </p:cNvSpPr>
                <p:nvPr/>
              </p:nvSpPr>
              <p:spPr bwMode="auto">
                <a:xfrm>
                  <a:off x="500110" y="4061129"/>
                  <a:ext cx="120217" cy="85610"/>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8" name="Puerto Rico">
                  <a:extLst>
                    <a:ext uri="{FF2B5EF4-FFF2-40B4-BE49-F238E27FC236}">
                      <a16:creationId xmlns:a16="http://schemas.microsoft.com/office/drawing/2014/main" id="{478FB693-7F37-6241-A869-7E7A59BCF7C4}"/>
                    </a:ext>
                  </a:extLst>
                </p:cNvPr>
                <p:cNvSpPr>
                  <a:spLocks/>
                </p:cNvSpPr>
                <p:nvPr/>
              </p:nvSpPr>
              <p:spPr bwMode="auto">
                <a:xfrm>
                  <a:off x="2700442" y="4150383"/>
                  <a:ext cx="38251" cy="1639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9" name="Panama">
                  <a:extLst>
                    <a:ext uri="{FF2B5EF4-FFF2-40B4-BE49-F238E27FC236}">
                      <a16:creationId xmlns:a16="http://schemas.microsoft.com/office/drawing/2014/main" id="{210A65EC-BC4F-054E-9507-B69FF28DB1BF}"/>
                    </a:ext>
                  </a:extLst>
                </p:cNvPr>
                <p:cNvSpPr>
                  <a:spLocks/>
                </p:cNvSpPr>
                <p:nvPr/>
              </p:nvSpPr>
              <p:spPr bwMode="auto">
                <a:xfrm>
                  <a:off x="2325220" y="4368959"/>
                  <a:ext cx="140254" cy="60109"/>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0" name="Nicaragua">
                  <a:extLst>
                    <a:ext uri="{FF2B5EF4-FFF2-40B4-BE49-F238E27FC236}">
                      <a16:creationId xmlns:a16="http://schemas.microsoft.com/office/drawing/2014/main" id="{294AA974-E4D0-5244-A158-CCDF75C9C5B2}"/>
                    </a:ext>
                  </a:extLst>
                </p:cNvPr>
                <p:cNvSpPr>
                  <a:spLocks/>
                </p:cNvSpPr>
                <p:nvPr/>
              </p:nvSpPr>
              <p:spPr bwMode="auto">
                <a:xfrm>
                  <a:off x="2215932" y="4239634"/>
                  <a:ext cx="105645" cy="105645"/>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1" name="Mexico">
                  <a:extLst>
                    <a:ext uri="{FF2B5EF4-FFF2-40B4-BE49-F238E27FC236}">
                      <a16:creationId xmlns:a16="http://schemas.microsoft.com/office/drawing/2014/main" id="{12EAD1E9-A605-7041-AE10-5C89EE1DF728}"/>
                    </a:ext>
                  </a:extLst>
                </p:cNvPr>
                <p:cNvSpPr>
                  <a:spLocks/>
                </p:cNvSpPr>
                <p:nvPr/>
              </p:nvSpPr>
              <p:spPr bwMode="auto">
                <a:xfrm>
                  <a:off x="1514667" y="3776982"/>
                  <a:ext cx="721301" cy="473582"/>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2" name="Martinique">
                  <a:extLst>
                    <a:ext uri="{FF2B5EF4-FFF2-40B4-BE49-F238E27FC236}">
                      <a16:creationId xmlns:a16="http://schemas.microsoft.com/office/drawing/2014/main" id="{11BA2A5B-4028-9C44-B091-79708B189D7F}"/>
                    </a:ext>
                  </a:extLst>
                </p:cNvPr>
                <p:cNvSpPr>
                  <a:spLocks/>
                </p:cNvSpPr>
                <p:nvPr/>
              </p:nvSpPr>
              <p:spPr bwMode="auto">
                <a:xfrm>
                  <a:off x="2842517" y="4241456"/>
                  <a:ext cx="10929" cy="14572"/>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3" name="Lago de Nicaragua">
                  <a:extLst>
                    <a:ext uri="{FF2B5EF4-FFF2-40B4-BE49-F238E27FC236}">
                      <a16:creationId xmlns:a16="http://schemas.microsoft.com/office/drawing/2014/main" id="{175BE806-B021-B743-880D-8A02D836CE4C}"/>
                    </a:ext>
                  </a:extLst>
                </p:cNvPr>
                <p:cNvSpPr>
                  <a:spLocks/>
                </p:cNvSpPr>
                <p:nvPr/>
              </p:nvSpPr>
              <p:spPr bwMode="auto">
                <a:xfrm>
                  <a:off x="2257825" y="4308850"/>
                  <a:ext cx="23680" cy="25501"/>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4" name="Honduras">
                  <a:extLst>
                    <a:ext uri="{FF2B5EF4-FFF2-40B4-BE49-F238E27FC236}">
                      <a16:creationId xmlns:a16="http://schemas.microsoft.com/office/drawing/2014/main" id="{35336DAD-4A38-1942-85DD-820833CCC335}"/>
                    </a:ext>
                  </a:extLst>
                </p:cNvPr>
                <p:cNvSpPr>
                  <a:spLocks/>
                </p:cNvSpPr>
                <p:nvPr/>
              </p:nvSpPr>
              <p:spPr bwMode="auto">
                <a:xfrm>
                  <a:off x="2174038" y="4212313"/>
                  <a:ext cx="145717" cy="76502"/>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5" name="Haiti">
                  <a:extLst>
                    <a:ext uri="{FF2B5EF4-FFF2-40B4-BE49-F238E27FC236}">
                      <a16:creationId xmlns:a16="http://schemas.microsoft.com/office/drawing/2014/main" id="{411994DF-6F47-DC4A-A19A-D2944D4883CD}"/>
                    </a:ext>
                  </a:extLst>
                </p:cNvPr>
                <p:cNvSpPr>
                  <a:spLocks/>
                </p:cNvSpPr>
                <p:nvPr/>
              </p:nvSpPr>
              <p:spPr bwMode="auto">
                <a:xfrm>
                  <a:off x="2529224" y="4112132"/>
                  <a:ext cx="67395" cy="51000"/>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6" name="Jamaica">
                  <a:extLst>
                    <a:ext uri="{FF2B5EF4-FFF2-40B4-BE49-F238E27FC236}">
                      <a16:creationId xmlns:a16="http://schemas.microsoft.com/office/drawing/2014/main" id="{B3F01F59-0A7B-7D45-B804-823E09B1E39C}"/>
                    </a:ext>
                  </a:extLst>
                </p:cNvPr>
                <p:cNvSpPr>
                  <a:spLocks/>
                </p:cNvSpPr>
                <p:nvPr/>
              </p:nvSpPr>
              <p:spPr bwMode="auto">
                <a:xfrm>
                  <a:off x="2436329" y="4150383"/>
                  <a:ext cx="52823" cy="21858"/>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7" name="Guadeloupe">
                  <a:extLst>
                    <a:ext uri="{FF2B5EF4-FFF2-40B4-BE49-F238E27FC236}">
                      <a16:creationId xmlns:a16="http://schemas.microsoft.com/office/drawing/2014/main" id="{CC9FB334-11AA-3F4A-A45B-8E7B7AE689D4}"/>
                    </a:ext>
                  </a:extLst>
                </p:cNvPr>
                <p:cNvSpPr>
                  <a:spLocks/>
                </p:cNvSpPr>
                <p:nvPr/>
              </p:nvSpPr>
              <p:spPr bwMode="auto">
                <a:xfrm>
                  <a:off x="2829767" y="4201384"/>
                  <a:ext cx="16394" cy="14572"/>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8" name="Guatemala">
                  <a:extLst>
                    <a:ext uri="{FF2B5EF4-FFF2-40B4-BE49-F238E27FC236}">
                      <a16:creationId xmlns:a16="http://schemas.microsoft.com/office/drawing/2014/main" id="{EE1E52E0-7A19-2747-B51E-715914BCB9A5}"/>
                    </a:ext>
                  </a:extLst>
                </p:cNvPr>
                <p:cNvSpPr>
                  <a:spLocks/>
                </p:cNvSpPr>
                <p:nvPr/>
              </p:nvSpPr>
              <p:spPr bwMode="auto">
                <a:xfrm>
                  <a:off x="2103001" y="4166776"/>
                  <a:ext cx="98359" cy="105645"/>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9" name="El Salvador">
                  <a:extLst>
                    <a:ext uri="{FF2B5EF4-FFF2-40B4-BE49-F238E27FC236}">
                      <a16:creationId xmlns:a16="http://schemas.microsoft.com/office/drawing/2014/main" id="{B2030E2F-E868-564A-AE22-190CA33C4ADE}"/>
                    </a:ext>
                  </a:extLst>
                </p:cNvPr>
                <p:cNvSpPr>
                  <a:spLocks/>
                </p:cNvSpPr>
                <p:nvPr/>
              </p:nvSpPr>
              <p:spPr bwMode="auto">
                <a:xfrm>
                  <a:off x="2157645" y="4252385"/>
                  <a:ext cx="56466" cy="32786"/>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0" name="Dominican Republic">
                  <a:extLst>
                    <a:ext uri="{FF2B5EF4-FFF2-40B4-BE49-F238E27FC236}">
                      <a16:creationId xmlns:a16="http://schemas.microsoft.com/office/drawing/2014/main" id="{422262E8-F820-2346-A6DD-7FEDDB6E0BE7}"/>
                    </a:ext>
                  </a:extLst>
                </p:cNvPr>
                <p:cNvSpPr>
                  <a:spLocks/>
                </p:cNvSpPr>
                <p:nvPr/>
              </p:nvSpPr>
              <p:spPr bwMode="auto">
                <a:xfrm>
                  <a:off x="2589332" y="4115774"/>
                  <a:ext cx="85610" cy="58287"/>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1" name="Costa Rica">
                  <a:extLst>
                    <a:ext uri="{FF2B5EF4-FFF2-40B4-BE49-F238E27FC236}">
                      <a16:creationId xmlns:a16="http://schemas.microsoft.com/office/drawing/2014/main" id="{45E05D5C-9227-D44E-95BB-503C5A0738D8}"/>
                    </a:ext>
                  </a:extLst>
                </p:cNvPr>
                <p:cNvSpPr>
                  <a:spLocks/>
                </p:cNvSpPr>
                <p:nvPr/>
              </p:nvSpPr>
              <p:spPr bwMode="auto">
                <a:xfrm>
                  <a:off x="2257825" y="4330708"/>
                  <a:ext cx="78324" cy="71038"/>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2" name="Cuba">
                  <a:extLst>
                    <a:ext uri="{FF2B5EF4-FFF2-40B4-BE49-F238E27FC236}">
                      <a16:creationId xmlns:a16="http://schemas.microsoft.com/office/drawing/2014/main" id="{B18223E8-F523-B24A-AD40-23D6C58342F5}"/>
                    </a:ext>
                  </a:extLst>
                </p:cNvPr>
                <p:cNvSpPr>
                  <a:spLocks/>
                </p:cNvSpPr>
                <p:nvPr/>
              </p:nvSpPr>
              <p:spPr bwMode="auto">
                <a:xfrm>
                  <a:off x="2281505" y="4031987"/>
                  <a:ext cx="253184" cy="89252"/>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3" name="Belize">
                  <a:extLst>
                    <a:ext uri="{FF2B5EF4-FFF2-40B4-BE49-F238E27FC236}">
                      <a16:creationId xmlns:a16="http://schemas.microsoft.com/office/drawing/2014/main" id="{918F2567-3D55-4F40-8C8E-EFCC1771036C}"/>
                    </a:ext>
                  </a:extLst>
                </p:cNvPr>
                <p:cNvSpPr>
                  <a:spLocks/>
                </p:cNvSpPr>
                <p:nvPr/>
              </p:nvSpPr>
              <p:spPr bwMode="auto">
                <a:xfrm>
                  <a:off x="2175860" y="4152204"/>
                  <a:ext cx="30966" cy="63752"/>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9" name="vMap : Europe">
                <a:extLst>
                  <a:ext uri="{FF2B5EF4-FFF2-40B4-BE49-F238E27FC236}">
                    <a16:creationId xmlns:a16="http://schemas.microsoft.com/office/drawing/2014/main" id="{E2569CE0-07BD-2143-9744-B23B43439543}"/>
                  </a:ext>
                </a:extLst>
              </p:cNvPr>
              <p:cNvGrpSpPr/>
              <p:nvPr/>
            </p:nvGrpSpPr>
            <p:grpSpPr>
              <a:xfrm>
                <a:off x="2569523" y="663933"/>
                <a:ext cx="2926872" cy="3060226"/>
                <a:chOff x="2569523" y="663933"/>
                <a:chExt cx="2926872" cy="3060226"/>
              </a:xfrm>
              <a:grpFill/>
            </p:grpSpPr>
            <p:grpSp>
              <p:nvGrpSpPr>
                <p:cNvPr id="140" name="Greenland">
                  <a:extLst>
                    <a:ext uri="{FF2B5EF4-FFF2-40B4-BE49-F238E27FC236}">
                      <a16:creationId xmlns:a16="http://schemas.microsoft.com/office/drawing/2014/main" id="{8DF84EFB-76F6-3A44-9BC1-F371AE505250}"/>
                    </a:ext>
                  </a:extLst>
                </p:cNvPr>
                <p:cNvGrpSpPr/>
                <p:nvPr/>
              </p:nvGrpSpPr>
              <p:grpSpPr>
                <a:xfrm>
                  <a:off x="2569523" y="663933"/>
                  <a:ext cx="1474847" cy="2166631"/>
                  <a:chOff x="2569523" y="663933"/>
                  <a:chExt cx="1474847" cy="2166631"/>
                </a:xfrm>
                <a:grpFill/>
              </p:grpSpPr>
              <p:sp>
                <p:nvSpPr>
                  <p:cNvPr id="200" name="Greenland - Offshore">
                    <a:extLst>
                      <a:ext uri="{FF2B5EF4-FFF2-40B4-BE49-F238E27FC236}">
                        <a16:creationId xmlns:a16="http://schemas.microsoft.com/office/drawing/2014/main" id="{34A819FF-D7C8-754E-968A-4B3EDC8ACFAB}"/>
                      </a:ext>
                    </a:extLst>
                  </p:cNvPr>
                  <p:cNvSpPr/>
                  <p:nvPr/>
                </p:nvSpPr>
                <p:spPr>
                  <a:xfrm>
                    <a:off x="2575037" y="706073"/>
                    <a:ext cx="1326361" cy="1589827"/>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solidFill>
                    <a:schemeClr val="bg1">
                      <a:lumMod val="85000"/>
                    </a:schemeClr>
                  </a:solidFill>
                  <a:ln w="3175">
                    <a:noFill/>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1" name="Greenland - Mainland">
                    <a:extLst>
                      <a:ext uri="{FF2B5EF4-FFF2-40B4-BE49-F238E27FC236}">
                        <a16:creationId xmlns:a16="http://schemas.microsoft.com/office/drawing/2014/main" id="{BCA1D983-A8AB-EF4B-8702-3C22894523E7}"/>
                      </a:ext>
                    </a:extLst>
                  </p:cNvPr>
                  <p:cNvSpPr>
                    <a:spLocks/>
                  </p:cNvSpPr>
                  <p:nvPr/>
                </p:nvSpPr>
                <p:spPr bwMode="auto">
                  <a:xfrm flipV="1">
                    <a:off x="2569523" y="663933"/>
                    <a:ext cx="1474847" cy="2166631"/>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solidFill>
                    <a:schemeClr val="bg1">
                      <a:lumMod val="85000"/>
                    </a:schemeClr>
                  </a:solidFill>
                  <a:ln w="3175">
                    <a:noFill/>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41" name="Svalbard">
                  <a:extLst>
                    <a:ext uri="{FF2B5EF4-FFF2-40B4-BE49-F238E27FC236}">
                      <a16:creationId xmlns:a16="http://schemas.microsoft.com/office/drawing/2014/main" id="{36C7A1CA-3C7D-C046-B884-2B5956FA8801}"/>
                    </a:ext>
                  </a:extLst>
                </p:cNvPr>
                <p:cNvSpPr>
                  <a:spLocks/>
                </p:cNvSpPr>
                <p:nvPr/>
              </p:nvSpPr>
              <p:spPr bwMode="auto">
                <a:xfrm>
                  <a:off x="4552874" y="1203247"/>
                  <a:ext cx="398901" cy="486334"/>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2" name="Iceland">
                  <a:extLst>
                    <a:ext uri="{FF2B5EF4-FFF2-40B4-BE49-F238E27FC236}">
                      <a16:creationId xmlns:a16="http://schemas.microsoft.com/office/drawing/2014/main" id="{63DE3E40-1200-5C4A-8144-7989C65184E7}"/>
                    </a:ext>
                  </a:extLst>
                </p:cNvPr>
                <p:cNvSpPr>
                  <a:spLocks/>
                </p:cNvSpPr>
                <p:nvPr/>
              </p:nvSpPr>
              <p:spPr bwMode="auto">
                <a:xfrm>
                  <a:off x="3715000" y="2460061"/>
                  <a:ext cx="264113" cy="180326"/>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3" name="Portugal">
                  <a:extLst>
                    <a:ext uri="{FF2B5EF4-FFF2-40B4-BE49-F238E27FC236}">
                      <a16:creationId xmlns:a16="http://schemas.microsoft.com/office/drawing/2014/main" id="{4CF92633-EA39-2743-8D96-10381B0BDAD5}"/>
                    </a:ext>
                  </a:extLst>
                </p:cNvPr>
                <p:cNvSpPr>
                  <a:spLocks/>
                </p:cNvSpPr>
                <p:nvPr/>
              </p:nvSpPr>
              <p:spPr bwMode="auto">
                <a:xfrm>
                  <a:off x="4079294" y="3494654"/>
                  <a:ext cx="78324" cy="156646"/>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4" name="Spain">
                  <a:extLst>
                    <a:ext uri="{FF2B5EF4-FFF2-40B4-BE49-F238E27FC236}">
                      <a16:creationId xmlns:a16="http://schemas.microsoft.com/office/drawing/2014/main" id="{E98AA3E7-97DA-7E45-938A-E1522B3CFCA3}"/>
                    </a:ext>
                  </a:extLst>
                </p:cNvPr>
                <p:cNvSpPr>
                  <a:spLocks/>
                </p:cNvSpPr>
                <p:nvPr/>
              </p:nvSpPr>
              <p:spPr bwMode="auto">
                <a:xfrm>
                  <a:off x="4082937" y="3441832"/>
                  <a:ext cx="298721" cy="238613"/>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5" name="France">
                  <a:extLst>
                    <a:ext uri="{FF2B5EF4-FFF2-40B4-BE49-F238E27FC236}">
                      <a16:creationId xmlns:a16="http://schemas.microsoft.com/office/drawing/2014/main" id="{37F4F4D4-DA3E-7649-BF25-682E5317D2DF}"/>
                    </a:ext>
                  </a:extLst>
                </p:cNvPr>
                <p:cNvSpPr>
                  <a:spLocks/>
                </p:cNvSpPr>
                <p:nvPr/>
              </p:nvSpPr>
              <p:spPr bwMode="auto">
                <a:xfrm>
                  <a:off x="4188582" y="3183184"/>
                  <a:ext cx="304186" cy="30600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6" name="Ireland">
                  <a:extLst>
                    <a:ext uri="{FF2B5EF4-FFF2-40B4-BE49-F238E27FC236}">
                      <a16:creationId xmlns:a16="http://schemas.microsoft.com/office/drawing/2014/main" id="{9D01D182-D4F4-434F-9444-14DDE9DDCF1F}"/>
                    </a:ext>
                  </a:extLst>
                </p:cNvPr>
                <p:cNvSpPr>
                  <a:spLocks noEditPoints="1"/>
                </p:cNvSpPr>
                <p:nvPr/>
              </p:nvSpPr>
              <p:spPr bwMode="auto">
                <a:xfrm>
                  <a:off x="4055614" y="3019251"/>
                  <a:ext cx="105645" cy="151182"/>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7" name="Austria">
                  <a:extLst>
                    <a:ext uri="{FF2B5EF4-FFF2-40B4-BE49-F238E27FC236}">
                      <a16:creationId xmlns:a16="http://schemas.microsoft.com/office/drawing/2014/main" id="{C26FC2A6-AAE3-C745-8BD9-710275FE7B79}"/>
                    </a:ext>
                  </a:extLst>
                </p:cNvPr>
                <p:cNvSpPr>
                  <a:spLocks/>
                </p:cNvSpPr>
                <p:nvPr/>
              </p:nvSpPr>
              <p:spPr bwMode="auto">
                <a:xfrm>
                  <a:off x="4525553" y="3259685"/>
                  <a:ext cx="183969" cy="9107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8" name="Belgium">
                  <a:extLst>
                    <a:ext uri="{FF2B5EF4-FFF2-40B4-BE49-F238E27FC236}">
                      <a16:creationId xmlns:a16="http://schemas.microsoft.com/office/drawing/2014/main" id="{8F5D845E-14DF-6E4A-8576-D1610286C7ED}"/>
                    </a:ext>
                  </a:extLst>
                </p:cNvPr>
                <p:cNvSpPr>
                  <a:spLocks/>
                </p:cNvSpPr>
                <p:nvPr/>
              </p:nvSpPr>
              <p:spPr bwMode="auto">
                <a:xfrm>
                  <a:off x="4365263" y="3172255"/>
                  <a:ext cx="83787" cy="67395"/>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9" name="Poland">
                  <a:extLst>
                    <a:ext uri="{FF2B5EF4-FFF2-40B4-BE49-F238E27FC236}">
                      <a16:creationId xmlns:a16="http://schemas.microsoft.com/office/drawing/2014/main" id="{D5A91B43-B888-F74D-9E13-365079FA053F}"/>
                    </a:ext>
                  </a:extLst>
                </p:cNvPr>
                <p:cNvSpPr>
                  <a:spLocks/>
                </p:cNvSpPr>
                <p:nvPr/>
              </p:nvSpPr>
              <p:spPr bwMode="auto">
                <a:xfrm>
                  <a:off x="4636663" y="3035644"/>
                  <a:ext cx="236791" cy="224041"/>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0" name="Sardinia (Italy)">
                  <a:extLst>
                    <a:ext uri="{FF2B5EF4-FFF2-40B4-BE49-F238E27FC236}">
                      <a16:creationId xmlns:a16="http://schemas.microsoft.com/office/drawing/2014/main" id="{ED925516-8FE5-E14A-8D16-43E7E807DF74}"/>
                    </a:ext>
                  </a:extLst>
                </p:cNvPr>
                <p:cNvSpPr>
                  <a:spLocks/>
                </p:cNvSpPr>
                <p:nvPr/>
              </p:nvSpPr>
              <p:spPr bwMode="auto">
                <a:xfrm>
                  <a:off x="4496409" y="3518334"/>
                  <a:ext cx="34608" cy="78324"/>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1" name="Sicily (Italy)">
                  <a:extLst>
                    <a:ext uri="{FF2B5EF4-FFF2-40B4-BE49-F238E27FC236}">
                      <a16:creationId xmlns:a16="http://schemas.microsoft.com/office/drawing/2014/main" id="{39518D8E-FDD8-054C-9C70-09B5D3FBFC2E}"/>
                    </a:ext>
                  </a:extLst>
                </p:cNvPr>
                <p:cNvSpPr>
                  <a:spLocks/>
                </p:cNvSpPr>
                <p:nvPr/>
              </p:nvSpPr>
              <p:spPr bwMode="auto">
                <a:xfrm>
                  <a:off x="4598411" y="3613050"/>
                  <a:ext cx="74681" cy="49180"/>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2" name="Italy">
                  <a:extLst>
                    <a:ext uri="{FF2B5EF4-FFF2-40B4-BE49-F238E27FC236}">
                      <a16:creationId xmlns:a16="http://schemas.microsoft.com/office/drawing/2014/main" id="{442D9F8A-B24A-084B-AAC4-C9C1E1EFFBD4}"/>
                    </a:ext>
                  </a:extLst>
                </p:cNvPr>
                <p:cNvSpPr>
                  <a:spLocks/>
                </p:cNvSpPr>
                <p:nvPr/>
              </p:nvSpPr>
              <p:spPr bwMode="auto">
                <a:xfrm>
                  <a:off x="4459980" y="3327079"/>
                  <a:ext cx="280506" cy="296900"/>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3" name="Croatia">
                  <a:extLst>
                    <a:ext uri="{FF2B5EF4-FFF2-40B4-BE49-F238E27FC236}">
                      <a16:creationId xmlns:a16="http://schemas.microsoft.com/office/drawing/2014/main" id="{89664497-328D-934C-BFE8-BE24FCA69C17}"/>
                    </a:ext>
                  </a:extLst>
                </p:cNvPr>
                <p:cNvSpPr>
                  <a:spLocks/>
                </p:cNvSpPr>
                <p:nvPr/>
              </p:nvSpPr>
              <p:spPr bwMode="auto">
                <a:xfrm>
                  <a:off x="4622091" y="3339830"/>
                  <a:ext cx="143896" cy="140254"/>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4" name="Switzerland">
                  <a:extLst>
                    <a:ext uri="{FF2B5EF4-FFF2-40B4-BE49-F238E27FC236}">
                      <a16:creationId xmlns:a16="http://schemas.microsoft.com/office/drawing/2014/main" id="{794AAFA9-EF4E-EE4E-9FAE-61CFFE72E9D4}"/>
                    </a:ext>
                  </a:extLst>
                </p:cNvPr>
                <p:cNvSpPr>
                  <a:spLocks/>
                </p:cNvSpPr>
                <p:nvPr/>
              </p:nvSpPr>
              <p:spPr bwMode="auto">
                <a:xfrm>
                  <a:off x="4441765" y="3307044"/>
                  <a:ext cx="107467" cy="65573"/>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5" name="Latvia">
                  <a:extLst>
                    <a:ext uri="{FF2B5EF4-FFF2-40B4-BE49-F238E27FC236}">
                      <a16:creationId xmlns:a16="http://schemas.microsoft.com/office/drawing/2014/main" id="{BD2D8395-A1A5-6B4A-9210-26A7F18B79BF}"/>
                    </a:ext>
                  </a:extLst>
                </p:cNvPr>
                <p:cNvSpPr>
                  <a:spLocks/>
                </p:cNvSpPr>
                <p:nvPr/>
              </p:nvSpPr>
              <p:spPr bwMode="auto">
                <a:xfrm>
                  <a:off x="4795130" y="2897213"/>
                  <a:ext cx="180326" cy="10746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6" name="Lithuania">
                  <a:extLst>
                    <a:ext uri="{FF2B5EF4-FFF2-40B4-BE49-F238E27FC236}">
                      <a16:creationId xmlns:a16="http://schemas.microsoft.com/office/drawing/2014/main" id="{F17A1450-FF5C-8F48-98A6-32C55C6EF004}"/>
                    </a:ext>
                  </a:extLst>
                </p:cNvPr>
                <p:cNvSpPr>
                  <a:spLocks/>
                </p:cNvSpPr>
                <p:nvPr/>
              </p:nvSpPr>
              <p:spPr bwMode="auto">
                <a:xfrm>
                  <a:off x="4795130" y="2968251"/>
                  <a:ext cx="145717" cy="10746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7" name="Czech Republic">
                  <a:extLst>
                    <a:ext uri="{FF2B5EF4-FFF2-40B4-BE49-F238E27FC236}">
                      <a16:creationId xmlns:a16="http://schemas.microsoft.com/office/drawing/2014/main" id="{8C75F413-4596-0A46-AFCB-08649A065E5C}"/>
                    </a:ext>
                  </a:extLst>
                </p:cNvPr>
                <p:cNvSpPr>
                  <a:spLocks/>
                </p:cNvSpPr>
                <p:nvPr/>
              </p:nvSpPr>
              <p:spPr bwMode="auto">
                <a:xfrm>
                  <a:off x="4583839" y="3181362"/>
                  <a:ext cx="167575" cy="9107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8" name="Corsica (France)">
                  <a:extLst>
                    <a:ext uri="{FF2B5EF4-FFF2-40B4-BE49-F238E27FC236}">
                      <a16:creationId xmlns:a16="http://schemas.microsoft.com/office/drawing/2014/main" id="{2125656B-583E-9B41-942F-252734BAC109}"/>
                    </a:ext>
                  </a:extLst>
                </p:cNvPr>
                <p:cNvSpPr>
                  <a:spLocks/>
                </p:cNvSpPr>
                <p:nvPr/>
              </p:nvSpPr>
              <p:spPr bwMode="auto">
                <a:xfrm>
                  <a:off x="4503695" y="3463690"/>
                  <a:ext cx="23680" cy="56466"/>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9" name="Kaliningrad (Russia)">
                  <a:extLst>
                    <a:ext uri="{FF2B5EF4-FFF2-40B4-BE49-F238E27FC236}">
                      <a16:creationId xmlns:a16="http://schemas.microsoft.com/office/drawing/2014/main" id="{6D477DDB-64B9-2348-9149-10529B771F92}"/>
                    </a:ext>
                  </a:extLst>
                </p:cNvPr>
                <p:cNvSpPr>
                  <a:spLocks/>
                </p:cNvSpPr>
                <p:nvPr/>
              </p:nvSpPr>
              <p:spPr bwMode="auto">
                <a:xfrm>
                  <a:off x="4765986" y="3015609"/>
                  <a:ext cx="80145" cy="40072"/>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0" name="Luxembourg">
                  <a:extLst>
                    <a:ext uri="{FF2B5EF4-FFF2-40B4-BE49-F238E27FC236}">
                      <a16:creationId xmlns:a16="http://schemas.microsoft.com/office/drawing/2014/main" id="{403EB536-CF25-CE48-9A4B-63DAFBDD2CEF}"/>
                    </a:ext>
                  </a:extLst>
                </p:cNvPr>
                <p:cNvSpPr>
                  <a:spLocks/>
                </p:cNvSpPr>
                <p:nvPr/>
              </p:nvSpPr>
              <p:spPr bwMode="auto">
                <a:xfrm>
                  <a:off x="4432658" y="3215970"/>
                  <a:ext cx="20037" cy="27323"/>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1" name="Hungary">
                  <a:extLst>
                    <a:ext uri="{FF2B5EF4-FFF2-40B4-BE49-F238E27FC236}">
                      <a16:creationId xmlns:a16="http://schemas.microsoft.com/office/drawing/2014/main" id="{33D9ACC2-8AB4-C842-8BEE-43EF225DD240}"/>
                    </a:ext>
                  </a:extLst>
                </p:cNvPr>
                <p:cNvSpPr>
                  <a:spLocks/>
                </p:cNvSpPr>
                <p:nvPr/>
              </p:nvSpPr>
              <p:spPr bwMode="auto">
                <a:xfrm>
                  <a:off x="4682199" y="3276078"/>
                  <a:ext cx="162111" cy="98359"/>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2" name="Romania">
                  <a:extLst>
                    <a:ext uri="{FF2B5EF4-FFF2-40B4-BE49-F238E27FC236}">
                      <a16:creationId xmlns:a16="http://schemas.microsoft.com/office/drawing/2014/main" id="{B2898669-EE49-004B-8D83-72F9CEB2CEDB}"/>
                    </a:ext>
                  </a:extLst>
                </p:cNvPr>
                <p:cNvSpPr>
                  <a:spLocks/>
                </p:cNvSpPr>
                <p:nvPr/>
              </p:nvSpPr>
              <p:spPr bwMode="auto">
                <a:xfrm>
                  <a:off x="4778737" y="3287007"/>
                  <a:ext cx="227684" cy="158468"/>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3" name="Slovenia">
                  <a:extLst>
                    <a:ext uri="{FF2B5EF4-FFF2-40B4-BE49-F238E27FC236}">
                      <a16:creationId xmlns:a16="http://schemas.microsoft.com/office/drawing/2014/main" id="{24A0B21A-B718-D14D-AB14-D7C706974E37}"/>
                    </a:ext>
                  </a:extLst>
                </p:cNvPr>
                <p:cNvSpPr>
                  <a:spLocks/>
                </p:cNvSpPr>
                <p:nvPr/>
              </p:nvSpPr>
              <p:spPr bwMode="auto">
                <a:xfrm>
                  <a:off x="4616626" y="3334365"/>
                  <a:ext cx="72859" cy="4553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4" name="Bosnia &amp; Herzegovina">
                  <a:extLst>
                    <a:ext uri="{FF2B5EF4-FFF2-40B4-BE49-F238E27FC236}">
                      <a16:creationId xmlns:a16="http://schemas.microsoft.com/office/drawing/2014/main" id="{A031B145-D024-3042-9B50-603E3C76CC5C}"/>
                    </a:ext>
                  </a:extLst>
                </p:cNvPr>
                <p:cNvSpPr>
                  <a:spLocks/>
                </p:cNvSpPr>
                <p:nvPr/>
              </p:nvSpPr>
              <p:spPr bwMode="auto">
                <a:xfrm>
                  <a:off x="4671270" y="3383545"/>
                  <a:ext cx="96538" cy="9107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5" name="Serbia">
                  <a:extLst>
                    <a:ext uri="{FF2B5EF4-FFF2-40B4-BE49-F238E27FC236}">
                      <a16:creationId xmlns:a16="http://schemas.microsoft.com/office/drawing/2014/main" id="{236EB6DC-92AE-4546-9684-5F3C1057988A}"/>
                    </a:ext>
                  </a:extLst>
                </p:cNvPr>
                <p:cNvSpPr>
                  <a:spLocks/>
                </p:cNvSpPr>
                <p:nvPr/>
              </p:nvSpPr>
              <p:spPr bwMode="auto">
                <a:xfrm>
                  <a:off x="4744129" y="3359866"/>
                  <a:ext cx="100181" cy="13661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6" name="Belarus">
                  <a:extLst>
                    <a:ext uri="{FF2B5EF4-FFF2-40B4-BE49-F238E27FC236}">
                      <a16:creationId xmlns:a16="http://schemas.microsoft.com/office/drawing/2014/main" id="{22E7E5BA-0194-4D4C-A0ED-9E85615B380B}"/>
                    </a:ext>
                  </a:extLst>
                </p:cNvPr>
                <p:cNvSpPr>
                  <a:spLocks/>
                </p:cNvSpPr>
                <p:nvPr/>
              </p:nvSpPr>
              <p:spPr bwMode="auto">
                <a:xfrm>
                  <a:off x="4851596" y="2981000"/>
                  <a:ext cx="233148" cy="194898"/>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7" name="Moldova">
                  <a:extLst>
                    <a:ext uri="{FF2B5EF4-FFF2-40B4-BE49-F238E27FC236}">
                      <a16:creationId xmlns:a16="http://schemas.microsoft.com/office/drawing/2014/main" id="{C64F6DD0-24D3-D04C-A4C2-D18B09CA3847}"/>
                    </a:ext>
                  </a:extLst>
                </p:cNvPr>
                <p:cNvSpPr>
                  <a:spLocks/>
                </p:cNvSpPr>
                <p:nvPr/>
              </p:nvSpPr>
              <p:spPr bwMode="auto">
                <a:xfrm>
                  <a:off x="4935383" y="3277900"/>
                  <a:ext cx="81967" cy="10746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8" name="Ukraine">
                  <a:extLst>
                    <a:ext uri="{FF2B5EF4-FFF2-40B4-BE49-F238E27FC236}">
                      <a16:creationId xmlns:a16="http://schemas.microsoft.com/office/drawing/2014/main" id="{78BBDCAA-07C6-E341-B65E-0B147A8BDB4A}"/>
                    </a:ext>
                  </a:extLst>
                </p:cNvPr>
                <p:cNvSpPr>
                  <a:spLocks noEditPoints="1"/>
                </p:cNvSpPr>
                <p:nvPr/>
              </p:nvSpPr>
              <p:spPr bwMode="auto">
                <a:xfrm>
                  <a:off x="4824273" y="3132183"/>
                  <a:ext cx="435331" cy="28961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9" name="Albania">
                  <a:extLst>
                    <a:ext uri="{FF2B5EF4-FFF2-40B4-BE49-F238E27FC236}">
                      <a16:creationId xmlns:a16="http://schemas.microsoft.com/office/drawing/2014/main" id="{588F11C8-6BAA-7043-866B-4FE71D84ABD7}"/>
                    </a:ext>
                  </a:extLst>
                </p:cNvPr>
                <p:cNvSpPr>
                  <a:spLocks/>
                </p:cNvSpPr>
                <p:nvPr/>
              </p:nvSpPr>
              <p:spPr bwMode="auto">
                <a:xfrm>
                  <a:off x="4756878" y="3474617"/>
                  <a:ext cx="45537" cy="98359"/>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0" name="Bulgaria">
                  <a:extLst>
                    <a:ext uri="{FF2B5EF4-FFF2-40B4-BE49-F238E27FC236}">
                      <a16:creationId xmlns:a16="http://schemas.microsoft.com/office/drawing/2014/main" id="{A7AEBC53-02FB-3047-9553-A11A70CD3FC6}"/>
                    </a:ext>
                  </a:extLst>
                </p:cNvPr>
                <p:cNvSpPr>
                  <a:spLocks/>
                </p:cNvSpPr>
                <p:nvPr/>
              </p:nvSpPr>
              <p:spPr bwMode="auto">
                <a:xfrm>
                  <a:off x="4829737" y="3427259"/>
                  <a:ext cx="154825" cy="96538"/>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1" name="Cyprus">
                  <a:extLst>
                    <a:ext uri="{FF2B5EF4-FFF2-40B4-BE49-F238E27FC236}">
                      <a16:creationId xmlns:a16="http://schemas.microsoft.com/office/drawing/2014/main" id="{915397F6-4FDE-D74D-BF73-0C871CD93D06}"/>
                    </a:ext>
                  </a:extLst>
                </p:cNvPr>
                <p:cNvSpPr>
                  <a:spLocks/>
                </p:cNvSpPr>
                <p:nvPr/>
              </p:nvSpPr>
              <p:spPr bwMode="auto">
                <a:xfrm>
                  <a:off x="5068350" y="3687730"/>
                  <a:ext cx="56466" cy="36429"/>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2" name="Kosovo">
                  <a:extLst>
                    <a:ext uri="{FF2B5EF4-FFF2-40B4-BE49-F238E27FC236}">
                      <a16:creationId xmlns:a16="http://schemas.microsoft.com/office/drawing/2014/main" id="{79A1B266-45C1-D24C-83AC-26FF59B178F6}"/>
                    </a:ext>
                  </a:extLst>
                </p:cNvPr>
                <p:cNvSpPr>
                  <a:spLocks/>
                </p:cNvSpPr>
                <p:nvPr/>
              </p:nvSpPr>
              <p:spPr bwMode="auto">
                <a:xfrm>
                  <a:off x="4771451" y="3458225"/>
                  <a:ext cx="40072" cy="38251"/>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3" name="Macedonia">
                  <a:extLst>
                    <a:ext uri="{FF2B5EF4-FFF2-40B4-BE49-F238E27FC236}">
                      <a16:creationId xmlns:a16="http://schemas.microsoft.com/office/drawing/2014/main" id="{5075C014-A551-1F4C-92B9-8BA11CDDC3B6}"/>
                    </a:ext>
                  </a:extLst>
                </p:cNvPr>
                <p:cNvSpPr>
                  <a:spLocks/>
                </p:cNvSpPr>
                <p:nvPr/>
              </p:nvSpPr>
              <p:spPr bwMode="auto">
                <a:xfrm>
                  <a:off x="4787844" y="3480082"/>
                  <a:ext cx="61930" cy="54644"/>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4" name="Slovakia">
                  <a:extLst>
                    <a:ext uri="{FF2B5EF4-FFF2-40B4-BE49-F238E27FC236}">
                      <a16:creationId xmlns:a16="http://schemas.microsoft.com/office/drawing/2014/main" id="{3DB54B22-8F5A-2745-980B-041B1544574D}"/>
                    </a:ext>
                  </a:extLst>
                </p:cNvPr>
                <p:cNvSpPr>
                  <a:spLocks/>
                </p:cNvSpPr>
                <p:nvPr/>
              </p:nvSpPr>
              <p:spPr bwMode="auto">
                <a:xfrm>
                  <a:off x="4698591" y="3239649"/>
                  <a:ext cx="134789" cy="65573"/>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5" name="Montenegro">
                  <a:extLst>
                    <a:ext uri="{FF2B5EF4-FFF2-40B4-BE49-F238E27FC236}">
                      <a16:creationId xmlns:a16="http://schemas.microsoft.com/office/drawing/2014/main" id="{716C0A1D-8C53-5645-81D5-D26D3525D3C2}"/>
                    </a:ext>
                  </a:extLst>
                </p:cNvPr>
                <p:cNvSpPr>
                  <a:spLocks/>
                </p:cNvSpPr>
                <p:nvPr/>
              </p:nvSpPr>
              <p:spPr bwMode="auto">
                <a:xfrm>
                  <a:off x="4733200" y="3445475"/>
                  <a:ext cx="49180" cy="56466"/>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6" name="Palma">
                  <a:extLst>
                    <a:ext uri="{FF2B5EF4-FFF2-40B4-BE49-F238E27FC236}">
                      <a16:creationId xmlns:a16="http://schemas.microsoft.com/office/drawing/2014/main" id="{B4162F92-30E9-B94E-859D-526C5BACBDF0}"/>
                    </a:ext>
                  </a:extLst>
                </p:cNvPr>
                <p:cNvSpPr>
                  <a:spLocks/>
                </p:cNvSpPr>
                <p:nvPr/>
              </p:nvSpPr>
              <p:spPr bwMode="auto">
                <a:xfrm>
                  <a:off x="4357978" y="3562049"/>
                  <a:ext cx="27323" cy="23680"/>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7" name="Armenia">
                  <a:extLst>
                    <a:ext uri="{FF2B5EF4-FFF2-40B4-BE49-F238E27FC236}">
                      <a16:creationId xmlns:a16="http://schemas.microsoft.com/office/drawing/2014/main" id="{34C44526-FB63-0240-A627-E442B063EDBA}"/>
                    </a:ext>
                  </a:extLst>
                </p:cNvPr>
                <p:cNvSpPr>
                  <a:spLocks/>
                </p:cNvSpPr>
                <p:nvPr/>
              </p:nvSpPr>
              <p:spPr bwMode="auto">
                <a:xfrm>
                  <a:off x="5332463" y="3518334"/>
                  <a:ext cx="78324" cy="78324"/>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78" name="Azerbaijan">
                  <a:extLst>
                    <a:ext uri="{FF2B5EF4-FFF2-40B4-BE49-F238E27FC236}">
                      <a16:creationId xmlns:a16="http://schemas.microsoft.com/office/drawing/2014/main" id="{41DC55A6-D656-FB42-B2FC-EC75792DCB87}"/>
                    </a:ext>
                  </a:extLst>
                </p:cNvPr>
                <p:cNvGrpSpPr/>
                <p:nvPr/>
              </p:nvGrpSpPr>
              <p:grpSpPr>
                <a:xfrm>
                  <a:off x="5361606" y="3496476"/>
                  <a:ext cx="134789" cy="112931"/>
                  <a:chOff x="5504910" y="3284102"/>
                  <a:chExt cx="134789" cy="112931"/>
                </a:xfrm>
                <a:grpFill/>
              </p:grpSpPr>
              <p:sp>
                <p:nvSpPr>
                  <p:cNvPr id="198" name="Azerbaijan - West">
                    <a:extLst>
                      <a:ext uri="{FF2B5EF4-FFF2-40B4-BE49-F238E27FC236}">
                        <a16:creationId xmlns:a16="http://schemas.microsoft.com/office/drawing/2014/main" id="{D0284243-9E2C-AA44-B30B-9E4793E1CD54}"/>
                      </a:ext>
                    </a:extLst>
                  </p:cNvPr>
                  <p:cNvSpPr>
                    <a:spLocks/>
                  </p:cNvSpPr>
                  <p:nvPr/>
                </p:nvSpPr>
                <p:spPr bwMode="auto">
                  <a:xfrm>
                    <a:off x="5504910" y="3355139"/>
                    <a:ext cx="36429" cy="2914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9" name="Azerbaijan - East">
                    <a:extLst>
                      <a:ext uri="{FF2B5EF4-FFF2-40B4-BE49-F238E27FC236}">
                        <a16:creationId xmlns:a16="http://schemas.microsoft.com/office/drawing/2014/main" id="{E7B38FB7-AD02-6747-BC07-B8219D9C3508}"/>
                      </a:ext>
                    </a:extLst>
                  </p:cNvPr>
                  <p:cNvSpPr>
                    <a:spLocks/>
                  </p:cNvSpPr>
                  <p:nvPr/>
                </p:nvSpPr>
                <p:spPr bwMode="auto">
                  <a:xfrm>
                    <a:off x="5514017" y="3284102"/>
                    <a:ext cx="125682" cy="112931"/>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79" name="Denmark">
                  <a:extLst>
                    <a:ext uri="{FF2B5EF4-FFF2-40B4-BE49-F238E27FC236}">
                      <a16:creationId xmlns:a16="http://schemas.microsoft.com/office/drawing/2014/main" id="{F375B92C-74AB-5644-B866-17009E753896}"/>
                    </a:ext>
                  </a:extLst>
                </p:cNvPr>
                <p:cNvSpPr>
                  <a:spLocks/>
                </p:cNvSpPr>
                <p:nvPr/>
              </p:nvSpPr>
              <p:spPr bwMode="auto">
                <a:xfrm>
                  <a:off x="4490945" y="2909964"/>
                  <a:ext cx="112931" cy="138431"/>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0" name="Germany">
                  <a:extLst>
                    <a:ext uri="{FF2B5EF4-FFF2-40B4-BE49-F238E27FC236}">
                      <a16:creationId xmlns:a16="http://schemas.microsoft.com/office/drawing/2014/main" id="{450CB549-2747-2840-B656-9F2A33C63B78}"/>
                    </a:ext>
                  </a:extLst>
                </p:cNvPr>
                <p:cNvSpPr>
                  <a:spLocks/>
                </p:cNvSpPr>
                <p:nvPr/>
              </p:nvSpPr>
              <p:spPr bwMode="auto">
                <a:xfrm>
                  <a:off x="4441765" y="3032001"/>
                  <a:ext cx="213112" cy="28961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1" name="Netherlands">
                  <a:extLst>
                    <a:ext uri="{FF2B5EF4-FFF2-40B4-BE49-F238E27FC236}">
                      <a16:creationId xmlns:a16="http://schemas.microsoft.com/office/drawing/2014/main" id="{2DA8AEE6-21E9-3C4A-ABFB-4C16BFFDC586}"/>
                    </a:ext>
                  </a:extLst>
                </p:cNvPr>
                <p:cNvSpPr>
                  <a:spLocks/>
                </p:cNvSpPr>
                <p:nvPr/>
              </p:nvSpPr>
              <p:spPr bwMode="auto">
                <a:xfrm>
                  <a:off x="4381656" y="3092110"/>
                  <a:ext cx="87430" cy="10746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82" name="Norway">
                  <a:extLst>
                    <a:ext uri="{FF2B5EF4-FFF2-40B4-BE49-F238E27FC236}">
                      <a16:creationId xmlns:a16="http://schemas.microsoft.com/office/drawing/2014/main" id="{4B7B23F5-5534-C244-ACB3-869FAF973403}"/>
                    </a:ext>
                  </a:extLst>
                </p:cNvPr>
                <p:cNvGrpSpPr/>
                <p:nvPr/>
              </p:nvGrpSpPr>
              <p:grpSpPr>
                <a:xfrm>
                  <a:off x="4418087" y="2159519"/>
                  <a:ext cx="619299" cy="737695"/>
                  <a:chOff x="4418087" y="2159519"/>
                  <a:chExt cx="619299" cy="737695"/>
                </a:xfrm>
                <a:grpFill/>
              </p:grpSpPr>
              <p:sp>
                <p:nvSpPr>
                  <p:cNvPr id="196" name="Norway Mainland">
                    <a:extLst>
                      <a:ext uri="{FF2B5EF4-FFF2-40B4-BE49-F238E27FC236}">
                        <a16:creationId xmlns:a16="http://schemas.microsoft.com/office/drawing/2014/main" id="{3E5AB745-3161-5246-ACE0-B9E7D34D1373}"/>
                      </a:ext>
                    </a:extLst>
                  </p:cNvPr>
                  <p:cNvSpPr>
                    <a:spLocks noEditPoints="1"/>
                  </p:cNvSpPr>
                  <p:nvPr/>
                </p:nvSpPr>
                <p:spPr bwMode="auto">
                  <a:xfrm>
                    <a:off x="4418087" y="2159519"/>
                    <a:ext cx="619299" cy="737695"/>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7" name="Norway Offshore">
                    <a:extLst>
                      <a:ext uri="{FF2B5EF4-FFF2-40B4-BE49-F238E27FC236}">
                        <a16:creationId xmlns:a16="http://schemas.microsoft.com/office/drawing/2014/main" id="{3934E366-277C-D342-A28C-8B1FDC34BB86}"/>
                      </a:ext>
                    </a:extLst>
                  </p:cNvPr>
                  <p:cNvSpPr>
                    <a:spLocks/>
                  </p:cNvSpPr>
                  <p:nvPr/>
                </p:nvSpPr>
                <p:spPr bwMode="auto">
                  <a:xfrm>
                    <a:off x="4436301" y="2159519"/>
                    <a:ext cx="486332" cy="540976"/>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83" name="Jan Mayen">
                  <a:extLst>
                    <a:ext uri="{FF2B5EF4-FFF2-40B4-BE49-F238E27FC236}">
                      <a16:creationId xmlns:a16="http://schemas.microsoft.com/office/drawing/2014/main" id="{43376D65-6FCA-9540-8E64-2CD5C7E44E26}"/>
                    </a:ext>
                  </a:extLst>
                </p:cNvPr>
                <p:cNvSpPr>
                  <a:spLocks/>
                </p:cNvSpPr>
                <p:nvPr/>
              </p:nvSpPr>
              <p:spPr bwMode="auto">
                <a:xfrm>
                  <a:off x="4082937" y="2154054"/>
                  <a:ext cx="29143" cy="27323"/>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4" name="European Island">
                  <a:extLst>
                    <a:ext uri="{FF2B5EF4-FFF2-40B4-BE49-F238E27FC236}">
                      <a16:creationId xmlns:a16="http://schemas.microsoft.com/office/drawing/2014/main" id="{57C4C60C-2524-8045-AEFE-B42FFEFC5B9C}"/>
                    </a:ext>
                  </a:extLst>
                </p:cNvPr>
                <p:cNvSpPr>
                  <a:spLocks/>
                </p:cNvSpPr>
                <p:nvPr/>
              </p:nvSpPr>
              <p:spPr bwMode="auto">
                <a:xfrm>
                  <a:off x="4749594" y="1888120"/>
                  <a:ext cx="10929" cy="14572"/>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5" name="Finland">
                  <a:extLst>
                    <a:ext uri="{FF2B5EF4-FFF2-40B4-BE49-F238E27FC236}">
                      <a16:creationId xmlns:a16="http://schemas.microsoft.com/office/drawing/2014/main" id="{99772065-3B28-C545-A0F2-582740377A3D}"/>
                    </a:ext>
                  </a:extLst>
                </p:cNvPr>
                <p:cNvSpPr>
                  <a:spLocks/>
                </p:cNvSpPr>
                <p:nvPr/>
              </p:nvSpPr>
              <p:spPr bwMode="auto">
                <a:xfrm>
                  <a:off x="4789666" y="2232377"/>
                  <a:ext cx="258648" cy="579227"/>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86" name="Sweden">
                  <a:extLst>
                    <a:ext uri="{FF2B5EF4-FFF2-40B4-BE49-F238E27FC236}">
                      <a16:creationId xmlns:a16="http://schemas.microsoft.com/office/drawing/2014/main" id="{37CD9E64-AD3C-DF46-B406-F2D774F4CB7C}"/>
                    </a:ext>
                  </a:extLst>
                </p:cNvPr>
                <p:cNvGrpSpPr/>
                <p:nvPr/>
              </p:nvGrpSpPr>
              <p:grpSpPr>
                <a:xfrm>
                  <a:off x="4563804" y="2299771"/>
                  <a:ext cx="309649" cy="730410"/>
                  <a:chOff x="4563804" y="2299771"/>
                  <a:chExt cx="309649" cy="730410"/>
                </a:xfrm>
                <a:grpFill/>
              </p:grpSpPr>
              <p:sp>
                <p:nvSpPr>
                  <p:cNvPr id="194" name="Sweden Mainland">
                    <a:extLst>
                      <a:ext uri="{FF2B5EF4-FFF2-40B4-BE49-F238E27FC236}">
                        <a16:creationId xmlns:a16="http://schemas.microsoft.com/office/drawing/2014/main" id="{0C936CAA-7D8E-6C4E-A002-27104D34427F}"/>
                      </a:ext>
                    </a:extLst>
                  </p:cNvPr>
                  <p:cNvSpPr>
                    <a:spLocks noEditPoints="1"/>
                  </p:cNvSpPr>
                  <p:nvPr/>
                </p:nvSpPr>
                <p:spPr bwMode="auto">
                  <a:xfrm>
                    <a:off x="4563804" y="2299771"/>
                    <a:ext cx="309649" cy="714015"/>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5" name="Sweden Offshore">
                    <a:extLst>
                      <a:ext uri="{FF2B5EF4-FFF2-40B4-BE49-F238E27FC236}">
                        <a16:creationId xmlns:a16="http://schemas.microsoft.com/office/drawing/2014/main" id="{886DE211-170D-B949-9B8C-F8B460117DA0}"/>
                      </a:ext>
                    </a:extLst>
                  </p:cNvPr>
                  <p:cNvSpPr>
                    <a:spLocks/>
                  </p:cNvSpPr>
                  <p:nvPr/>
                </p:nvSpPr>
                <p:spPr bwMode="auto">
                  <a:xfrm>
                    <a:off x="4647590" y="2789746"/>
                    <a:ext cx="129324" cy="240435"/>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87" name="Estonia">
                  <a:extLst>
                    <a:ext uri="{FF2B5EF4-FFF2-40B4-BE49-F238E27FC236}">
                      <a16:creationId xmlns:a16="http://schemas.microsoft.com/office/drawing/2014/main" id="{00AB3433-7D43-DC4E-A003-305E18AC4433}"/>
                    </a:ext>
                  </a:extLst>
                </p:cNvPr>
                <p:cNvSpPr>
                  <a:spLocks/>
                </p:cNvSpPr>
                <p:nvPr/>
              </p:nvSpPr>
              <p:spPr bwMode="auto">
                <a:xfrm>
                  <a:off x="4818808" y="2818890"/>
                  <a:ext cx="156648" cy="102002"/>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8" name="Greece">
                  <a:extLst>
                    <a:ext uri="{FF2B5EF4-FFF2-40B4-BE49-F238E27FC236}">
                      <a16:creationId xmlns:a16="http://schemas.microsoft.com/office/drawing/2014/main" id="{F35D7AB8-D5C1-9B4D-B6A0-CF294B9C9FC9}"/>
                    </a:ext>
                  </a:extLst>
                </p:cNvPr>
                <p:cNvSpPr>
                  <a:spLocks/>
                </p:cNvSpPr>
                <p:nvPr/>
              </p:nvSpPr>
              <p:spPr bwMode="auto">
                <a:xfrm>
                  <a:off x="4767807" y="3505583"/>
                  <a:ext cx="207648" cy="209470"/>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9" name="Ibiza">
                  <a:extLst>
                    <a:ext uri="{FF2B5EF4-FFF2-40B4-BE49-F238E27FC236}">
                      <a16:creationId xmlns:a16="http://schemas.microsoft.com/office/drawing/2014/main" id="{5C164D95-9F50-3C4C-AE5F-50BD70C36A4A}"/>
                    </a:ext>
                  </a:extLst>
                </p:cNvPr>
                <p:cNvSpPr>
                  <a:spLocks/>
                </p:cNvSpPr>
                <p:nvPr/>
              </p:nvSpPr>
              <p:spPr bwMode="auto">
                <a:xfrm>
                  <a:off x="4334299" y="3589370"/>
                  <a:ext cx="7286" cy="7286"/>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0" name="Menorca">
                  <a:extLst>
                    <a:ext uri="{FF2B5EF4-FFF2-40B4-BE49-F238E27FC236}">
                      <a16:creationId xmlns:a16="http://schemas.microsoft.com/office/drawing/2014/main" id="{FAE23089-0BD0-2343-BC39-1467A9A0E78F}"/>
                    </a:ext>
                  </a:extLst>
                </p:cNvPr>
                <p:cNvSpPr>
                  <a:spLocks/>
                </p:cNvSpPr>
                <p:nvPr/>
              </p:nvSpPr>
              <p:spPr bwMode="auto">
                <a:xfrm>
                  <a:off x="4392586" y="3558406"/>
                  <a:ext cx="14572" cy="9108"/>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1" name="Island">
                  <a:extLst>
                    <a:ext uri="{FF2B5EF4-FFF2-40B4-BE49-F238E27FC236}">
                      <a16:creationId xmlns:a16="http://schemas.microsoft.com/office/drawing/2014/main" id="{EF6865BF-E169-FF4B-A479-8FB314B567C9}"/>
                    </a:ext>
                  </a:extLst>
                </p:cNvPr>
                <p:cNvSpPr>
                  <a:spLocks/>
                </p:cNvSpPr>
                <p:nvPr/>
              </p:nvSpPr>
              <p:spPr bwMode="auto">
                <a:xfrm>
                  <a:off x="3651248" y="3596656"/>
                  <a:ext cx="7286" cy="7286"/>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2" name="Sao Miguel">
                  <a:extLst>
                    <a:ext uri="{FF2B5EF4-FFF2-40B4-BE49-F238E27FC236}">
                      <a16:creationId xmlns:a16="http://schemas.microsoft.com/office/drawing/2014/main" id="{EEA4B72B-5B3C-3F4F-9F0C-CBBFF03EBA36}"/>
                    </a:ext>
                  </a:extLst>
                </p:cNvPr>
                <p:cNvSpPr>
                  <a:spLocks/>
                </p:cNvSpPr>
                <p:nvPr/>
              </p:nvSpPr>
              <p:spPr bwMode="auto">
                <a:xfrm>
                  <a:off x="3687678" y="3625800"/>
                  <a:ext cx="20037" cy="9108"/>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3" name="United Kingdom">
                  <a:extLst>
                    <a:ext uri="{FF2B5EF4-FFF2-40B4-BE49-F238E27FC236}">
                      <a16:creationId xmlns:a16="http://schemas.microsoft.com/office/drawing/2014/main" id="{FBDAA0DD-4C22-E846-B112-62494C2C14C5}"/>
                    </a:ext>
                  </a:extLst>
                </p:cNvPr>
                <p:cNvSpPr>
                  <a:spLocks/>
                </p:cNvSpPr>
                <p:nvPr/>
              </p:nvSpPr>
              <p:spPr bwMode="auto">
                <a:xfrm>
                  <a:off x="4110257" y="2775173"/>
                  <a:ext cx="234970" cy="451724"/>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10" name="vMap : Asia">
                <a:extLst>
                  <a:ext uri="{FF2B5EF4-FFF2-40B4-BE49-F238E27FC236}">
                    <a16:creationId xmlns:a16="http://schemas.microsoft.com/office/drawing/2014/main" id="{B8CC77B2-BD05-4843-884B-4688EEF44867}"/>
                  </a:ext>
                </a:extLst>
              </p:cNvPr>
              <p:cNvGrpSpPr/>
              <p:nvPr/>
            </p:nvGrpSpPr>
            <p:grpSpPr>
              <a:xfrm>
                <a:off x="4918989" y="1091227"/>
                <a:ext cx="3925262" cy="4840551"/>
                <a:chOff x="4918989" y="1091227"/>
                <a:chExt cx="3925262" cy="4840551"/>
              </a:xfrm>
              <a:grpFill/>
            </p:grpSpPr>
            <p:sp>
              <p:nvSpPr>
                <p:cNvPr id="80" name="Sri Lanka">
                  <a:extLst>
                    <a:ext uri="{FF2B5EF4-FFF2-40B4-BE49-F238E27FC236}">
                      <a16:creationId xmlns:a16="http://schemas.microsoft.com/office/drawing/2014/main" id="{C0BD3803-D55B-E546-A566-9A1B50A55C1C}"/>
                    </a:ext>
                  </a:extLst>
                </p:cNvPr>
                <p:cNvSpPr>
                  <a:spLocks/>
                </p:cNvSpPr>
                <p:nvPr/>
              </p:nvSpPr>
              <p:spPr bwMode="auto">
                <a:xfrm>
                  <a:off x="6194016" y="4363493"/>
                  <a:ext cx="54644" cy="94716"/>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1" name="Afghanistan">
                  <a:extLst>
                    <a:ext uri="{FF2B5EF4-FFF2-40B4-BE49-F238E27FC236}">
                      <a16:creationId xmlns:a16="http://schemas.microsoft.com/office/drawing/2014/main" id="{38429591-7FE7-0543-90A4-AAD59822E698}"/>
                    </a:ext>
                  </a:extLst>
                </p:cNvPr>
                <p:cNvSpPr>
                  <a:spLocks noEditPoints="1"/>
                </p:cNvSpPr>
                <p:nvPr/>
              </p:nvSpPr>
              <p:spPr bwMode="auto">
                <a:xfrm>
                  <a:off x="5736828" y="3609407"/>
                  <a:ext cx="344258" cy="26047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2" name="Iraq">
                  <a:extLst>
                    <a:ext uri="{FF2B5EF4-FFF2-40B4-BE49-F238E27FC236}">
                      <a16:creationId xmlns:a16="http://schemas.microsoft.com/office/drawing/2014/main" id="{EBE43AEF-A4DD-604F-974C-E373D1C7A065}"/>
                    </a:ext>
                  </a:extLst>
                </p:cNvPr>
                <p:cNvSpPr>
                  <a:spLocks/>
                </p:cNvSpPr>
                <p:nvPr/>
              </p:nvSpPr>
              <p:spPr bwMode="auto">
                <a:xfrm>
                  <a:off x="5219532" y="3636728"/>
                  <a:ext cx="236791" cy="240434"/>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3" name="Jordan">
                  <a:extLst>
                    <a:ext uri="{FF2B5EF4-FFF2-40B4-BE49-F238E27FC236}">
                      <a16:creationId xmlns:a16="http://schemas.microsoft.com/office/drawing/2014/main" id="{9D8E09E7-BD33-FD45-B18F-A98F8A659D07}"/>
                    </a:ext>
                  </a:extLst>
                </p:cNvPr>
                <p:cNvSpPr>
                  <a:spLocks/>
                </p:cNvSpPr>
                <p:nvPr/>
              </p:nvSpPr>
              <p:spPr bwMode="auto">
                <a:xfrm>
                  <a:off x="5126636" y="3758766"/>
                  <a:ext cx="103824" cy="118396"/>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4" name="Saudi Arabia">
                  <a:extLst>
                    <a:ext uri="{FF2B5EF4-FFF2-40B4-BE49-F238E27FC236}">
                      <a16:creationId xmlns:a16="http://schemas.microsoft.com/office/drawing/2014/main" id="{68490873-0AC5-0D46-A106-65D6E5AA3149}"/>
                    </a:ext>
                  </a:extLst>
                </p:cNvPr>
                <p:cNvSpPr>
                  <a:spLocks/>
                </p:cNvSpPr>
                <p:nvPr/>
              </p:nvSpPr>
              <p:spPr bwMode="auto">
                <a:xfrm>
                  <a:off x="5124815" y="3787910"/>
                  <a:ext cx="502725" cy="437152"/>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5" name="Syria">
                  <a:extLst>
                    <a:ext uri="{FF2B5EF4-FFF2-40B4-BE49-F238E27FC236}">
                      <a16:creationId xmlns:a16="http://schemas.microsoft.com/office/drawing/2014/main" id="{88DC92CB-9299-5F4B-B26B-8999F4938922}"/>
                    </a:ext>
                  </a:extLst>
                </p:cNvPr>
                <p:cNvSpPr>
                  <a:spLocks/>
                </p:cNvSpPr>
                <p:nvPr/>
              </p:nvSpPr>
              <p:spPr bwMode="auto">
                <a:xfrm>
                  <a:off x="5143030" y="3642192"/>
                  <a:ext cx="171218" cy="149360"/>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6" name="United Arab Emirates">
                  <a:extLst>
                    <a:ext uri="{FF2B5EF4-FFF2-40B4-BE49-F238E27FC236}">
                      <a16:creationId xmlns:a16="http://schemas.microsoft.com/office/drawing/2014/main" id="{31E200AD-C67A-5049-8FCE-736B9A2E9287}"/>
                    </a:ext>
                  </a:extLst>
                </p:cNvPr>
                <p:cNvSpPr>
                  <a:spLocks/>
                </p:cNvSpPr>
                <p:nvPr/>
              </p:nvSpPr>
              <p:spPr bwMode="auto">
                <a:xfrm>
                  <a:off x="5512787" y="3959128"/>
                  <a:ext cx="127503" cy="94716"/>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7" name="Yemen">
                  <a:extLst>
                    <a:ext uri="{FF2B5EF4-FFF2-40B4-BE49-F238E27FC236}">
                      <a16:creationId xmlns:a16="http://schemas.microsoft.com/office/drawing/2014/main" id="{92AEA7D6-6F79-E34C-B736-6D4ABDFA4FDE}"/>
                    </a:ext>
                  </a:extLst>
                </p:cNvPr>
                <p:cNvSpPr>
                  <a:spLocks/>
                </p:cNvSpPr>
                <p:nvPr/>
              </p:nvSpPr>
              <p:spPr bwMode="auto">
                <a:xfrm>
                  <a:off x="5310605" y="4139453"/>
                  <a:ext cx="251362" cy="156646"/>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8" name="Iran">
                  <a:extLst>
                    <a:ext uri="{FF2B5EF4-FFF2-40B4-BE49-F238E27FC236}">
                      <a16:creationId xmlns:a16="http://schemas.microsoft.com/office/drawing/2014/main" id="{5B7D7B91-4167-D447-9420-626FF235E094}"/>
                    </a:ext>
                  </a:extLst>
                </p:cNvPr>
                <p:cNvSpPr>
                  <a:spLocks/>
                </p:cNvSpPr>
                <p:nvPr/>
              </p:nvSpPr>
              <p:spPr bwMode="auto">
                <a:xfrm>
                  <a:off x="5348855" y="3563870"/>
                  <a:ext cx="455367" cy="418937"/>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89" name="Bangladesh">
                  <a:extLst>
                    <a:ext uri="{FF2B5EF4-FFF2-40B4-BE49-F238E27FC236}">
                      <a16:creationId xmlns:a16="http://schemas.microsoft.com/office/drawing/2014/main" id="{E76634A5-FF33-0544-9914-CF2EC6A7D9D6}"/>
                    </a:ext>
                  </a:extLst>
                </p:cNvPr>
                <p:cNvSpPr>
                  <a:spLocks/>
                </p:cNvSpPr>
                <p:nvPr/>
              </p:nvSpPr>
              <p:spPr bwMode="auto">
                <a:xfrm>
                  <a:off x="6388912" y="3944557"/>
                  <a:ext cx="114753" cy="149360"/>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0" name="Bhutan">
                  <a:extLst>
                    <a:ext uri="{FF2B5EF4-FFF2-40B4-BE49-F238E27FC236}">
                      <a16:creationId xmlns:a16="http://schemas.microsoft.com/office/drawing/2014/main" id="{61CAE718-4A54-4A41-A015-E4B9343DC854}"/>
                    </a:ext>
                  </a:extLst>
                </p:cNvPr>
                <p:cNvSpPr>
                  <a:spLocks/>
                </p:cNvSpPr>
                <p:nvPr/>
              </p:nvSpPr>
              <p:spPr bwMode="auto">
                <a:xfrm>
                  <a:off x="6408949" y="3899020"/>
                  <a:ext cx="83787" cy="43715"/>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1" name="Myanmar">
                  <a:extLst>
                    <a:ext uri="{FF2B5EF4-FFF2-40B4-BE49-F238E27FC236}">
                      <a16:creationId xmlns:a16="http://schemas.microsoft.com/office/drawing/2014/main" id="{0A06D29D-FEDE-C34B-B9D9-6F16E122C2A0}"/>
                    </a:ext>
                  </a:extLst>
                </p:cNvPr>
                <p:cNvSpPr>
                  <a:spLocks/>
                </p:cNvSpPr>
                <p:nvPr/>
              </p:nvSpPr>
              <p:spPr bwMode="auto">
                <a:xfrm>
                  <a:off x="6492737" y="3899020"/>
                  <a:ext cx="213112" cy="45901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2" name="Laos">
                  <a:extLst>
                    <a:ext uri="{FF2B5EF4-FFF2-40B4-BE49-F238E27FC236}">
                      <a16:creationId xmlns:a16="http://schemas.microsoft.com/office/drawing/2014/main" id="{C7EAA3E1-D0C1-2D4C-A997-9236D3139CCC}"/>
                    </a:ext>
                  </a:extLst>
                </p:cNvPr>
                <p:cNvSpPr>
                  <a:spLocks/>
                </p:cNvSpPr>
                <p:nvPr/>
              </p:nvSpPr>
              <p:spPr bwMode="auto">
                <a:xfrm>
                  <a:off x="6682169" y="4050202"/>
                  <a:ext cx="176683" cy="216755"/>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93" name="Malaysia">
                  <a:extLst>
                    <a:ext uri="{FF2B5EF4-FFF2-40B4-BE49-F238E27FC236}">
                      <a16:creationId xmlns:a16="http://schemas.microsoft.com/office/drawing/2014/main" id="{2DAF8F07-6EE4-4245-9C25-C9BFE1BA0540}"/>
                    </a:ext>
                  </a:extLst>
                </p:cNvPr>
                <p:cNvGrpSpPr/>
                <p:nvPr/>
              </p:nvGrpSpPr>
              <p:grpSpPr>
                <a:xfrm>
                  <a:off x="6682169" y="4434531"/>
                  <a:ext cx="457188" cy="142074"/>
                  <a:chOff x="6825473" y="4222157"/>
                  <a:chExt cx="457188" cy="142074"/>
                </a:xfrm>
                <a:grpFill/>
              </p:grpSpPr>
              <p:sp>
                <p:nvSpPr>
                  <p:cNvPr id="138" name="Malaysia - East">
                    <a:extLst>
                      <a:ext uri="{FF2B5EF4-FFF2-40B4-BE49-F238E27FC236}">
                        <a16:creationId xmlns:a16="http://schemas.microsoft.com/office/drawing/2014/main" id="{6B16923C-342F-5647-B1ED-5FC106D8ECE4}"/>
                      </a:ext>
                    </a:extLst>
                  </p:cNvPr>
                  <p:cNvSpPr>
                    <a:spLocks/>
                  </p:cNvSpPr>
                  <p:nvPr/>
                </p:nvSpPr>
                <p:spPr bwMode="auto">
                  <a:xfrm>
                    <a:off x="7049513" y="4222157"/>
                    <a:ext cx="233148" cy="142074"/>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9" name="Malaysia - West">
                    <a:extLst>
                      <a:ext uri="{FF2B5EF4-FFF2-40B4-BE49-F238E27FC236}">
                        <a16:creationId xmlns:a16="http://schemas.microsoft.com/office/drawing/2014/main" id="{997327D7-959F-484A-829C-7636952FC548}"/>
                      </a:ext>
                    </a:extLst>
                  </p:cNvPr>
                  <p:cNvSpPr>
                    <a:spLocks/>
                  </p:cNvSpPr>
                  <p:nvPr/>
                </p:nvSpPr>
                <p:spPr bwMode="auto">
                  <a:xfrm>
                    <a:off x="6825473" y="4223979"/>
                    <a:ext cx="100181" cy="127503"/>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94" name="Nepal">
                  <a:extLst>
                    <a:ext uri="{FF2B5EF4-FFF2-40B4-BE49-F238E27FC236}">
                      <a16:creationId xmlns:a16="http://schemas.microsoft.com/office/drawing/2014/main" id="{DDAC0759-527B-6B4D-9B62-8540450A5358}"/>
                    </a:ext>
                  </a:extLst>
                </p:cNvPr>
                <p:cNvSpPr>
                  <a:spLocks/>
                </p:cNvSpPr>
                <p:nvPr/>
              </p:nvSpPr>
              <p:spPr bwMode="auto">
                <a:xfrm>
                  <a:off x="6201302" y="3844376"/>
                  <a:ext cx="194898" cy="109288"/>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5" name="Vietnam">
                  <a:extLst>
                    <a:ext uri="{FF2B5EF4-FFF2-40B4-BE49-F238E27FC236}">
                      <a16:creationId xmlns:a16="http://schemas.microsoft.com/office/drawing/2014/main" id="{5BBFBE93-D515-E14D-86D5-3B6C4C289D4D}"/>
                    </a:ext>
                  </a:extLst>
                </p:cNvPr>
                <p:cNvSpPr>
                  <a:spLocks/>
                </p:cNvSpPr>
                <p:nvPr/>
              </p:nvSpPr>
              <p:spPr bwMode="auto">
                <a:xfrm>
                  <a:off x="6731348" y="4031987"/>
                  <a:ext cx="169397" cy="360651"/>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6" name="India">
                  <a:extLst>
                    <a:ext uri="{FF2B5EF4-FFF2-40B4-BE49-F238E27FC236}">
                      <a16:creationId xmlns:a16="http://schemas.microsoft.com/office/drawing/2014/main" id="{33F680CF-5F7D-544B-AD5A-381E8F5F335A}"/>
                    </a:ext>
                  </a:extLst>
                </p:cNvPr>
                <p:cNvSpPr>
                  <a:spLocks/>
                </p:cNvSpPr>
                <p:nvPr/>
              </p:nvSpPr>
              <p:spPr bwMode="auto">
                <a:xfrm>
                  <a:off x="5915332" y="3682266"/>
                  <a:ext cx="703086" cy="724944"/>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7" name="Mongolia">
                  <a:extLst>
                    <a:ext uri="{FF2B5EF4-FFF2-40B4-BE49-F238E27FC236}">
                      <a16:creationId xmlns:a16="http://schemas.microsoft.com/office/drawing/2014/main" id="{87C2164F-0655-C746-B657-CF93006FC2BC}"/>
                    </a:ext>
                  </a:extLst>
                </p:cNvPr>
                <p:cNvSpPr>
                  <a:spLocks/>
                </p:cNvSpPr>
                <p:nvPr/>
              </p:nvSpPr>
              <p:spPr bwMode="auto">
                <a:xfrm>
                  <a:off x="6385271" y="3143111"/>
                  <a:ext cx="755909" cy="369758"/>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8" name="Georgia">
                  <a:extLst>
                    <a:ext uri="{FF2B5EF4-FFF2-40B4-BE49-F238E27FC236}">
                      <a16:creationId xmlns:a16="http://schemas.microsoft.com/office/drawing/2014/main" id="{3B9EE078-1CD2-4B4B-B3F9-50454826D4D8}"/>
                    </a:ext>
                  </a:extLst>
                </p:cNvPr>
                <p:cNvSpPr>
                  <a:spLocks/>
                </p:cNvSpPr>
                <p:nvPr/>
              </p:nvSpPr>
              <p:spPr bwMode="auto">
                <a:xfrm>
                  <a:off x="5246853" y="3445475"/>
                  <a:ext cx="163932" cy="85610"/>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99" name="Turkmenistan">
                  <a:extLst>
                    <a:ext uri="{FF2B5EF4-FFF2-40B4-BE49-F238E27FC236}">
                      <a16:creationId xmlns:a16="http://schemas.microsoft.com/office/drawing/2014/main" id="{5831D008-D8E2-4047-BAB2-82285829222D}"/>
                    </a:ext>
                  </a:extLst>
                </p:cNvPr>
                <p:cNvSpPr>
                  <a:spLocks/>
                </p:cNvSpPr>
                <p:nvPr/>
              </p:nvSpPr>
              <p:spPr bwMode="auto">
                <a:xfrm>
                  <a:off x="5545574" y="3469153"/>
                  <a:ext cx="342436" cy="238613"/>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0" name="Uzbekistan">
                  <a:extLst>
                    <a:ext uri="{FF2B5EF4-FFF2-40B4-BE49-F238E27FC236}">
                      <a16:creationId xmlns:a16="http://schemas.microsoft.com/office/drawing/2014/main" id="{7A31E945-94BD-574E-B0FE-82A3406ECC95}"/>
                    </a:ext>
                  </a:extLst>
                </p:cNvPr>
                <p:cNvSpPr>
                  <a:spLocks/>
                </p:cNvSpPr>
                <p:nvPr/>
              </p:nvSpPr>
              <p:spPr bwMode="auto">
                <a:xfrm>
                  <a:off x="5633004" y="3378080"/>
                  <a:ext cx="409831" cy="267756"/>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1" name="Kazakhstan">
                  <a:extLst>
                    <a:ext uri="{FF2B5EF4-FFF2-40B4-BE49-F238E27FC236}">
                      <a16:creationId xmlns:a16="http://schemas.microsoft.com/office/drawing/2014/main" id="{2C191B62-6EB7-5B48-942E-0740557C6A9C}"/>
                    </a:ext>
                  </a:extLst>
                </p:cNvPr>
                <p:cNvSpPr>
                  <a:spLocks/>
                </p:cNvSpPr>
                <p:nvPr/>
              </p:nvSpPr>
              <p:spPr bwMode="auto">
                <a:xfrm>
                  <a:off x="5408963" y="3010144"/>
                  <a:ext cx="969020" cy="519119"/>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2" name="Kyrgyzstan">
                  <a:extLst>
                    <a:ext uri="{FF2B5EF4-FFF2-40B4-BE49-F238E27FC236}">
                      <a16:creationId xmlns:a16="http://schemas.microsoft.com/office/drawing/2014/main" id="{1C5D0387-F032-6E44-A441-3A965AACD3F5}"/>
                    </a:ext>
                  </a:extLst>
                </p:cNvPr>
                <p:cNvSpPr>
                  <a:spLocks/>
                </p:cNvSpPr>
                <p:nvPr/>
              </p:nvSpPr>
              <p:spPr bwMode="auto">
                <a:xfrm>
                  <a:off x="5948117" y="3456403"/>
                  <a:ext cx="264113" cy="127503"/>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3" name="Tajikistan">
                  <a:extLst>
                    <a:ext uri="{FF2B5EF4-FFF2-40B4-BE49-F238E27FC236}">
                      <a16:creationId xmlns:a16="http://schemas.microsoft.com/office/drawing/2014/main" id="{3C7B7020-8102-8649-B2F1-45B2419DF01C}"/>
                    </a:ext>
                  </a:extLst>
                </p:cNvPr>
                <p:cNvSpPr>
                  <a:spLocks/>
                </p:cNvSpPr>
                <p:nvPr/>
              </p:nvSpPr>
              <p:spPr bwMode="auto">
                <a:xfrm>
                  <a:off x="5904402" y="3525618"/>
                  <a:ext cx="182147" cy="138432"/>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4" name="Israel">
                  <a:extLst>
                    <a:ext uri="{FF2B5EF4-FFF2-40B4-BE49-F238E27FC236}">
                      <a16:creationId xmlns:a16="http://schemas.microsoft.com/office/drawing/2014/main" id="{ABAAEBB7-A781-C542-9A0A-8DA8D40477A7}"/>
                    </a:ext>
                  </a:extLst>
                </p:cNvPr>
                <p:cNvSpPr>
                  <a:spLocks/>
                </p:cNvSpPr>
                <p:nvPr/>
              </p:nvSpPr>
              <p:spPr bwMode="auto">
                <a:xfrm>
                  <a:off x="5110244" y="3760588"/>
                  <a:ext cx="36429" cy="111110"/>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5" name="Lebanon">
                  <a:extLst>
                    <a:ext uri="{FF2B5EF4-FFF2-40B4-BE49-F238E27FC236}">
                      <a16:creationId xmlns:a16="http://schemas.microsoft.com/office/drawing/2014/main" id="{76EA29C2-555B-BE48-8510-A00714B37A92}"/>
                    </a:ext>
                  </a:extLst>
                </p:cNvPr>
                <p:cNvSpPr>
                  <a:spLocks/>
                </p:cNvSpPr>
                <p:nvPr/>
              </p:nvSpPr>
              <p:spPr bwMode="auto">
                <a:xfrm>
                  <a:off x="5130279" y="3718694"/>
                  <a:ext cx="43715" cy="51001"/>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6" name="Pakistan">
                  <a:extLst>
                    <a:ext uri="{FF2B5EF4-FFF2-40B4-BE49-F238E27FC236}">
                      <a16:creationId xmlns:a16="http://schemas.microsoft.com/office/drawing/2014/main" id="{C60D7EFD-F728-B140-8C81-3C201A446431}"/>
                    </a:ext>
                  </a:extLst>
                </p:cNvPr>
                <p:cNvSpPr>
                  <a:spLocks/>
                </p:cNvSpPr>
                <p:nvPr/>
              </p:nvSpPr>
              <p:spPr bwMode="auto">
                <a:xfrm>
                  <a:off x="5745935" y="3651300"/>
                  <a:ext cx="402545" cy="366116"/>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7" name="Cambodia">
                  <a:extLst>
                    <a:ext uri="{FF2B5EF4-FFF2-40B4-BE49-F238E27FC236}">
                      <a16:creationId xmlns:a16="http://schemas.microsoft.com/office/drawing/2014/main" id="{576E36E9-3EDB-BC4C-BEEB-51580DEF4B4C}"/>
                    </a:ext>
                  </a:extLst>
                </p:cNvPr>
                <p:cNvSpPr>
                  <a:spLocks/>
                </p:cNvSpPr>
                <p:nvPr/>
              </p:nvSpPr>
              <p:spPr bwMode="auto">
                <a:xfrm>
                  <a:off x="6731348" y="4245099"/>
                  <a:ext cx="127503" cy="105645"/>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8" name="Taiwan">
                  <a:extLst>
                    <a:ext uri="{FF2B5EF4-FFF2-40B4-BE49-F238E27FC236}">
                      <a16:creationId xmlns:a16="http://schemas.microsoft.com/office/drawing/2014/main" id="{8B4A0867-A9E9-044C-946D-3D9DEBE7816C}"/>
                    </a:ext>
                  </a:extLst>
                </p:cNvPr>
                <p:cNvSpPr>
                  <a:spLocks/>
                </p:cNvSpPr>
                <p:nvPr/>
              </p:nvSpPr>
              <p:spPr bwMode="auto">
                <a:xfrm>
                  <a:off x="7155751" y="3980986"/>
                  <a:ext cx="41894" cy="85610"/>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09" name="Unknown">
                  <a:extLst>
                    <a:ext uri="{FF2B5EF4-FFF2-40B4-BE49-F238E27FC236}">
                      <a16:creationId xmlns:a16="http://schemas.microsoft.com/office/drawing/2014/main" id="{ECA1A96D-1A9A-CE4F-B301-2059D0E962E4}"/>
                    </a:ext>
                  </a:extLst>
                </p:cNvPr>
                <p:cNvSpPr>
                  <a:spLocks/>
                </p:cNvSpPr>
                <p:nvPr/>
              </p:nvSpPr>
              <p:spPr bwMode="auto">
                <a:xfrm>
                  <a:off x="5365249" y="3866233"/>
                  <a:ext cx="43715" cy="21858"/>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0" name="Kuwait">
                  <a:extLst>
                    <a:ext uri="{FF2B5EF4-FFF2-40B4-BE49-F238E27FC236}">
                      <a16:creationId xmlns:a16="http://schemas.microsoft.com/office/drawing/2014/main" id="{68D1B8BC-05E8-FC4A-AC98-422802E9127B}"/>
                    </a:ext>
                  </a:extLst>
                </p:cNvPr>
                <p:cNvSpPr>
                  <a:spLocks/>
                </p:cNvSpPr>
                <p:nvPr/>
              </p:nvSpPr>
              <p:spPr bwMode="auto">
                <a:xfrm>
                  <a:off x="5405321" y="3849840"/>
                  <a:ext cx="45537" cy="43715"/>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1" name="Qatar">
                  <a:extLst>
                    <a:ext uri="{FF2B5EF4-FFF2-40B4-BE49-F238E27FC236}">
                      <a16:creationId xmlns:a16="http://schemas.microsoft.com/office/drawing/2014/main" id="{B9FE1DCA-0D9D-CB44-8AFA-BB8E74228FAF}"/>
                    </a:ext>
                  </a:extLst>
                </p:cNvPr>
                <p:cNvSpPr>
                  <a:spLocks/>
                </p:cNvSpPr>
                <p:nvPr/>
              </p:nvSpPr>
              <p:spPr bwMode="auto">
                <a:xfrm>
                  <a:off x="5505501" y="3955485"/>
                  <a:ext cx="21858" cy="43715"/>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12" name="Asian Islands">
                  <a:extLst>
                    <a:ext uri="{FF2B5EF4-FFF2-40B4-BE49-F238E27FC236}">
                      <a16:creationId xmlns:a16="http://schemas.microsoft.com/office/drawing/2014/main" id="{BCC15D4D-0EB0-1842-876E-A26A0FD3D748}"/>
                    </a:ext>
                  </a:extLst>
                </p:cNvPr>
                <p:cNvGrpSpPr/>
                <p:nvPr/>
              </p:nvGrpSpPr>
              <p:grpSpPr>
                <a:xfrm>
                  <a:off x="5942654" y="4325243"/>
                  <a:ext cx="2346049" cy="1606535"/>
                  <a:chOff x="6085958" y="4112869"/>
                  <a:chExt cx="2346049" cy="1606535"/>
                </a:xfrm>
                <a:grpFill/>
              </p:grpSpPr>
              <p:sp>
                <p:nvSpPr>
                  <p:cNvPr id="134" name="Asian Island">
                    <a:extLst>
                      <a:ext uri="{FF2B5EF4-FFF2-40B4-BE49-F238E27FC236}">
                        <a16:creationId xmlns:a16="http://schemas.microsoft.com/office/drawing/2014/main" id="{17C87801-1697-DC44-9F07-01D4A3BBE6C5}"/>
                      </a:ext>
                    </a:extLst>
                  </p:cNvPr>
                  <p:cNvSpPr>
                    <a:spLocks/>
                  </p:cNvSpPr>
                  <p:nvPr/>
                </p:nvSpPr>
                <p:spPr bwMode="auto">
                  <a:xfrm>
                    <a:off x="8408327" y="4112869"/>
                    <a:ext cx="10929" cy="9108"/>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5" name="Asian Island">
                    <a:extLst>
                      <a:ext uri="{FF2B5EF4-FFF2-40B4-BE49-F238E27FC236}">
                        <a16:creationId xmlns:a16="http://schemas.microsoft.com/office/drawing/2014/main" id="{36984862-0C4B-644B-A447-F74B4A77C8CC}"/>
                      </a:ext>
                    </a:extLst>
                  </p:cNvPr>
                  <p:cNvSpPr>
                    <a:spLocks/>
                  </p:cNvSpPr>
                  <p:nvPr/>
                </p:nvSpPr>
                <p:spPr bwMode="auto">
                  <a:xfrm>
                    <a:off x="8413792" y="4163870"/>
                    <a:ext cx="18215" cy="1639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6" name="Asian Island">
                    <a:extLst>
                      <a:ext uri="{FF2B5EF4-FFF2-40B4-BE49-F238E27FC236}">
                        <a16:creationId xmlns:a16="http://schemas.microsoft.com/office/drawing/2014/main" id="{425D60D5-ABDD-334A-BEE1-8D2598DEBAB0}"/>
                      </a:ext>
                    </a:extLst>
                  </p:cNvPr>
                  <p:cNvSpPr>
                    <a:spLocks/>
                  </p:cNvSpPr>
                  <p:nvPr/>
                </p:nvSpPr>
                <p:spPr bwMode="auto">
                  <a:xfrm>
                    <a:off x="6085958" y="5701189"/>
                    <a:ext cx="23680" cy="18215"/>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7" name="Asian Island">
                    <a:extLst>
                      <a:ext uri="{FF2B5EF4-FFF2-40B4-BE49-F238E27FC236}">
                        <a16:creationId xmlns:a16="http://schemas.microsoft.com/office/drawing/2014/main" id="{F9401471-BE30-894E-9219-9AE038FFA6D5}"/>
                      </a:ext>
                    </a:extLst>
                  </p:cNvPr>
                  <p:cNvSpPr>
                    <a:spLocks/>
                  </p:cNvSpPr>
                  <p:nvPr/>
                </p:nvSpPr>
                <p:spPr bwMode="auto">
                  <a:xfrm>
                    <a:off x="6112975" y="4490919"/>
                    <a:ext cx="40071" cy="23679"/>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13" name="Brunei">
                  <a:extLst>
                    <a:ext uri="{FF2B5EF4-FFF2-40B4-BE49-F238E27FC236}">
                      <a16:creationId xmlns:a16="http://schemas.microsoft.com/office/drawing/2014/main" id="{800D9C65-F5F5-D344-B34F-F1A6E73FC875}"/>
                    </a:ext>
                  </a:extLst>
                </p:cNvPr>
                <p:cNvSpPr>
                  <a:spLocks/>
                </p:cNvSpPr>
                <p:nvPr/>
              </p:nvSpPr>
              <p:spPr bwMode="auto">
                <a:xfrm>
                  <a:off x="7011854" y="4476425"/>
                  <a:ext cx="34608" cy="27323"/>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4" name="Philippines">
                  <a:extLst>
                    <a:ext uri="{FF2B5EF4-FFF2-40B4-BE49-F238E27FC236}">
                      <a16:creationId xmlns:a16="http://schemas.microsoft.com/office/drawing/2014/main" id="{578C0443-40BD-1041-B69A-EF1181FEF9F1}"/>
                    </a:ext>
                  </a:extLst>
                </p:cNvPr>
                <p:cNvSpPr>
                  <a:spLocks/>
                </p:cNvSpPr>
                <p:nvPr/>
              </p:nvSpPr>
              <p:spPr bwMode="auto">
                <a:xfrm>
                  <a:off x="7086534" y="4150382"/>
                  <a:ext cx="225862" cy="331507"/>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5" name="Thailand">
                  <a:extLst>
                    <a:ext uri="{FF2B5EF4-FFF2-40B4-BE49-F238E27FC236}">
                      <a16:creationId xmlns:a16="http://schemas.microsoft.com/office/drawing/2014/main" id="{42EA6012-99A8-FF4F-9A5C-4DB619270F57}"/>
                    </a:ext>
                  </a:extLst>
                </p:cNvPr>
                <p:cNvSpPr>
                  <a:spLocks/>
                </p:cNvSpPr>
                <p:nvPr/>
              </p:nvSpPr>
              <p:spPr bwMode="auto">
                <a:xfrm>
                  <a:off x="6623882" y="4095738"/>
                  <a:ext cx="185790" cy="36793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6" name="Andaman &amp; Nicobar Islands">
                  <a:extLst>
                    <a:ext uri="{FF2B5EF4-FFF2-40B4-BE49-F238E27FC236}">
                      <a16:creationId xmlns:a16="http://schemas.microsoft.com/office/drawing/2014/main" id="{0C4D921C-9CDB-AE4C-8145-151F17F02CD6}"/>
                    </a:ext>
                  </a:extLst>
                </p:cNvPr>
                <p:cNvSpPr>
                  <a:spLocks/>
                </p:cNvSpPr>
                <p:nvPr/>
              </p:nvSpPr>
              <p:spPr bwMode="auto">
                <a:xfrm>
                  <a:off x="6498202" y="4272421"/>
                  <a:ext cx="14572" cy="51001"/>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7" name="Indonesia">
                  <a:extLst>
                    <a:ext uri="{FF2B5EF4-FFF2-40B4-BE49-F238E27FC236}">
                      <a16:creationId xmlns:a16="http://schemas.microsoft.com/office/drawing/2014/main" id="{3DAD45CA-27B6-5F4B-A0C0-4B974982E046}"/>
                    </a:ext>
                  </a:extLst>
                </p:cNvPr>
                <p:cNvSpPr>
                  <a:spLocks/>
                </p:cNvSpPr>
                <p:nvPr/>
              </p:nvSpPr>
              <p:spPr bwMode="auto">
                <a:xfrm>
                  <a:off x="6525523" y="4423602"/>
                  <a:ext cx="1136596" cy="433511"/>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8" name="Socotra">
                  <a:extLst>
                    <a:ext uri="{FF2B5EF4-FFF2-40B4-BE49-F238E27FC236}">
                      <a16:creationId xmlns:a16="http://schemas.microsoft.com/office/drawing/2014/main" id="{A3E59370-A5EA-384B-B4AD-3FC61851D03C}"/>
                    </a:ext>
                  </a:extLst>
                </p:cNvPr>
                <p:cNvSpPr>
                  <a:spLocks/>
                </p:cNvSpPr>
                <p:nvPr/>
              </p:nvSpPr>
              <p:spPr bwMode="auto">
                <a:xfrm>
                  <a:off x="5569253" y="4294278"/>
                  <a:ext cx="27323" cy="14572"/>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19" name="Bahrain">
                  <a:extLst>
                    <a:ext uri="{FF2B5EF4-FFF2-40B4-BE49-F238E27FC236}">
                      <a16:creationId xmlns:a16="http://schemas.microsoft.com/office/drawing/2014/main" id="{2FFB41D6-190C-B34C-AEAE-02692A4F766D}"/>
                    </a:ext>
                  </a:extLst>
                </p:cNvPr>
                <p:cNvSpPr>
                  <a:spLocks/>
                </p:cNvSpPr>
                <p:nvPr/>
              </p:nvSpPr>
              <p:spPr bwMode="auto">
                <a:xfrm>
                  <a:off x="5496395" y="3950021"/>
                  <a:ext cx="9108" cy="10929"/>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solidFill>
                  <a:schemeClr val="accent1"/>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20" name="Oman">
                  <a:extLst>
                    <a:ext uri="{FF2B5EF4-FFF2-40B4-BE49-F238E27FC236}">
                      <a16:creationId xmlns:a16="http://schemas.microsoft.com/office/drawing/2014/main" id="{1CB9AB91-5C14-1245-BD4E-A89D4361379D}"/>
                    </a:ext>
                  </a:extLst>
                </p:cNvPr>
                <p:cNvGrpSpPr/>
                <p:nvPr/>
              </p:nvGrpSpPr>
              <p:grpSpPr>
                <a:xfrm>
                  <a:off x="5534645" y="3950021"/>
                  <a:ext cx="189433" cy="249540"/>
                  <a:chOff x="5677949" y="3737647"/>
                  <a:chExt cx="189433" cy="249540"/>
                </a:xfrm>
                <a:grpFill/>
              </p:grpSpPr>
              <p:sp>
                <p:nvSpPr>
                  <p:cNvPr id="132" name="Oman">
                    <a:extLst>
                      <a:ext uri="{FF2B5EF4-FFF2-40B4-BE49-F238E27FC236}">
                        <a16:creationId xmlns:a16="http://schemas.microsoft.com/office/drawing/2014/main" id="{D3196A77-5EA5-4343-9AA9-1A2BC51E48F8}"/>
                      </a:ext>
                    </a:extLst>
                  </p:cNvPr>
                  <p:cNvSpPr>
                    <a:spLocks/>
                  </p:cNvSpPr>
                  <p:nvPr/>
                </p:nvSpPr>
                <p:spPr bwMode="auto">
                  <a:xfrm>
                    <a:off x="5677949" y="3775897"/>
                    <a:ext cx="189433" cy="211290"/>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3" name="Musandam Peninsula">
                    <a:extLst>
                      <a:ext uri="{FF2B5EF4-FFF2-40B4-BE49-F238E27FC236}">
                        <a16:creationId xmlns:a16="http://schemas.microsoft.com/office/drawing/2014/main" id="{95788512-D81B-A248-BF1A-93791A1B66A6}"/>
                      </a:ext>
                    </a:extLst>
                  </p:cNvPr>
                  <p:cNvSpPr>
                    <a:spLocks/>
                  </p:cNvSpPr>
                  <p:nvPr/>
                </p:nvSpPr>
                <p:spPr bwMode="auto">
                  <a:xfrm>
                    <a:off x="5776308" y="3737647"/>
                    <a:ext cx="7286" cy="21858"/>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21" name="Qeshm Island">
                  <a:extLst>
                    <a:ext uri="{FF2B5EF4-FFF2-40B4-BE49-F238E27FC236}">
                      <a16:creationId xmlns:a16="http://schemas.microsoft.com/office/drawing/2014/main" id="{E8F5D07F-1B17-3A4D-8037-42F4CE2034A5}"/>
                    </a:ext>
                  </a:extLst>
                </p:cNvPr>
                <p:cNvSpPr>
                  <a:spLocks/>
                </p:cNvSpPr>
                <p:nvPr/>
              </p:nvSpPr>
              <p:spPr bwMode="auto">
                <a:xfrm>
                  <a:off x="5612969" y="3937270"/>
                  <a:ext cx="25501" cy="12751"/>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22" name="China">
                  <a:extLst>
                    <a:ext uri="{FF2B5EF4-FFF2-40B4-BE49-F238E27FC236}">
                      <a16:creationId xmlns:a16="http://schemas.microsoft.com/office/drawing/2014/main" id="{0EEE74B4-785E-4D43-87DE-3A104965283D}"/>
                    </a:ext>
                  </a:extLst>
                </p:cNvPr>
                <p:cNvSpPr>
                  <a:spLocks/>
                </p:cNvSpPr>
                <p:nvPr/>
              </p:nvSpPr>
              <p:spPr bwMode="auto">
                <a:xfrm>
                  <a:off x="6050118" y="3093931"/>
                  <a:ext cx="1458996" cy="1067381"/>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23" name="Japan">
                  <a:extLst>
                    <a:ext uri="{FF2B5EF4-FFF2-40B4-BE49-F238E27FC236}">
                      <a16:creationId xmlns:a16="http://schemas.microsoft.com/office/drawing/2014/main" id="{421ED80B-DF4E-834D-8E97-6C80B51114B9}"/>
                    </a:ext>
                  </a:extLst>
                </p:cNvPr>
                <p:cNvGrpSpPr/>
                <p:nvPr/>
              </p:nvGrpSpPr>
              <p:grpSpPr>
                <a:xfrm>
                  <a:off x="7336075" y="3361686"/>
                  <a:ext cx="544620" cy="597443"/>
                  <a:chOff x="7336075" y="3361686"/>
                  <a:chExt cx="544620" cy="597443"/>
                </a:xfrm>
                <a:grpFill/>
              </p:grpSpPr>
              <p:sp>
                <p:nvSpPr>
                  <p:cNvPr id="130" name="Japan - Offshore">
                    <a:extLst>
                      <a:ext uri="{FF2B5EF4-FFF2-40B4-BE49-F238E27FC236}">
                        <a16:creationId xmlns:a16="http://schemas.microsoft.com/office/drawing/2014/main" id="{08019B97-E60A-2642-8C86-1F4291F12F6F}"/>
                      </a:ext>
                    </a:extLst>
                  </p:cNvPr>
                  <p:cNvSpPr>
                    <a:spLocks/>
                  </p:cNvSpPr>
                  <p:nvPr/>
                </p:nvSpPr>
                <p:spPr bwMode="auto">
                  <a:xfrm>
                    <a:off x="7336075" y="3361686"/>
                    <a:ext cx="544620" cy="597443"/>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31" name="Japan - Mainland">
                    <a:extLst>
                      <a:ext uri="{FF2B5EF4-FFF2-40B4-BE49-F238E27FC236}">
                        <a16:creationId xmlns:a16="http://schemas.microsoft.com/office/drawing/2014/main" id="{8830EEE5-E4E5-0744-9A79-A00237668736}"/>
                      </a:ext>
                    </a:extLst>
                  </p:cNvPr>
                  <p:cNvSpPr>
                    <a:spLocks noEditPoints="1"/>
                  </p:cNvSpPr>
                  <p:nvPr/>
                </p:nvSpPr>
                <p:spPr bwMode="auto">
                  <a:xfrm>
                    <a:off x="7416220" y="3516512"/>
                    <a:ext cx="265934" cy="242256"/>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24" name="Korea - South">
                  <a:extLst>
                    <a:ext uri="{FF2B5EF4-FFF2-40B4-BE49-F238E27FC236}">
                      <a16:creationId xmlns:a16="http://schemas.microsoft.com/office/drawing/2014/main" id="{DD099214-A2FB-184E-842E-A7407DCFEF54}"/>
                    </a:ext>
                  </a:extLst>
                </p:cNvPr>
                <p:cNvSpPr>
                  <a:spLocks/>
                </p:cNvSpPr>
                <p:nvPr/>
              </p:nvSpPr>
              <p:spPr bwMode="auto">
                <a:xfrm>
                  <a:off x="7297825" y="3607585"/>
                  <a:ext cx="87430" cy="158468"/>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25" name="Korea - North">
                  <a:extLst>
                    <a:ext uri="{FF2B5EF4-FFF2-40B4-BE49-F238E27FC236}">
                      <a16:creationId xmlns:a16="http://schemas.microsoft.com/office/drawing/2014/main" id="{E1ED3EBE-0905-0343-814D-2E64FA8274E5}"/>
                    </a:ext>
                  </a:extLst>
                </p:cNvPr>
                <p:cNvSpPr>
                  <a:spLocks/>
                </p:cNvSpPr>
                <p:nvPr/>
              </p:nvSpPr>
              <p:spPr bwMode="auto">
                <a:xfrm>
                  <a:off x="7257753" y="3469153"/>
                  <a:ext cx="151182" cy="165754"/>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nvGrpSpPr>
                <p:cNvPr id="126" name="Russia">
                  <a:extLst>
                    <a:ext uri="{FF2B5EF4-FFF2-40B4-BE49-F238E27FC236}">
                      <a16:creationId xmlns:a16="http://schemas.microsoft.com/office/drawing/2014/main" id="{1E0547BE-C270-ED47-9D0F-D803145032B8}"/>
                    </a:ext>
                  </a:extLst>
                </p:cNvPr>
                <p:cNvGrpSpPr/>
                <p:nvPr/>
              </p:nvGrpSpPr>
              <p:grpSpPr>
                <a:xfrm>
                  <a:off x="4944490" y="1091227"/>
                  <a:ext cx="3899761" cy="2428927"/>
                  <a:chOff x="4944490" y="1091227"/>
                  <a:chExt cx="3899761" cy="2428927"/>
                </a:xfrm>
                <a:grpFill/>
              </p:grpSpPr>
              <p:sp>
                <p:nvSpPr>
                  <p:cNvPr id="128" name="Russia - Offshore">
                    <a:extLst>
                      <a:ext uri="{FF2B5EF4-FFF2-40B4-BE49-F238E27FC236}">
                        <a16:creationId xmlns:a16="http://schemas.microsoft.com/office/drawing/2014/main" id="{1C2425BE-2076-4E40-928E-E81DF9503E60}"/>
                      </a:ext>
                    </a:extLst>
                  </p:cNvPr>
                  <p:cNvSpPr>
                    <a:spLocks/>
                  </p:cNvSpPr>
                  <p:nvPr/>
                </p:nvSpPr>
                <p:spPr bwMode="auto">
                  <a:xfrm>
                    <a:off x="5445392" y="1091227"/>
                    <a:ext cx="3398859" cy="2277745"/>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29" name="Russia - Mainland">
                    <a:extLst>
                      <a:ext uri="{FF2B5EF4-FFF2-40B4-BE49-F238E27FC236}">
                        <a16:creationId xmlns:a16="http://schemas.microsoft.com/office/drawing/2014/main" id="{40A100C0-5052-6542-9D76-7FEC9D0C67F1}"/>
                      </a:ext>
                    </a:extLst>
                  </p:cNvPr>
                  <p:cNvSpPr>
                    <a:spLocks noEditPoints="1"/>
                  </p:cNvSpPr>
                  <p:nvPr/>
                </p:nvSpPr>
                <p:spPr bwMode="auto">
                  <a:xfrm>
                    <a:off x="4944490" y="1569362"/>
                    <a:ext cx="3885190" cy="1950792"/>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27" name="Turkey">
                  <a:extLst>
                    <a:ext uri="{FF2B5EF4-FFF2-40B4-BE49-F238E27FC236}">
                      <a16:creationId xmlns:a16="http://schemas.microsoft.com/office/drawing/2014/main" id="{2491D702-D0EB-494B-89B9-D51DBA86C3BE}"/>
                    </a:ext>
                  </a:extLst>
                </p:cNvPr>
                <p:cNvSpPr>
                  <a:spLocks/>
                </p:cNvSpPr>
                <p:nvPr/>
              </p:nvSpPr>
              <p:spPr bwMode="auto">
                <a:xfrm>
                  <a:off x="4918989" y="3496475"/>
                  <a:ext cx="448081" cy="191255"/>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nvGrpSpPr>
              <p:cNvPr id="11" name="vMap : Africa">
                <a:extLst>
                  <a:ext uri="{FF2B5EF4-FFF2-40B4-BE49-F238E27FC236}">
                    <a16:creationId xmlns:a16="http://schemas.microsoft.com/office/drawing/2014/main" id="{1A637EEC-962B-6D40-BCE4-AFD237EE13F2}"/>
                  </a:ext>
                </a:extLst>
              </p:cNvPr>
              <p:cNvGrpSpPr/>
              <p:nvPr/>
            </p:nvGrpSpPr>
            <p:grpSpPr>
              <a:xfrm>
                <a:off x="3698607" y="3642194"/>
                <a:ext cx="1974470" cy="1834217"/>
                <a:chOff x="3698607" y="3642194"/>
                <a:chExt cx="1974470" cy="1834217"/>
              </a:xfrm>
              <a:grpFill/>
            </p:grpSpPr>
            <p:grpSp>
              <p:nvGrpSpPr>
                <p:cNvPr id="12" name="African Islands">
                  <a:extLst>
                    <a:ext uri="{FF2B5EF4-FFF2-40B4-BE49-F238E27FC236}">
                      <a16:creationId xmlns:a16="http://schemas.microsoft.com/office/drawing/2014/main" id="{D944AFD0-1810-2E41-AD01-101CF496DE53}"/>
                    </a:ext>
                  </a:extLst>
                </p:cNvPr>
                <p:cNvGrpSpPr/>
                <p:nvPr/>
              </p:nvGrpSpPr>
              <p:grpSpPr>
                <a:xfrm>
                  <a:off x="3698607" y="3775161"/>
                  <a:ext cx="1974470" cy="1342422"/>
                  <a:chOff x="3841911" y="3562787"/>
                  <a:chExt cx="1974470" cy="1342422"/>
                </a:xfrm>
                <a:grpFill/>
              </p:grpSpPr>
              <p:sp>
                <p:nvSpPr>
                  <p:cNvPr id="64" name="African Island">
                    <a:extLst>
                      <a:ext uri="{FF2B5EF4-FFF2-40B4-BE49-F238E27FC236}">
                        <a16:creationId xmlns:a16="http://schemas.microsoft.com/office/drawing/2014/main" id="{D5442587-AD93-1545-A50D-4AA1BD713B20}"/>
                      </a:ext>
                    </a:extLst>
                  </p:cNvPr>
                  <p:cNvSpPr>
                    <a:spLocks/>
                  </p:cNvSpPr>
                  <p:nvPr/>
                </p:nvSpPr>
                <p:spPr bwMode="auto">
                  <a:xfrm>
                    <a:off x="3841911" y="3972617"/>
                    <a:ext cx="10929" cy="9108"/>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5" name="African Island">
                    <a:extLst>
                      <a:ext uri="{FF2B5EF4-FFF2-40B4-BE49-F238E27FC236}">
                        <a16:creationId xmlns:a16="http://schemas.microsoft.com/office/drawing/2014/main" id="{5A009496-BC11-C94D-AC62-840762E8178D}"/>
                      </a:ext>
                    </a:extLst>
                  </p:cNvPr>
                  <p:cNvSpPr>
                    <a:spLocks/>
                  </p:cNvSpPr>
                  <p:nvPr/>
                </p:nvSpPr>
                <p:spPr bwMode="auto">
                  <a:xfrm>
                    <a:off x="3880162" y="4018153"/>
                    <a:ext cx="7286" cy="14572"/>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6" name="African Island">
                    <a:extLst>
                      <a:ext uri="{FF2B5EF4-FFF2-40B4-BE49-F238E27FC236}">
                        <a16:creationId xmlns:a16="http://schemas.microsoft.com/office/drawing/2014/main" id="{BC56C77F-9423-EE49-86B4-5018377E8E7B}"/>
                      </a:ext>
                    </a:extLst>
                  </p:cNvPr>
                  <p:cNvSpPr>
                    <a:spLocks/>
                  </p:cNvSpPr>
                  <p:nvPr/>
                </p:nvSpPr>
                <p:spPr bwMode="auto">
                  <a:xfrm>
                    <a:off x="3898377" y="3998118"/>
                    <a:ext cx="9108" cy="7286"/>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7" name="African Island">
                    <a:extLst>
                      <a:ext uri="{FF2B5EF4-FFF2-40B4-BE49-F238E27FC236}">
                        <a16:creationId xmlns:a16="http://schemas.microsoft.com/office/drawing/2014/main" id="{53FC6C2B-F005-E244-A37B-2A7FB8E0B5E6}"/>
                      </a:ext>
                    </a:extLst>
                  </p:cNvPr>
                  <p:cNvSpPr>
                    <a:spLocks/>
                  </p:cNvSpPr>
                  <p:nvPr/>
                </p:nvSpPr>
                <p:spPr bwMode="auto">
                  <a:xfrm>
                    <a:off x="4038629" y="3562787"/>
                    <a:ext cx="10929" cy="7286"/>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8" name="African Island">
                    <a:extLst>
                      <a:ext uri="{FF2B5EF4-FFF2-40B4-BE49-F238E27FC236}">
                        <a16:creationId xmlns:a16="http://schemas.microsoft.com/office/drawing/2014/main" id="{84166721-A84C-6545-B8E3-0116010D6424}"/>
                      </a:ext>
                    </a:extLst>
                  </p:cNvPr>
                  <p:cNvSpPr>
                    <a:spLocks/>
                  </p:cNvSpPr>
                  <p:nvPr/>
                </p:nvSpPr>
                <p:spPr bwMode="auto">
                  <a:xfrm>
                    <a:off x="4044094" y="3679360"/>
                    <a:ext cx="16394" cy="1639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9" name="African Island">
                    <a:extLst>
                      <a:ext uri="{FF2B5EF4-FFF2-40B4-BE49-F238E27FC236}">
                        <a16:creationId xmlns:a16="http://schemas.microsoft.com/office/drawing/2014/main" id="{0D63C74E-566E-0A46-8010-55B649EE5EBF}"/>
                      </a:ext>
                    </a:extLst>
                  </p:cNvPr>
                  <p:cNvSpPr>
                    <a:spLocks/>
                  </p:cNvSpPr>
                  <p:nvPr/>
                </p:nvSpPr>
                <p:spPr bwMode="auto">
                  <a:xfrm>
                    <a:off x="4102381" y="3675718"/>
                    <a:ext cx="14572" cy="20037"/>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0" name="African Island">
                    <a:extLst>
                      <a:ext uri="{FF2B5EF4-FFF2-40B4-BE49-F238E27FC236}">
                        <a16:creationId xmlns:a16="http://schemas.microsoft.com/office/drawing/2014/main" id="{3E27527B-2E17-834C-B882-AA590D86B19E}"/>
                      </a:ext>
                    </a:extLst>
                  </p:cNvPr>
                  <p:cNvSpPr>
                    <a:spLocks/>
                  </p:cNvSpPr>
                  <p:nvPr/>
                </p:nvSpPr>
                <p:spPr bwMode="auto">
                  <a:xfrm>
                    <a:off x="4069595" y="3690289"/>
                    <a:ext cx="12751" cy="12751"/>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1" name="African Island">
                    <a:extLst>
                      <a:ext uri="{FF2B5EF4-FFF2-40B4-BE49-F238E27FC236}">
                        <a16:creationId xmlns:a16="http://schemas.microsoft.com/office/drawing/2014/main" id="{7A3BE3B9-8B9A-4F49-91EE-9E31466912B6}"/>
                      </a:ext>
                    </a:extLst>
                  </p:cNvPr>
                  <p:cNvSpPr>
                    <a:spLocks/>
                  </p:cNvSpPr>
                  <p:nvPr/>
                </p:nvSpPr>
                <p:spPr bwMode="auto">
                  <a:xfrm>
                    <a:off x="4643356" y="4295016"/>
                    <a:ext cx="14572" cy="12751"/>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2" name="African Island">
                    <a:extLst>
                      <a:ext uri="{FF2B5EF4-FFF2-40B4-BE49-F238E27FC236}">
                        <a16:creationId xmlns:a16="http://schemas.microsoft.com/office/drawing/2014/main" id="{AD9AAA75-3B4E-4C4D-9707-EE81B5C2632B}"/>
                      </a:ext>
                    </a:extLst>
                  </p:cNvPr>
                  <p:cNvSpPr>
                    <a:spLocks/>
                  </p:cNvSpPr>
                  <p:nvPr/>
                </p:nvSpPr>
                <p:spPr bwMode="auto">
                  <a:xfrm>
                    <a:off x="4595998" y="4373340"/>
                    <a:ext cx="10929" cy="10929"/>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3" name="African Island">
                    <a:extLst>
                      <a:ext uri="{FF2B5EF4-FFF2-40B4-BE49-F238E27FC236}">
                        <a16:creationId xmlns:a16="http://schemas.microsoft.com/office/drawing/2014/main" id="{6777B7E4-FE54-6541-924A-C8C08309FF06}"/>
                      </a:ext>
                    </a:extLst>
                  </p:cNvPr>
                  <p:cNvSpPr>
                    <a:spLocks/>
                  </p:cNvSpPr>
                  <p:nvPr/>
                </p:nvSpPr>
                <p:spPr bwMode="auto">
                  <a:xfrm>
                    <a:off x="5805452" y="4866957"/>
                    <a:ext cx="10929" cy="1639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4" name="African Island">
                    <a:extLst>
                      <a:ext uri="{FF2B5EF4-FFF2-40B4-BE49-F238E27FC236}">
                        <a16:creationId xmlns:a16="http://schemas.microsoft.com/office/drawing/2014/main" id="{20F65006-3753-9945-A2C4-C12ADABD8D9D}"/>
                      </a:ext>
                    </a:extLst>
                  </p:cNvPr>
                  <p:cNvSpPr>
                    <a:spLocks/>
                  </p:cNvSpPr>
                  <p:nvPr/>
                </p:nvSpPr>
                <p:spPr bwMode="auto">
                  <a:xfrm>
                    <a:off x="5379229" y="4520878"/>
                    <a:ext cx="10929" cy="20037"/>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5" name="African Island">
                    <a:extLst>
                      <a:ext uri="{FF2B5EF4-FFF2-40B4-BE49-F238E27FC236}">
                        <a16:creationId xmlns:a16="http://schemas.microsoft.com/office/drawing/2014/main" id="{82A18C6F-CF32-CA40-ABE3-393AA1F7D737}"/>
                      </a:ext>
                    </a:extLst>
                  </p:cNvPr>
                  <p:cNvSpPr>
                    <a:spLocks/>
                  </p:cNvSpPr>
                  <p:nvPr/>
                </p:nvSpPr>
                <p:spPr bwMode="auto">
                  <a:xfrm>
                    <a:off x="5390158" y="4499021"/>
                    <a:ext cx="5465" cy="1639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6" name="African Island">
                    <a:extLst>
                      <a:ext uri="{FF2B5EF4-FFF2-40B4-BE49-F238E27FC236}">
                        <a16:creationId xmlns:a16="http://schemas.microsoft.com/office/drawing/2014/main" id="{EED324F1-6B59-DA44-9911-EFF90782BDA3}"/>
                      </a:ext>
                    </a:extLst>
                  </p:cNvPr>
                  <p:cNvSpPr>
                    <a:spLocks/>
                  </p:cNvSpPr>
                  <p:nvPr/>
                </p:nvSpPr>
                <p:spPr bwMode="auto">
                  <a:xfrm>
                    <a:off x="5470302" y="4653846"/>
                    <a:ext cx="9108" cy="1639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7" name="African Island">
                    <a:extLst>
                      <a:ext uri="{FF2B5EF4-FFF2-40B4-BE49-F238E27FC236}">
                        <a16:creationId xmlns:a16="http://schemas.microsoft.com/office/drawing/2014/main" id="{6A337440-1435-9947-9353-97853A2D5B2D}"/>
                      </a:ext>
                    </a:extLst>
                  </p:cNvPr>
                  <p:cNvSpPr>
                    <a:spLocks/>
                  </p:cNvSpPr>
                  <p:nvPr/>
                </p:nvSpPr>
                <p:spPr bwMode="auto">
                  <a:xfrm>
                    <a:off x="5493982" y="4672061"/>
                    <a:ext cx="10929" cy="10929"/>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8" name="African Island">
                    <a:extLst>
                      <a:ext uri="{FF2B5EF4-FFF2-40B4-BE49-F238E27FC236}">
                        <a16:creationId xmlns:a16="http://schemas.microsoft.com/office/drawing/2014/main" id="{39B40EBB-B1D3-4B45-B9A5-8E31A43FCFC1}"/>
                      </a:ext>
                    </a:extLst>
                  </p:cNvPr>
                  <p:cNvSpPr>
                    <a:spLocks/>
                  </p:cNvSpPr>
                  <p:nvPr/>
                </p:nvSpPr>
                <p:spPr bwMode="auto">
                  <a:xfrm>
                    <a:off x="5515840" y="4686632"/>
                    <a:ext cx="5465" cy="10929"/>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79" name="African Island">
                    <a:extLst>
                      <a:ext uri="{FF2B5EF4-FFF2-40B4-BE49-F238E27FC236}">
                        <a16:creationId xmlns:a16="http://schemas.microsoft.com/office/drawing/2014/main" id="{D30F896A-BA05-6941-AF33-60AC338B145C}"/>
                      </a:ext>
                    </a:extLst>
                  </p:cNvPr>
                  <p:cNvSpPr>
                    <a:spLocks/>
                  </p:cNvSpPr>
                  <p:nvPr/>
                </p:nvSpPr>
                <p:spPr bwMode="auto">
                  <a:xfrm>
                    <a:off x="5754451" y="4890637"/>
                    <a:ext cx="16394" cy="14572"/>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sp>
              <p:nvSpPr>
                <p:cNvPr id="13" name="Zimbabwe">
                  <a:extLst>
                    <a:ext uri="{FF2B5EF4-FFF2-40B4-BE49-F238E27FC236}">
                      <a16:creationId xmlns:a16="http://schemas.microsoft.com/office/drawing/2014/main" id="{7B75AF2F-D04E-F449-88BC-D99E487013EB}"/>
                    </a:ext>
                  </a:extLst>
                </p:cNvPr>
                <p:cNvSpPr>
                  <a:spLocks/>
                </p:cNvSpPr>
                <p:nvPr/>
              </p:nvSpPr>
              <p:spPr bwMode="auto">
                <a:xfrm>
                  <a:off x="4897132" y="4968222"/>
                  <a:ext cx="189433" cy="180326"/>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4" name="Zambia">
                  <a:extLst>
                    <a:ext uri="{FF2B5EF4-FFF2-40B4-BE49-F238E27FC236}">
                      <a16:creationId xmlns:a16="http://schemas.microsoft.com/office/drawing/2014/main" id="{97144E07-600F-3A4C-8361-3009E2352387}"/>
                    </a:ext>
                  </a:extLst>
                </p:cNvPr>
                <p:cNvSpPr>
                  <a:spLocks/>
                </p:cNvSpPr>
                <p:nvPr/>
              </p:nvSpPr>
              <p:spPr bwMode="auto">
                <a:xfrm>
                  <a:off x="4822453" y="4789718"/>
                  <a:ext cx="280506" cy="240434"/>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5" name="Western Sahara">
                  <a:extLst>
                    <a:ext uri="{FF2B5EF4-FFF2-40B4-BE49-F238E27FC236}">
                      <a16:creationId xmlns:a16="http://schemas.microsoft.com/office/drawing/2014/main" id="{22A8C4F8-FD38-9C4F-83A6-CC0C7085C690}"/>
                    </a:ext>
                  </a:extLst>
                </p:cNvPr>
                <p:cNvSpPr>
                  <a:spLocks/>
                </p:cNvSpPr>
                <p:nvPr/>
              </p:nvSpPr>
              <p:spPr bwMode="auto">
                <a:xfrm>
                  <a:off x="3898968" y="3911771"/>
                  <a:ext cx="200361" cy="178504"/>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6" name="Uganda">
                  <a:extLst>
                    <a:ext uri="{FF2B5EF4-FFF2-40B4-BE49-F238E27FC236}">
                      <a16:creationId xmlns:a16="http://schemas.microsoft.com/office/drawing/2014/main" id="{88C43EBD-CA7E-6644-A3F5-2688A22CB216}"/>
                    </a:ext>
                  </a:extLst>
                </p:cNvPr>
                <p:cNvSpPr>
                  <a:spLocks/>
                </p:cNvSpPr>
                <p:nvPr/>
              </p:nvSpPr>
              <p:spPr bwMode="auto">
                <a:xfrm>
                  <a:off x="5008242" y="4501927"/>
                  <a:ext cx="129325" cy="129325"/>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7" name="Tunisia">
                  <a:extLst>
                    <a:ext uri="{FF2B5EF4-FFF2-40B4-BE49-F238E27FC236}">
                      <a16:creationId xmlns:a16="http://schemas.microsoft.com/office/drawing/2014/main" id="{881E1788-CB1A-EF47-AC7E-360612BB0B50}"/>
                    </a:ext>
                  </a:extLst>
                </p:cNvPr>
                <p:cNvSpPr>
                  <a:spLocks/>
                </p:cNvSpPr>
                <p:nvPr/>
              </p:nvSpPr>
              <p:spPr bwMode="auto">
                <a:xfrm>
                  <a:off x="4476374" y="3642194"/>
                  <a:ext cx="94716" cy="202183"/>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8" name="Togo">
                  <a:extLst>
                    <a:ext uri="{FF2B5EF4-FFF2-40B4-BE49-F238E27FC236}">
                      <a16:creationId xmlns:a16="http://schemas.microsoft.com/office/drawing/2014/main" id="{2A611984-D810-D642-9563-B2EC0E9A2470}"/>
                    </a:ext>
                  </a:extLst>
                </p:cNvPr>
                <p:cNvSpPr>
                  <a:spLocks/>
                </p:cNvSpPr>
                <p:nvPr/>
              </p:nvSpPr>
              <p:spPr bwMode="auto">
                <a:xfrm>
                  <a:off x="4296048" y="4330709"/>
                  <a:ext cx="52823" cy="12386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19" name="Tanzania">
                  <a:extLst>
                    <a:ext uri="{FF2B5EF4-FFF2-40B4-BE49-F238E27FC236}">
                      <a16:creationId xmlns:a16="http://schemas.microsoft.com/office/drawing/2014/main" id="{8E9C35D3-AA38-7E4B-9F5D-FA64D2EEF65B}"/>
                    </a:ext>
                  </a:extLst>
                </p:cNvPr>
                <p:cNvSpPr>
                  <a:spLocks/>
                </p:cNvSpPr>
                <p:nvPr/>
              </p:nvSpPr>
              <p:spPr bwMode="auto">
                <a:xfrm>
                  <a:off x="5006420" y="4620321"/>
                  <a:ext cx="258648" cy="256827"/>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0" name="Swaziland">
                  <a:extLst>
                    <a:ext uri="{FF2B5EF4-FFF2-40B4-BE49-F238E27FC236}">
                      <a16:creationId xmlns:a16="http://schemas.microsoft.com/office/drawing/2014/main" id="{51656711-D2C8-B24C-8FD2-3126C0E441DD}"/>
                    </a:ext>
                  </a:extLst>
                </p:cNvPr>
                <p:cNvSpPr>
                  <a:spLocks/>
                </p:cNvSpPr>
                <p:nvPr/>
              </p:nvSpPr>
              <p:spPr bwMode="auto">
                <a:xfrm>
                  <a:off x="5031921" y="5225049"/>
                  <a:ext cx="32786" cy="43715"/>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1" name="Sudan">
                  <a:extLst>
                    <a:ext uri="{FF2B5EF4-FFF2-40B4-BE49-F238E27FC236}">
                      <a16:creationId xmlns:a16="http://schemas.microsoft.com/office/drawing/2014/main" id="{2B320499-3205-B449-B9D9-7409BB0D6FBF}"/>
                    </a:ext>
                  </a:extLst>
                </p:cNvPr>
                <p:cNvSpPr>
                  <a:spLocks/>
                </p:cNvSpPr>
                <p:nvPr/>
              </p:nvSpPr>
              <p:spPr bwMode="auto">
                <a:xfrm>
                  <a:off x="4818810" y="4037452"/>
                  <a:ext cx="397080" cy="340989"/>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2" name="South Sudan">
                  <a:extLst>
                    <a:ext uri="{FF2B5EF4-FFF2-40B4-BE49-F238E27FC236}">
                      <a16:creationId xmlns:a16="http://schemas.microsoft.com/office/drawing/2014/main" id="{F89756B4-AAA1-BA4F-A24A-74EF75FF5C39}"/>
                    </a:ext>
                  </a:extLst>
                </p:cNvPr>
                <p:cNvSpPr>
                  <a:spLocks/>
                </p:cNvSpPr>
                <p:nvPr/>
              </p:nvSpPr>
              <p:spPr bwMode="auto">
                <a:xfrm>
                  <a:off x="4860704" y="4308383"/>
                  <a:ext cx="296899" cy="206293"/>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3" name="South Africa">
                  <a:extLst>
                    <a:ext uri="{FF2B5EF4-FFF2-40B4-BE49-F238E27FC236}">
                      <a16:creationId xmlns:a16="http://schemas.microsoft.com/office/drawing/2014/main" id="{29D22BE6-568A-F742-A36B-A764BEE83DBD}"/>
                    </a:ext>
                  </a:extLst>
                </p:cNvPr>
                <p:cNvSpPr>
                  <a:spLocks/>
                </p:cNvSpPr>
                <p:nvPr/>
              </p:nvSpPr>
              <p:spPr bwMode="auto">
                <a:xfrm>
                  <a:off x="4689485" y="5133975"/>
                  <a:ext cx="395259" cy="342436"/>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4" name="Somalia">
                  <a:extLst>
                    <a:ext uri="{FF2B5EF4-FFF2-40B4-BE49-F238E27FC236}">
                      <a16:creationId xmlns:a16="http://schemas.microsoft.com/office/drawing/2014/main" id="{FF193B93-B438-CD48-BB61-672AD6CD77B4}"/>
                    </a:ext>
                  </a:extLst>
                </p:cNvPr>
                <p:cNvSpPr>
                  <a:spLocks/>
                </p:cNvSpPr>
                <p:nvPr/>
              </p:nvSpPr>
              <p:spPr bwMode="auto">
                <a:xfrm>
                  <a:off x="5275997" y="4312494"/>
                  <a:ext cx="245899" cy="326043"/>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5" name="Senegal">
                  <a:extLst>
                    <a:ext uri="{FF2B5EF4-FFF2-40B4-BE49-F238E27FC236}">
                      <a16:creationId xmlns:a16="http://schemas.microsoft.com/office/drawing/2014/main" id="{E95388BD-8D1D-594B-8752-F65F7372A556}"/>
                    </a:ext>
                  </a:extLst>
                </p:cNvPr>
                <p:cNvSpPr>
                  <a:spLocks/>
                </p:cNvSpPr>
                <p:nvPr/>
              </p:nvSpPr>
              <p:spPr bwMode="auto">
                <a:xfrm>
                  <a:off x="3882576" y="4195920"/>
                  <a:ext cx="151182" cy="10746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6" name="Sierra Leone">
                  <a:extLst>
                    <a:ext uri="{FF2B5EF4-FFF2-40B4-BE49-F238E27FC236}">
                      <a16:creationId xmlns:a16="http://schemas.microsoft.com/office/drawing/2014/main" id="{0E29581E-0422-9E42-9E8F-683126482EAB}"/>
                    </a:ext>
                  </a:extLst>
                </p:cNvPr>
                <p:cNvSpPr>
                  <a:spLocks/>
                </p:cNvSpPr>
                <p:nvPr/>
              </p:nvSpPr>
              <p:spPr bwMode="auto">
                <a:xfrm>
                  <a:off x="3984578" y="4361673"/>
                  <a:ext cx="72859" cy="72859"/>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7" name="Rwanda">
                  <a:extLst>
                    <a:ext uri="{FF2B5EF4-FFF2-40B4-BE49-F238E27FC236}">
                      <a16:creationId xmlns:a16="http://schemas.microsoft.com/office/drawing/2014/main" id="{99131BA0-3699-1642-96E5-732B6C427749}"/>
                    </a:ext>
                  </a:extLst>
                </p:cNvPr>
                <p:cNvSpPr>
                  <a:spLocks/>
                </p:cNvSpPr>
                <p:nvPr/>
              </p:nvSpPr>
              <p:spPr bwMode="auto">
                <a:xfrm>
                  <a:off x="4990028" y="4620321"/>
                  <a:ext cx="47358" cy="43715"/>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8" name="Nigeria">
                  <a:extLst>
                    <a:ext uri="{FF2B5EF4-FFF2-40B4-BE49-F238E27FC236}">
                      <a16:creationId xmlns:a16="http://schemas.microsoft.com/office/drawing/2014/main" id="{9C4BD4B0-E8B8-3E4F-8DA3-46F2C6DA2347}"/>
                    </a:ext>
                  </a:extLst>
                </p:cNvPr>
                <p:cNvSpPr>
                  <a:spLocks/>
                </p:cNvSpPr>
                <p:nvPr/>
              </p:nvSpPr>
              <p:spPr bwMode="auto">
                <a:xfrm>
                  <a:off x="4365264" y="4266957"/>
                  <a:ext cx="278685" cy="234970"/>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29" name="Niger">
                  <a:extLst>
                    <a:ext uri="{FF2B5EF4-FFF2-40B4-BE49-F238E27FC236}">
                      <a16:creationId xmlns:a16="http://schemas.microsoft.com/office/drawing/2014/main" id="{25B41D03-71E3-1E40-B25F-39791E2F94AB}"/>
                    </a:ext>
                  </a:extLst>
                </p:cNvPr>
                <p:cNvSpPr>
                  <a:spLocks/>
                </p:cNvSpPr>
                <p:nvPr/>
              </p:nvSpPr>
              <p:spPr bwMode="auto">
                <a:xfrm>
                  <a:off x="4301513" y="4026523"/>
                  <a:ext cx="382508" cy="293257"/>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0" name="Namibia">
                  <a:extLst>
                    <a:ext uri="{FF2B5EF4-FFF2-40B4-BE49-F238E27FC236}">
                      <a16:creationId xmlns:a16="http://schemas.microsoft.com/office/drawing/2014/main" id="{4AFCB482-E8DD-324F-A100-087A31BFB669}"/>
                    </a:ext>
                  </a:extLst>
                </p:cNvPr>
                <p:cNvSpPr>
                  <a:spLocks/>
                </p:cNvSpPr>
                <p:nvPr/>
              </p:nvSpPr>
              <p:spPr bwMode="auto">
                <a:xfrm>
                  <a:off x="4576554" y="5001009"/>
                  <a:ext cx="324221" cy="315114"/>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1" name="Mali">
                  <a:extLst>
                    <a:ext uri="{FF2B5EF4-FFF2-40B4-BE49-F238E27FC236}">
                      <a16:creationId xmlns:a16="http://schemas.microsoft.com/office/drawing/2014/main" id="{CB70208B-E4F8-A540-A7A1-DA7A48E16E72}"/>
                    </a:ext>
                  </a:extLst>
                </p:cNvPr>
                <p:cNvSpPr>
                  <a:spLocks/>
                </p:cNvSpPr>
                <p:nvPr/>
              </p:nvSpPr>
              <p:spPr bwMode="auto">
                <a:xfrm>
                  <a:off x="4011899" y="3984630"/>
                  <a:ext cx="389794" cy="373401"/>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2" name="Madagascar">
                  <a:extLst>
                    <a:ext uri="{FF2B5EF4-FFF2-40B4-BE49-F238E27FC236}">
                      <a16:creationId xmlns:a16="http://schemas.microsoft.com/office/drawing/2014/main" id="{C6B425C3-AB14-1C48-9A8A-E007CE1A54A6}"/>
                    </a:ext>
                  </a:extLst>
                </p:cNvPr>
                <p:cNvSpPr>
                  <a:spLocks/>
                </p:cNvSpPr>
                <p:nvPr/>
              </p:nvSpPr>
              <p:spPr bwMode="auto">
                <a:xfrm>
                  <a:off x="5325177" y="4888078"/>
                  <a:ext cx="171218" cy="338793"/>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3" name="Mauritania">
                  <a:extLst>
                    <a:ext uri="{FF2B5EF4-FFF2-40B4-BE49-F238E27FC236}">
                      <a16:creationId xmlns:a16="http://schemas.microsoft.com/office/drawing/2014/main" id="{63C08959-D5FE-3C45-AEDC-FD8A1C157AF3}"/>
                    </a:ext>
                  </a:extLst>
                </p:cNvPr>
                <p:cNvSpPr>
                  <a:spLocks/>
                </p:cNvSpPr>
                <p:nvPr/>
              </p:nvSpPr>
              <p:spPr bwMode="auto">
                <a:xfrm>
                  <a:off x="3898968" y="3926343"/>
                  <a:ext cx="289614" cy="318757"/>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4" name="Mozambique">
                  <a:extLst>
                    <a:ext uri="{FF2B5EF4-FFF2-40B4-BE49-F238E27FC236}">
                      <a16:creationId xmlns:a16="http://schemas.microsoft.com/office/drawing/2014/main" id="{A4D2F2E6-8D99-1448-AE01-82DD2F042FC5}"/>
                    </a:ext>
                  </a:extLst>
                </p:cNvPr>
                <p:cNvSpPr>
                  <a:spLocks/>
                </p:cNvSpPr>
                <p:nvPr/>
              </p:nvSpPr>
              <p:spPr bwMode="auto">
                <a:xfrm>
                  <a:off x="5013706" y="4844362"/>
                  <a:ext cx="256827" cy="409831"/>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5" name="Morocco">
                  <a:extLst>
                    <a:ext uri="{FF2B5EF4-FFF2-40B4-BE49-F238E27FC236}">
                      <a16:creationId xmlns:a16="http://schemas.microsoft.com/office/drawing/2014/main" id="{F8CB367A-D5D3-A74E-96F8-03F943DFB235}"/>
                    </a:ext>
                  </a:extLst>
                </p:cNvPr>
                <p:cNvSpPr>
                  <a:spLocks/>
                </p:cNvSpPr>
                <p:nvPr/>
              </p:nvSpPr>
              <p:spPr bwMode="auto">
                <a:xfrm>
                  <a:off x="3993685" y="3685909"/>
                  <a:ext cx="282328" cy="229505"/>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6" name="Malawi">
                  <a:extLst>
                    <a:ext uri="{FF2B5EF4-FFF2-40B4-BE49-F238E27FC236}">
                      <a16:creationId xmlns:a16="http://schemas.microsoft.com/office/drawing/2014/main" id="{DE77F402-491C-2046-8C4A-7ECA468FDC02}"/>
                    </a:ext>
                  </a:extLst>
                </p:cNvPr>
                <p:cNvSpPr>
                  <a:spLocks/>
                </p:cNvSpPr>
                <p:nvPr/>
              </p:nvSpPr>
              <p:spPr bwMode="auto">
                <a:xfrm>
                  <a:off x="5079279" y="4820683"/>
                  <a:ext cx="78324" cy="187612"/>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7" name="Libya">
                  <a:extLst>
                    <a:ext uri="{FF2B5EF4-FFF2-40B4-BE49-F238E27FC236}">
                      <a16:creationId xmlns:a16="http://schemas.microsoft.com/office/drawing/2014/main" id="{8C52AA90-DE6D-FF46-9CAB-07AD971405C1}"/>
                    </a:ext>
                  </a:extLst>
                </p:cNvPr>
                <p:cNvSpPr>
                  <a:spLocks/>
                </p:cNvSpPr>
                <p:nvPr/>
              </p:nvSpPr>
              <p:spPr bwMode="auto">
                <a:xfrm>
                  <a:off x="4516446" y="3764232"/>
                  <a:ext cx="380687" cy="364293"/>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8" name="Liberia">
                  <a:extLst>
                    <a:ext uri="{FF2B5EF4-FFF2-40B4-BE49-F238E27FC236}">
                      <a16:creationId xmlns:a16="http://schemas.microsoft.com/office/drawing/2014/main" id="{1A64AD41-0C70-004A-9D37-472804FFC8EF}"/>
                    </a:ext>
                  </a:extLst>
                </p:cNvPr>
                <p:cNvSpPr>
                  <a:spLocks/>
                </p:cNvSpPr>
                <p:nvPr/>
              </p:nvSpPr>
              <p:spPr bwMode="auto">
                <a:xfrm>
                  <a:off x="4026471" y="4392639"/>
                  <a:ext cx="98359" cy="103824"/>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39" name="Lesotho">
                  <a:extLst>
                    <a:ext uri="{FF2B5EF4-FFF2-40B4-BE49-F238E27FC236}">
                      <a16:creationId xmlns:a16="http://schemas.microsoft.com/office/drawing/2014/main" id="{E98F7B2D-541B-BC4F-8C46-D70F930ABA63}"/>
                    </a:ext>
                  </a:extLst>
                </p:cNvPr>
                <p:cNvSpPr>
                  <a:spLocks/>
                </p:cNvSpPr>
                <p:nvPr/>
              </p:nvSpPr>
              <p:spPr bwMode="auto">
                <a:xfrm>
                  <a:off x="4944490" y="5301550"/>
                  <a:ext cx="56466" cy="56466"/>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0" name="Kenya">
                  <a:extLst>
                    <a:ext uri="{FF2B5EF4-FFF2-40B4-BE49-F238E27FC236}">
                      <a16:creationId xmlns:a16="http://schemas.microsoft.com/office/drawing/2014/main" id="{D53C9147-DADA-0B48-B14E-E5731E1B74B1}"/>
                    </a:ext>
                  </a:extLst>
                </p:cNvPr>
                <p:cNvSpPr>
                  <a:spLocks/>
                </p:cNvSpPr>
                <p:nvPr/>
              </p:nvSpPr>
              <p:spPr bwMode="auto">
                <a:xfrm>
                  <a:off x="5108422" y="4487355"/>
                  <a:ext cx="191255" cy="222219"/>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1" name="Guinea">
                  <a:extLst>
                    <a:ext uri="{FF2B5EF4-FFF2-40B4-BE49-F238E27FC236}">
                      <a16:creationId xmlns:a16="http://schemas.microsoft.com/office/drawing/2014/main" id="{714711AB-60BB-0F4E-99CF-6803488EE515}"/>
                    </a:ext>
                  </a:extLst>
                </p:cNvPr>
                <p:cNvSpPr>
                  <a:spLocks/>
                </p:cNvSpPr>
                <p:nvPr/>
              </p:nvSpPr>
              <p:spPr bwMode="auto">
                <a:xfrm>
                  <a:off x="3942684" y="4294279"/>
                  <a:ext cx="176683" cy="134789"/>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2" name="Guinea-Bissau">
                  <a:extLst>
                    <a:ext uri="{FF2B5EF4-FFF2-40B4-BE49-F238E27FC236}">
                      <a16:creationId xmlns:a16="http://schemas.microsoft.com/office/drawing/2014/main" id="{9471DC22-100F-754B-9803-47BA5CA928ED}"/>
                    </a:ext>
                  </a:extLst>
                </p:cNvPr>
                <p:cNvSpPr>
                  <a:spLocks/>
                </p:cNvSpPr>
                <p:nvPr/>
              </p:nvSpPr>
              <p:spPr bwMode="auto">
                <a:xfrm>
                  <a:off x="3900790" y="4294279"/>
                  <a:ext cx="78324" cy="4553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3" name="Ghana">
                  <a:extLst>
                    <a:ext uri="{FF2B5EF4-FFF2-40B4-BE49-F238E27FC236}">
                      <a16:creationId xmlns:a16="http://schemas.microsoft.com/office/drawing/2014/main" id="{7B10D840-C150-3B42-BCF8-34EDD666A94E}"/>
                    </a:ext>
                  </a:extLst>
                </p:cNvPr>
                <p:cNvSpPr>
                  <a:spLocks/>
                </p:cNvSpPr>
                <p:nvPr/>
              </p:nvSpPr>
              <p:spPr bwMode="auto">
                <a:xfrm>
                  <a:off x="4225011" y="4330709"/>
                  <a:ext cx="109288" cy="160289"/>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4" name="The Gambia">
                  <a:extLst>
                    <a:ext uri="{FF2B5EF4-FFF2-40B4-BE49-F238E27FC236}">
                      <a16:creationId xmlns:a16="http://schemas.microsoft.com/office/drawing/2014/main" id="{E2266C45-CCF5-8E40-83B0-C784741EE374}"/>
                    </a:ext>
                  </a:extLst>
                </p:cNvPr>
                <p:cNvSpPr>
                  <a:spLocks/>
                </p:cNvSpPr>
                <p:nvPr/>
              </p:nvSpPr>
              <p:spPr bwMode="auto">
                <a:xfrm>
                  <a:off x="3900790" y="4263314"/>
                  <a:ext cx="72859" cy="25501"/>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5" name="Gabon">
                  <a:extLst>
                    <a:ext uri="{FF2B5EF4-FFF2-40B4-BE49-F238E27FC236}">
                      <a16:creationId xmlns:a16="http://schemas.microsoft.com/office/drawing/2014/main" id="{95E49460-2969-2048-9517-0A2D0BB7566E}"/>
                    </a:ext>
                  </a:extLst>
                </p:cNvPr>
                <p:cNvSpPr>
                  <a:spLocks/>
                </p:cNvSpPr>
                <p:nvPr/>
              </p:nvSpPr>
              <p:spPr bwMode="auto">
                <a:xfrm>
                  <a:off x="4509160" y="4543820"/>
                  <a:ext cx="132968" cy="149360"/>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6" name="Eritrea">
                  <a:extLst>
                    <a:ext uri="{FF2B5EF4-FFF2-40B4-BE49-F238E27FC236}">
                      <a16:creationId xmlns:a16="http://schemas.microsoft.com/office/drawing/2014/main" id="{4423C995-D8D5-E041-BF09-C4CA41F38939}"/>
                    </a:ext>
                  </a:extLst>
                </p:cNvPr>
                <p:cNvSpPr>
                  <a:spLocks/>
                </p:cNvSpPr>
                <p:nvPr/>
              </p:nvSpPr>
              <p:spPr bwMode="auto">
                <a:xfrm>
                  <a:off x="5168530" y="4163133"/>
                  <a:ext cx="156646" cy="143896"/>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7" name="Equatorial Guinea">
                  <a:extLst>
                    <a:ext uri="{FF2B5EF4-FFF2-40B4-BE49-F238E27FC236}">
                      <a16:creationId xmlns:a16="http://schemas.microsoft.com/office/drawing/2014/main" id="{412BC579-83F8-FE48-8DEE-1401B5545A4D}"/>
                    </a:ext>
                  </a:extLst>
                </p:cNvPr>
                <p:cNvSpPr>
                  <a:spLocks/>
                </p:cNvSpPr>
                <p:nvPr/>
              </p:nvSpPr>
              <p:spPr bwMode="auto">
                <a:xfrm>
                  <a:off x="4521910" y="4543820"/>
                  <a:ext cx="49180" cy="32786"/>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8" name="Ethiopia">
                  <a:extLst>
                    <a:ext uri="{FF2B5EF4-FFF2-40B4-BE49-F238E27FC236}">
                      <a16:creationId xmlns:a16="http://schemas.microsoft.com/office/drawing/2014/main" id="{5EC8735D-A18D-004B-A8C3-961E46025CF8}"/>
                    </a:ext>
                  </a:extLst>
                </p:cNvPr>
                <p:cNvSpPr>
                  <a:spLocks/>
                </p:cNvSpPr>
                <p:nvPr/>
              </p:nvSpPr>
              <p:spPr bwMode="auto">
                <a:xfrm>
                  <a:off x="5086565" y="4252385"/>
                  <a:ext cx="357007" cy="262291"/>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49" name="Egypt">
                  <a:extLst>
                    <a:ext uri="{FF2B5EF4-FFF2-40B4-BE49-F238E27FC236}">
                      <a16:creationId xmlns:a16="http://schemas.microsoft.com/office/drawing/2014/main" id="{7EB915D2-9A90-E141-8653-3C5BB3BFF0C4}"/>
                    </a:ext>
                  </a:extLst>
                </p:cNvPr>
                <p:cNvSpPr>
                  <a:spLocks/>
                </p:cNvSpPr>
                <p:nvPr/>
              </p:nvSpPr>
              <p:spPr bwMode="auto">
                <a:xfrm>
                  <a:off x="4884382" y="3807947"/>
                  <a:ext cx="269577" cy="264113"/>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0" name="Djibouti">
                  <a:extLst>
                    <a:ext uri="{FF2B5EF4-FFF2-40B4-BE49-F238E27FC236}">
                      <a16:creationId xmlns:a16="http://schemas.microsoft.com/office/drawing/2014/main" id="{7B20B86F-EEAA-B543-B220-38E9ECAF47DE}"/>
                    </a:ext>
                  </a:extLst>
                </p:cNvPr>
                <p:cNvSpPr>
                  <a:spLocks/>
                </p:cNvSpPr>
                <p:nvPr/>
              </p:nvSpPr>
              <p:spPr bwMode="auto">
                <a:xfrm>
                  <a:off x="5294212" y="4294279"/>
                  <a:ext cx="41894" cy="4553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1" name="Democratic Republic of the Congo">
                  <a:extLst>
                    <a:ext uri="{FF2B5EF4-FFF2-40B4-BE49-F238E27FC236}">
                      <a16:creationId xmlns:a16="http://schemas.microsoft.com/office/drawing/2014/main" id="{A24250CF-6811-384E-BD4F-EBD2B69BB6A9}"/>
                    </a:ext>
                  </a:extLst>
                </p:cNvPr>
                <p:cNvSpPr>
                  <a:spLocks/>
                </p:cNvSpPr>
                <p:nvPr/>
              </p:nvSpPr>
              <p:spPr bwMode="auto">
                <a:xfrm>
                  <a:off x="4592948" y="4470961"/>
                  <a:ext cx="453546" cy="446260"/>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2" name="Cote d'Ivoire">
                  <a:extLst>
                    <a:ext uri="{FF2B5EF4-FFF2-40B4-BE49-F238E27FC236}">
                      <a16:creationId xmlns:a16="http://schemas.microsoft.com/office/drawing/2014/main" id="{53FF165E-22D5-D24E-9C90-1DD601CB6B8D}"/>
                    </a:ext>
                  </a:extLst>
                </p:cNvPr>
                <p:cNvSpPr>
                  <a:spLocks/>
                </p:cNvSpPr>
                <p:nvPr/>
              </p:nvSpPr>
              <p:spPr bwMode="auto">
                <a:xfrm>
                  <a:off x="4095687" y="4341637"/>
                  <a:ext cx="149360" cy="154825"/>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3" name="Congo">
                  <a:extLst>
                    <a:ext uri="{FF2B5EF4-FFF2-40B4-BE49-F238E27FC236}">
                      <a16:creationId xmlns:a16="http://schemas.microsoft.com/office/drawing/2014/main" id="{F6D6FDD0-E7ED-B441-A841-E025E7C3AF8E}"/>
                    </a:ext>
                  </a:extLst>
                </p:cNvPr>
                <p:cNvSpPr>
                  <a:spLocks/>
                </p:cNvSpPr>
                <p:nvPr/>
              </p:nvSpPr>
              <p:spPr bwMode="auto">
                <a:xfrm>
                  <a:off x="4563804" y="4509212"/>
                  <a:ext cx="182147" cy="211290"/>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4" name="Chad">
                  <a:extLst>
                    <a:ext uri="{FF2B5EF4-FFF2-40B4-BE49-F238E27FC236}">
                      <a16:creationId xmlns:a16="http://schemas.microsoft.com/office/drawing/2014/main" id="{46876339-1C4C-7949-A70C-045D1CEF5C00}"/>
                    </a:ext>
                  </a:extLst>
                </p:cNvPr>
                <p:cNvSpPr>
                  <a:spLocks/>
                </p:cNvSpPr>
                <p:nvPr/>
              </p:nvSpPr>
              <p:spPr bwMode="auto">
                <a:xfrm>
                  <a:off x="4616626" y="4028345"/>
                  <a:ext cx="256827" cy="395259"/>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5" name="Central African Republic">
                  <a:extLst>
                    <a:ext uri="{FF2B5EF4-FFF2-40B4-BE49-F238E27FC236}">
                      <a16:creationId xmlns:a16="http://schemas.microsoft.com/office/drawing/2014/main" id="{7C5B267A-57B1-8441-8E5F-263CB8ADF1DF}"/>
                    </a:ext>
                  </a:extLst>
                </p:cNvPr>
                <p:cNvSpPr>
                  <a:spLocks/>
                </p:cNvSpPr>
                <p:nvPr/>
              </p:nvSpPr>
              <p:spPr bwMode="auto">
                <a:xfrm>
                  <a:off x="4643949" y="4334352"/>
                  <a:ext cx="313292" cy="196718"/>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6" name="Cameroon">
                  <a:extLst>
                    <a:ext uri="{FF2B5EF4-FFF2-40B4-BE49-F238E27FC236}">
                      <a16:creationId xmlns:a16="http://schemas.microsoft.com/office/drawing/2014/main" id="{BC449AF9-A56F-1943-9144-B85886C62B3C}"/>
                    </a:ext>
                  </a:extLst>
                </p:cNvPr>
                <p:cNvSpPr>
                  <a:spLocks/>
                </p:cNvSpPr>
                <p:nvPr/>
              </p:nvSpPr>
              <p:spPr bwMode="auto">
                <a:xfrm>
                  <a:off x="4500052" y="4290636"/>
                  <a:ext cx="183969" cy="269577"/>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7" name="Cabinda (Province)">
                  <a:extLst>
                    <a:ext uri="{FF2B5EF4-FFF2-40B4-BE49-F238E27FC236}">
                      <a16:creationId xmlns:a16="http://schemas.microsoft.com/office/drawing/2014/main" id="{34B037A9-E658-5247-BA1B-6F85BF28D612}"/>
                    </a:ext>
                  </a:extLst>
                </p:cNvPr>
                <p:cNvSpPr>
                  <a:spLocks/>
                </p:cNvSpPr>
                <p:nvPr/>
              </p:nvSpPr>
              <p:spPr bwMode="auto">
                <a:xfrm>
                  <a:off x="4583840" y="4700466"/>
                  <a:ext cx="27323" cy="38251"/>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8" name="Botswana">
                  <a:extLst>
                    <a:ext uri="{FF2B5EF4-FFF2-40B4-BE49-F238E27FC236}">
                      <a16:creationId xmlns:a16="http://schemas.microsoft.com/office/drawing/2014/main" id="{1B497877-473C-6648-B751-0684CD2DCE88}"/>
                    </a:ext>
                  </a:extLst>
                </p:cNvPr>
                <p:cNvSpPr>
                  <a:spLocks/>
                </p:cNvSpPr>
                <p:nvPr/>
              </p:nvSpPr>
              <p:spPr bwMode="auto">
                <a:xfrm>
                  <a:off x="4773272" y="5022866"/>
                  <a:ext cx="227684" cy="234970"/>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59" name="Burundi">
                  <a:extLst>
                    <a:ext uri="{FF2B5EF4-FFF2-40B4-BE49-F238E27FC236}">
                      <a16:creationId xmlns:a16="http://schemas.microsoft.com/office/drawing/2014/main" id="{0E641A40-6FBB-9240-BA9B-7D5BE82E145F}"/>
                    </a:ext>
                  </a:extLst>
                </p:cNvPr>
                <p:cNvSpPr>
                  <a:spLocks/>
                </p:cNvSpPr>
                <p:nvPr/>
              </p:nvSpPr>
              <p:spPr bwMode="auto">
                <a:xfrm>
                  <a:off x="4995491" y="4653108"/>
                  <a:ext cx="40072" cy="51001"/>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0" name="Burkina Faso">
                  <a:extLst>
                    <a:ext uri="{FF2B5EF4-FFF2-40B4-BE49-F238E27FC236}">
                      <a16:creationId xmlns:a16="http://schemas.microsoft.com/office/drawing/2014/main" id="{59F0CCBC-2636-BD44-8129-44E66C664673}"/>
                    </a:ext>
                  </a:extLst>
                </p:cNvPr>
                <p:cNvSpPr>
                  <a:spLocks/>
                </p:cNvSpPr>
                <p:nvPr/>
              </p:nvSpPr>
              <p:spPr bwMode="auto">
                <a:xfrm>
                  <a:off x="4177653" y="4239635"/>
                  <a:ext cx="180326" cy="134789"/>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1" name="Benin">
                  <a:extLst>
                    <a:ext uri="{FF2B5EF4-FFF2-40B4-BE49-F238E27FC236}">
                      <a16:creationId xmlns:a16="http://schemas.microsoft.com/office/drawing/2014/main" id="{D806348F-1226-034F-984D-25CB97E2FEE2}"/>
                    </a:ext>
                  </a:extLst>
                </p:cNvPr>
                <p:cNvSpPr>
                  <a:spLocks/>
                </p:cNvSpPr>
                <p:nvPr/>
              </p:nvSpPr>
              <p:spPr bwMode="auto">
                <a:xfrm>
                  <a:off x="4319728" y="4301565"/>
                  <a:ext cx="71038" cy="151182"/>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2" name="Angola">
                  <a:extLst>
                    <a:ext uri="{FF2B5EF4-FFF2-40B4-BE49-F238E27FC236}">
                      <a16:creationId xmlns:a16="http://schemas.microsoft.com/office/drawing/2014/main" id="{54D956EC-C818-D840-8CB5-EECDA043C363}"/>
                    </a:ext>
                  </a:extLst>
                </p:cNvPr>
                <p:cNvSpPr>
                  <a:spLocks/>
                </p:cNvSpPr>
                <p:nvPr/>
              </p:nvSpPr>
              <p:spPr bwMode="auto">
                <a:xfrm>
                  <a:off x="4576554" y="4733252"/>
                  <a:ext cx="300543" cy="300543"/>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sp>
              <p:nvSpPr>
                <p:cNvPr id="63" name="Algeria">
                  <a:extLst>
                    <a:ext uri="{FF2B5EF4-FFF2-40B4-BE49-F238E27FC236}">
                      <a16:creationId xmlns:a16="http://schemas.microsoft.com/office/drawing/2014/main" id="{3256E473-960C-AB4C-93D6-63DC3FCC3C49}"/>
                    </a:ext>
                  </a:extLst>
                </p:cNvPr>
                <p:cNvSpPr>
                  <a:spLocks/>
                </p:cNvSpPr>
                <p:nvPr/>
              </p:nvSpPr>
              <p:spPr bwMode="auto">
                <a:xfrm>
                  <a:off x="4095687" y="3655455"/>
                  <a:ext cx="486332" cy="489975"/>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solidFill>
                  <a:schemeClr val="bg1">
                    <a:lumMod val="85000"/>
                  </a:schemeClr>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GB" sz="3200"/>
                </a:p>
              </p:txBody>
            </p:sp>
          </p:grpSp>
        </p:grpSp>
        <p:grpSp>
          <p:nvGrpSpPr>
            <p:cNvPr id="264" name="Group 263">
              <a:extLst>
                <a:ext uri="{FF2B5EF4-FFF2-40B4-BE49-F238E27FC236}">
                  <a16:creationId xmlns:a16="http://schemas.microsoft.com/office/drawing/2014/main" id="{013B47E1-5BA1-AE69-853C-2F3E56DBAB66}"/>
                </a:ext>
                <a:ext uri="{C183D7F6-B498-43B3-948B-1728B52AA6E4}">
                  <adec:decorative xmlns:adec="http://schemas.microsoft.com/office/drawing/2017/decorative" val="1"/>
                </a:ext>
              </a:extLst>
            </p:cNvPr>
            <p:cNvGrpSpPr/>
            <p:nvPr/>
          </p:nvGrpSpPr>
          <p:grpSpPr>
            <a:xfrm>
              <a:off x="6972053" y="4328054"/>
              <a:ext cx="957058" cy="550937"/>
              <a:chOff x="7378453" y="4420129"/>
              <a:chExt cx="957058" cy="550937"/>
            </a:xfrm>
          </p:grpSpPr>
          <p:sp>
            <p:nvSpPr>
              <p:cNvPr id="263" name="Oval 262">
                <a:extLst>
                  <a:ext uri="{FF2B5EF4-FFF2-40B4-BE49-F238E27FC236}">
                    <a16:creationId xmlns:a16="http://schemas.microsoft.com/office/drawing/2014/main" id="{5722D2A1-8323-EA3C-BBF4-BA6154ED51EE}"/>
                  </a:ext>
                </a:extLst>
              </p:cNvPr>
              <p:cNvSpPr/>
              <p:nvPr/>
            </p:nvSpPr>
            <p:spPr>
              <a:xfrm>
                <a:off x="7378453" y="4534043"/>
                <a:ext cx="101848" cy="101848"/>
              </a:xfrm>
              <a:prstGeom prst="ellipse">
                <a:avLst/>
              </a:prstGeom>
              <a:no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5" name="Straight Connector 264">
                <a:extLst>
                  <a:ext uri="{FF2B5EF4-FFF2-40B4-BE49-F238E27FC236}">
                    <a16:creationId xmlns:a16="http://schemas.microsoft.com/office/drawing/2014/main" id="{23C0E9C5-5FE4-75DC-6686-C87561A93C1B}"/>
                  </a:ext>
                </a:extLst>
              </p:cNvPr>
              <p:cNvCxnSpPr>
                <a:cxnSpLocks/>
                <a:stCxn id="263" idx="0"/>
                <a:endCxn id="273" idx="0"/>
              </p:cNvCxnSpPr>
              <p:nvPr/>
            </p:nvCxnSpPr>
            <p:spPr>
              <a:xfrm flipV="1">
                <a:off x="7429377" y="4420129"/>
                <a:ext cx="630666" cy="113914"/>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433B9C6-BB72-D725-AB39-DBFC7A235D7C}"/>
                  </a:ext>
                </a:extLst>
              </p:cNvPr>
              <p:cNvCxnSpPr>
                <a:cxnSpLocks/>
                <a:stCxn id="263" idx="4"/>
                <a:endCxn id="273" idx="3"/>
              </p:cNvCxnSpPr>
              <p:nvPr/>
            </p:nvCxnSpPr>
            <p:spPr>
              <a:xfrm>
                <a:off x="7429377" y="4635891"/>
                <a:ext cx="435880" cy="254492"/>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3DDA2F62-C145-FC4C-A6B6-8D364CA93A54}"/>
                  </a:ext>
                </a:extLst>
              </p:cNvPr>
              <p:cNvSpPr/>
              <p:nvPr/>
            </p:nvSpPr>
            <p:spPr>
              <a:xfrm>
                <a:off x="7784574" y="4420129"/>
                <a:ext cx="550937" cy="550937"/>
              </a:xfrm>
              <a:prstGeom prst="ellipse">
                <a:avLst/>
              </a:prstGeom>
              <a:no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Freeform 298">
                <a:extLst>
                  <a:ext uri="{FF2B5EF4-FFF2-40B4-BE49-F238E27FC236}">
                    <a16:creationId xmlns:a16="http://schemas.microsoft.com/office/drawing/2014/main" id="{32D85608-7790-E1E2-62F3-F3105E663C3A}"/>
                  </a:ext>
                </a:extLst>
              </p:cNvPr>
              <p:cNvSpPr/>
              <p:nvPr/>
            </p:nvSpPr>
            <p:spPr>
              <a:xfrm>
                <a:off x="7907545" y="4498288"/>
                <a:ext cx="316803" cy="392737"/>
              </a:xfrm>
              <a:custGeom>
                <a:avLst/>
                <a:gdLst>
                  <a:gd name="connsiteX0" fmla="*/ 564112 w 1698695"/>
                  <a:gd name="connsiteY0" fmla="*/ 2061077 h 2105850"/>
                  <a:gd name="connsiteX1" fmla="*/ 638407 w 1698695"/>
                  <a:gd name="connsiteY1" fmla="*/ 1977257 h 2105850"/>
                  <a:gd name="connsiteX2" fmla="*/ 771757 w 1698695"/>
                  <a:gd name="connsiteY2" fmla="*/ 1751514 h 2105850"/>
                  <a:gd name="connsiteX3" fmla="*/ 799380 w 1698695"/>
                  <a:gd name="connsiteY3" fmla="*/ 1277169 h 2105850"/>
                  <a:gd name="connsiteX4" fmla="*/ 1059412 w 1698695"/>
                  <a:gd name="connsiteY4" fmla="*/ 1044759 h 2105850"/>
                  <a:gd name="connsiteX5" fmla="*/ 1344210 w 1698695"/>
                  <a:gd name="connsiteY5" fmla="*/ 806634 h 2105850"/>
                  <a:gd name="connsiteX6" fmla="*/ 1492800 w 1698695"/>
                  <a:gd name="connsiteY6" fmla="*/ 682809 h 2105850"/>
                  <a:gd name="connsiteX7" fmla="*/ 1697587 w 1698695"/>
                  <a:gd name="connsiteY7" fmla="*/ 279902 h 2105850"/>
                  <a:gd name="connsiteX8" fmla="*/ 1455653 w 1698695"/>
                  <a:gd name="connsiteY8" fmla="*/ 220847 h 2105850"/>
                  <a:gd name="connsiteX9" fmla="*/ 1232767 w 1698695"/>
                  <a:gd name="connsiteY9" fmla="*/ 3677 h 2105850"/>
                  <a:gd name="connsiteX10" fmla="*/ 1077510 w 1698695"/>
                  <a:gd name="connsiteY10" fmla="*/ 174174 h 2105850"/>
                  <a:gd name="connsiteX11" fmla="*/ 1012740 w 1698695"/>
                  <a:gd name="connsiteY11" fmla="*/ 431349 h 2105850"/>
                  <a:gd name="connsiteX12" fmla="*/ 904155 w 1698695"/>
                  <a:gd name="connsiteY12" fmla="*/ 654234 h 2105850"/>
                  <a:gd name="connsiteX13" fmla="*/ 876532 w 1698695"/>
                  <a:gd name="connsiteY13" fmla="*/ 731387 h 2105850"/>
                  <a:gd name="connsiteX14" fmla="*/ 746040 w 1698695"/>
                  <a:gd name="connsiteY14" fmla="*/ 799967 h 2105850"/>
                  <a:gd name="connsiteX15" fmla="*/ 619357 w 1698695"/>
                  <a:gd name="connsiteY15" fmla="*/ 864737 h 2105850"/>
                  <a:gd name="connsiteX16" fmla="*/ 247882 w 1698695"/>
                  <a:gd name="connsiteY16" fmla="*/ 1131437 h 2105850"/>
                  <a:gd name="connsiteX17" fmla="*/ 204067 w 1698695"/>
                  <a:gd name="connsiteY17" fmla="*/ 1069524 h 2105850"/>
                  <a:gd name="connsiteX18" fmla="*/ 117390 w 1698695"/>
                  <a:gd name="connsiteY18" fmla="*/ 1072382 h 2105850"/>
                  <a:gd name="connsiteX19" fmla="*/ 21187 w 1698695"/>
                  <a:gd name="connsiteY19" fmla="*/ 1106672 h 2105850"/>
                  <a:gd name="connsiteX20" fmla="*/ 164062 w 1698695"/>
                  <a:gd name="connsiteY20" fmla="*/ 1237164 h 2105850"/>
                  <a:gd name="connsiteX21" fmla="*/ 176445 w 1698695"/>
                  <a:gd name="connsiteY21" fmla="*/ 1373372 h 2105850"/>
                  <a:gd name="connsiteX22" fmla="*/ 99292 w 1698695"/>
                  <a:gd name="connsiteY22" fmla="*/ 1599114 h 2105850"/>
                  <a:gd name="connsiteX23" fmla="*/ 185970 w 1698695"/>
                  <a:gd name="connsiteY23" fmla="*/ 1831524 h 2105850"/>
                  <a:gd name="connsiteX24" fmla="*/ 254550 w 1698695"/>
                  <a:gd name="connsiteY24" fmla="*/ 2023929 h 2105850"/>
                  <a:gd name="connsiteX25" fmla="*/ 564112 w 1698695"/>
                  <a:gd name="connsiteY25" fmla="*/ 2061077 h 210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8695" h="2105850">
                    <a:moveTo>
                      <a:pt x="564112" y="2061077"/>
                    </a:moveTo>
                    <a:cubicBezTo>
                      <a:pt x="564112" y="2061077"/>
                      <a:pt x="604117" y="1996307"/>
                      <a:pt x="638407" y="1977257"/>
                    </a:cubicBezTo>
                    <a:cubicBezTo>
                      <a:pt x="672697" y="1958207"/>
                      <a:pt x="768900" y="1828667"/>
                      <a:pt x="771757" y="1751514"/>
                    </a:cubicBezTo>
                    <a:cubicBezTo>
                      <a:pt x="774615" y="1674362"/>
                      <a:pt x="727942" y="1339082"/>
                      <a:pt x="799380" y="1277169"/>
                    </a:cubicBezTo>
                    <a:cubicBezTo>
                      <a:pt x="870817" y="1215257"/>
                      <a:pt x="972735" y="1097147"/>
                      <a:pt x="1059412" y="1044759"/>
                    </a:cubicBezTo>
                    <a:cubicBezTo>
                      <a:pt x="1146090" y="992372"/>
                      <a:pt x="1297537" y="846639"/>
                      <a:pt x="1344210" y="806634"/>
                    </a:cubicBezTo>
                    <a:cubicBezTo>
                      <a:pt x="1390882" y="766629"/>
                      <a:pt x="1418505" y="725672"/>
                      <a:pt x="1492800" y="682809"/>
                    </a:cubicBezTo>
                    <a:cubicBezTo>
                      <a:pt x="1567095" y="639947"/>
                      <a:pt x="1712828" y="314192"/>
                      <a:pt x="1697587" y="279902"/>
                    </a:cubicBezTo>
                    <a:cubicBezTo>
                      <a:pt x="1682347" y="245612"/>
                      <a:pt x="1517565" y="301809"/>
                      <a:pt x="1455653" y="220847"/>
                    </a:cubicBezTo>
                    <a:cubicBezTo>
                      <a:pt x="1393740" y="139884"/>
                      <a:pt x="1325160" y="-26803"/>
                      <a:pt x="1232767" y="3677"/>
                    </a:cubicBezTo>
                    <a:cubicBezTo>
                      <a:pt x="1139422" y="35109"/>
                      <a:pt x="1065128" y="124644"/>
                      <a:pt x="1077510" y="174174"/>
                    </a:cubicBezTo>
                    <a:cubicBezTo>
                      <a:pt x="1089892" y="223704"/>
                      <a:pt x="1077510" y="378962"/>
                      <a:pt x="1012740" y="431349"/>
                    </a:cubicBezTo>
                    <a:cubicBezTo>
                      <a:pt x="947970" y="483737"/>
                      <a:pt x="894630" y="604704"/>
                      <a:pt x="904155" y="654234"/>
                    </a:cubicBezTo>
                    <a:cubicBezTo>
                      <a:pt x="913680" y="703764"/>
                      <a:pt x="931778" y="738054"/>
                      <a:pt x="876532" y="731387"/>
                    </a:cubicBezTo>
                    <a:cubicBezTo>
                      <a:pt x="820335" y="724719"/>
                      <a:pt x="725085" y="746627"/>
                      <a:pt x="746040" y="799967"/>
                    </a:cubicBezTo>
                    <a:cubicBezTo>
                      <a:pt x="767947" y="852354"/>
                      <a:pt x="739372" y="871404"/>
                      <a:pt x="619357" y="864737"/>
                    </a:cubicBezTo>
                    <a:cubicBezTo>
                      <a:pt x="498390" y="858069"/>
                      <a:pt x="247882" y="1062857"/>
                      <a:pt x="247882" y="1131437"/>
                    </a:cubicBezTo>
                    <a:cubicBezTo>
                      <a:pt x="247882" y="1187634"/>
                      <a:pt x="265980" y="1102862"/>
                      <a:pt x="204067" y="1069524"/>
                    </a:cubicBezTo>
                    <a:cubicBezTo>
                      <a:pt x="191685" y="1062857"/>
                      <a:pt x="134535" y="1076192"/>
                      <a:pt x="117390" y="1072382"/>
                    </a:cubicBezTo>
                    <a:cubicBezTo>
                      <a:pt x="18330" y="1053332"/>
                      <a:pt x="-31200" y="1047617"/>
                      <a:pt x="21187" y="1106672"/>
                    </a:cubicBezTo>
                    <a:cubicBezTo>
                      <a:pt x="73575" y="1165727"/>
                      <a:pt x="110722" y="1227639"/>
                      <a:pt x="164062" y="1237164"/>
                    </a:cubicBezTo>
                    <a:cubicBezTo>
                      <a:pt x="216450" y="1246689"/>
                      <a:pt x="207877" y="1342892"/>
                      <a:pt x="176445" y="1373372"/>
                    </a:cubicBezTo>
                    <a:cubicBezTo>
                      <a:pt x="145012" y="1403852"/>
                      <a:pt x="89767" y="1537202"/>
                      <a:pt x="99292" y="1599114"/>
                    </a:cubicBezTo>
                    <a:cubicBezTo>
                      <a:pt x="108817" y="1661027"/>
                      <a:pt x="188827" y="1784852"/>
                      <a:pt x="185970" y="1831524"/>
                    </a:cubicBezTo>
                    <a:cubicBezTo>
                      <a:pt x="183112" y="1878197"/>
                      <a:pt x="161205" y="1970589"/>
                      <a:pt x="254550" y="2023929"/>
                    </a:cubicBezTo>
                    <a:cubicBezTo>
                      <a:pt x="346942" y="2076317"/>
                      <a:pt x="427905" y="2157279"/>
                      <a:pt x="564112" y="2061077"/>
                    </a:cubicBez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US" sz="3200"/>
              </a:p>
            </p:txBody>
          </p:sp>
          <p:sp>
            <p:nvSpPr>
              <p:cNvPr id="270" name="Freeform 269">
                <a:extLst>
                  <a:ext uri="{FF2B5EF4-FFF2-40B4-BE49-F238E27FC236}">
                    <a16:creationId xmlns:a16="http://schemas.microsoft.com/office/drawing/2014/main" id="{C84859D5-45A0-620B-6A23-E0D7CBB08A1A}"/>
                  </a:ext>
                </a:extLst>
              </p:cNvPr>
              <p:cNvSpPr>
                <a:spLocks noChangeAspect="1"/>
              </p:cNvSpPr>
              <p:nvPr/>
            </p:nvSpPr>
            <p:spPr>
              <a:xfrm>
                <a:off x="7423150" y="4577663"/>
                <a:ext cx="11430" cy="14169"/>
              </a:xfrm>
              <a:custGeom>
                <a:avLst/>
                <a:gdLst>
                  <a:gd name="connsiteX0" fmla="*/ 564112 w 1698695"/>
                  <a:gd name="connsiteY0" fmla="*/ 2061077 h 2105850"/>
                  <a:gd name="connsiteX1" fmla="*/ 638407 w 1698695"/>
                  <a:gd name="connsiteY1" fmla="*/ 1977257 h 2105850"/>
                  <a:gd name="connsiteX2" fmla="*/ 771757 w 1698695"/>
                  <a:gd name="connsiteY2" fmla="*/ 1751514 h 2105850"/>
                  <a:gd name="connsiteX3" fmla="*/ 799380 w 1698695"/>
                  <a:gd name="connsiteY3" fmla="*/ 1277169 h 2105850"/>
                  <a:gd name="connsiteX4" fmla="*/ 1059412 w 1698695"/>
                  <a:gd name="connsiteY4" fmla="*/ 1044759 h 2105850"/>
                  <a:gd name="connsiteX5" fmla="*/ 1344210 w 1698695"/>
                  <a:gd name="connsiteY5" fmla="*/ 806634 h 2105850"/>
                  <a:gd name="connsiteX6" fmla="*/ 1492800 w 1698695"/>
                  <a:gd name="connsiteY6" fmla="*/ 682809 h 2105850"/>
                  <a:gd name="connsiteX7" fmla="*/ 1697587 w 1698695"/>
                  <a:gd name="connsiteY7" fmla="*/ 279902 h 2105850"/>
                  <a:gd name="connsiteX8" fmla="*/ 1455653 w 1698695"/>
                  <a:gd name="connsiteY8" fmla="*/ 220847 h 2105850"/>
                  <a:gd name="connsiteX9" fmla="*/ 1232767 w 1698695"/>
                  <a:gd name="connsiteY9" fmla="*/ 3677 h 2105850"/>
                  <a:gd name="connsiteX10" fmla="*/ 1077510 w 1698695"/>
                  <a:gd name="connsiteY10" fmla="*/ 174174 h 2105850"/>
                  <a:gd name="connsiteX11" fmla="*/ 1012740 w 1698695"/>
                  <a:gd name="connsiteY11" fmla="*/ 431349 h 2105850"/>
                  <a:gd name="connsiteX12" fmla="*/ 904155 w 1698695"/>
                  <a:gd name="connsiteY12" fmla="*/ 654234 h 2105850"/>
                  <a:gd name="connsiteX13" fmla="*/ 876532 w 1698695"/>
                  <a:gd name="connsiteY13" fmla="*/ 731387 h 2105850"/>
                  <a:gd name="connsiteX14" fmla="*/ 746040 w 1698695"/>
                  <a:gd name="connsiteY14" fmla="*/ 799967 h 2105850"/>
                  <a:gd name="connsiteX15" fmla="*/ 619357 w 1698695"/>
                  <a:gd name="connsiteY15" fmla="*/ 864737 h 2105850"/>
                  <a:gd name="connsiteX16" fmla="*/ 247882 w 1698695"/>
                  <a:gd name="connsiteY16" fmla="*/ 1131437 h 2105850"/>
                  <a:gd name="connsiteX17" fmla="*/ 204067 w 1698695"/>
                  <a:gd name="connsiteY17" fmla="*/ 1069524 h 2105850"/>
                  <a:gd name="connsiteX18" fmla="*/ 117390 w 1698695"/>
                  <a:gd name="connsiteY18" fmla="*/ 1072382 h 2105850"/>
                  <a:gd name="connsiteX19" fmla="*/ 21187 w 1698695"/>
                  <a:gd name="connsiteY19" fmla="*/ 1106672 h 2105850"/>
                  <a:gd name="connsiteX20" fmla="*/ 164062 w 1698695"/>
                  <a:gd name="connsiteY20" fmla="*/ 1237164 h 2105850"/>
                  <a:gd name="connsiteX21" fmla="*/ 176445 w 1698695"/>
                  <a:gd name="connsiteY21" fmla="*/ 1373372 h 2105850"/>
                  <a:gd name="connsiteX22" fmla="*/ 99292 w 1698695"/>
                  <a:gd name="connsiteY22" fmla="*/ 1599114 h 2105850"/>
                  <a:gd name="connsiteX23" fmla="*/ 185970 w 1698695"/>
                  <a:gd name="connsiteY23" fmla="*/ 1831524 h 2105850"/>
                  <a:gd name="connsiteX24" fmla="*/ 254550 w 1698695"/>
                  <a:gd name="connsiteY24" fmla="*/ 2023929 h 2105850"/>
                  <a:gd name="connsiteX25" fmla="*/ 564112 w 1698695"/>
                  <a:gd name="connsiteY25" fmla="*/ 2061077 h 210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8695" h="2105850">
                    <a:moveTo>
                      <a:pt x="564112" y="2061077"/>
                    </a:moveTo>
                    <a:cubicBezTo>
                      <a:pt x="564112" y="2061077"/>
                      <a:pt x="604117" y="1996307"/>
                      <a:pt x="638407" y="1977257"/>
                    </a:cubicBezTo>
                    <a:cubicBezTo>
                      <a:pt x="672697" y="1958207"/>
                      <a:pt x="768900" y="1828667"/>
                      <a:pt x="771757" y="1751514"/>
                    </a:cubicBezTo>
                    <a:cubicBezTo>
                      <a:pt x="774615" y="1674362"/>
                      <a:pt x="727942" y="1339082"/>
                      <a:pt x="799380" y="1277169"/>
                    </a:cubicBezTo>
                    <a:cubicBezTo>
                      <a:pt x="870817" y="1215257"/>
                      <a:pt x="972735" y="1097147"/>
                      <a:pt x="1059412" y="1044759"/>
                    </a:cubicBezTo>
                    <a:cubicBezTo>
                      <a:pt x="1146090" y="992372"/>
                      <a:pt x="1297537" y="846639"/>
                      <a:pt x="1344210" y="806634"/>
                    </a:cubicBezTo>
                    <a:cubicBezTo>
                      <a:pt x="1390882" y="766629"/>
                      <a:pt x="1418505" y="725672"/>
                      <a:pt x="1492800" y="682809"/>
                    </a:cubicBezTo>
                    <a:cubicBezTo>
                      <a:pt x="1567095" y="639947"/>
                      <a:pt x="1712828" y="314192"/>
                      <a:pt x="1697587" y="279902"/>
                    </a:cubicBezTo>
                    <a:cubicBezTo>
                      <a:pt x="1682347" y="245612"/>
                      <a:pt x="1517565" y="301809"/>
                      <a:pt x="1455653" y="220847"/>
                    </a:cubicBezTo>
                    <a:cubicBezTo>
                      <a:pt x="1393740" y="139884"/>
                      <a:pt x="1325160" y="-26803"/>
                      <a:pt x="1232767" y="3677"/>
                    </a:cubicBezTo>
                    <a:cubicBezTo>
                      <a:pt x="1139422" y="35109"/>
                      <a:pt x="1065128" y="124644"/>
                      <a:pt x="1077510" y="174174"/>
                    </a:cubicBezTo>
                    <a:cubicBezTo>
                      <a:pt x="1089892" y="223704"/>
                      <a:pt x="1077510" y="378962"/>
                      <a:pt x="1012740" y="431349"/>
                    </a:cubicBezTo>
                    <a:cubicBezTo>
                      <a:pt x="947970" y="483737"/>
                      <a:pt x="894630" y="604704"/>
                      <a:pt x="904155" y="654234"/>
                    </a:cubicBezTo>
                    <a:cubicBezTo>
                      <a:pt x="913680" y="703764"/>
                      <a:pt x="931778" y="738054"/>
                      <a:pt x="876532" y="731387"/>
                    </a:cubicBezTo>
                    <a:cubicBezTo>
                      <a:pt x="820335" y="724719"/>
                      <a:pt x="725085" y="746627"/>
                      <a:pt x="746040" y="799967"/>
                    </a:cubicBezTo>
                    <a:cubicBezTo>
                      <a:pt x="767947" y="852354"/>
                      <a:pt x="739372" y="871404"/>
                      <a:pt x="619357" y="864737"/>
                    </a:cubicBezTo>
                    <a:cubicBezTo>
                      <a:pt x="498390" y="858069"/>
                      <a:pt x="247882" y="1062857"/>
                      <a:pt x="247882" y="1131437"/>
                    </a:cubicBezTo>
                    <a:cubicBezTo>
                      <a:pt x="247882" y="1187634"/>
                      <a:pt x="265980" y="1102862"/>
                      <a:pt x="204067" y="1069524"/>
                    </a:cubicBezTo>
                    <a:cubicBezTo>
                      <a:pt x="191685" y="1062857"/>
                      <a:pt x="134535" y="1076192"/>
                      <a:pt x="117390" y="1072382"/>
                    </a:cubicBezTo>
                    <a:cubicBezTo>
                      <a:pt x="18330" y="1053332"/>
                      <a:pt x="-31200" y="1047617"/>
                      <a:pt x="21187" y="1106672"/>
                    </a:cubicBezTo>
                    <a:cubicBezTo>
                      <a:pt x="73575" y="1165727"/>
                      <a:pt x="110722" y="1227639"/>
                      <a:pt x="164062" y="1237164"/>
                    </a:cubicBezTo>
                    <a:cubicBezTo>
                      <a:pt x="216450" y="1246689"/>
                      <a:pt x="207877" y="1342892"/>
                      <a:pt x="176445" y="1373372"/>
                    </a:cubicBezTo>
                    <a:cubicBezTo>
                      <a:pt x="145012" y="1403852"/>
                      <a:pt x="89767" y="1537202"/>
                      <a:pt x="99292" y="1599114"/>
                    </a:cubicBezTo>
                    <a:cubicBezTo>
                      <a:pt x="108817" y="1661027"/>
                      <a:pt x="188827" y="1784852"/>
                      <a:pt x="185970" y="1831524"/>
                    </a:cubicBezTo>
                    <a:cubicBezTo>
                      <a:pt x="183112" y="1878197"/>
                      <a:pt x="161205" y="1970589"/>
                      <a:pt x="254550" y="2023929"/>
                    </a:cubicBezTo>
                    <a:cubicBezTo>
                      <a:pt x="346942" y="2076317"/>
                      <a:pt x="427905" y="2157279"/>
                      <a:pt x="564112" y="2061077"/>
                    </a:cubicBezTo>
                    <a:close/>
                  </a:path>
                </a:pathLst>
              </a:custGeom>
              <a:solidFill>
                <a:srgbClr val="00AEE6"/>
              </a:solidFill>
              <a:ln w="3175">
                <a:noFill/>
                <a:prstDash val="solid"/>
                <a:round/>
                <a:headEnd/>
                <a:tailEnd/>
              </a:ln>
            </p:spPr>
            <p:txBody>
              <a:bodyPr vert="horz" wrap="square" lIns="121920" tIns="60960" rIns="121920" bIns="60960" numCol="1" anchor="t" anchorCtr="0" compatLnSpc="1">
                <a:prstTxWarp prst="textNoShape">
                  <a:avLst/>
                </a:prstTxWarp>
              </a:bodyPr>
              <a:lstStyle/>
              <a:p>
                <a:endParaRPr lang="en-US" sz="3200"/>
              </a:p>
            </p:txBody>
          </p:sp>
        </p:grpSp>
      </p:grpSp>
      <p:sp>
        <p:nvSpPr>
          <p:cNvPr id="262" name="Content Placeholder 7">
            <a:extLst>
              <a:ext uri="{FF2B5EF4-FFF2-40B4-BE49-F238E27FC236}">
                <a16:creationId xmlns:a16="http://schemas.microsoft.com/office/drawing/2014/main" id="{C9D54FB1-54D0-7141-A21A-8A4D8FCA04E5}"/>
              </a:ext>
            </a:extLst>
          </p:cNvPr>
          <p:cNvSpPr txBox="1">
            <a:spLocks/>
          </p:cNvSpPr>
          <p:nvPr/>
        </p:nvSpPr>
        <p:spPr>
          <a:xfrm>
            <a:off x="5897671" y="1270965"/>
            <a:ext cx="3306618" cy="2253040"/>
          </a:xfrm>
          <a:prstGeom prst="rect">
            <a:avLst/>
          </a:prstGeom>
        </p:spPr>
        <p:txBody>
          <a:bodyPr lIns="91440" tIns="45720" rIns="91440" bIns="45720" anchor="t"/>
          <a:lstStyle>
            <a:lvl1pPr marL="228573" indent="-228573" algn="l" rtl="0" eaLnBrk="1" fontAlgn="base" hangingPunct="1">
              <a:lnSpc>
                <a:spcPct val="90000"/>
              </a:lnSpc>
              <a:spcBef>
                <a:spcPts val="1400"/>
              </a:spcBef>
              <a:spcAft>
                <a:spcPts val="0"/>
              </a:spcAft>
              <a:buClr>
                <a:schemeClr val="accent1"/>
              </a:buClr>
              <a:buFont typeface="Arial" pitchFamily="34" charset="0"/>
              <a:buChar char="•"/>
              <a:defRPr sz="2000" b="0" i="0" baseline="0">
                <a:solidFill>
                  <a:schemeClr val="tx1"/>
                </a:solidFill>
                <a:latin typeface="Franklin Gothic Medium" panose="020B0603020102020204" pitchFamily="34" charset="0"/>
                <a:ea typeface="+mn-ea"/>
                <a:cs typeface="+mn-cs"/>
              </a:defRPr>
            </a:lvl1pPr>
            <a:lvl2pPr marL="685718" indent="-228573" algn="l" rtl="0" eaLnBrk="1" fontAlgn="base" hangingPunct="1">
              <a:lnSpc>
                <a:spcPct val="90000"/>
              </a:lnSpc>
              <a:spcBef>
                <a:spcPts val="800"/>
              </a:spcBef>
              <a:spcAft>
                <a:spcPts val="0"/>
              </a:spcAft>
              <a:buClr>
                <a:schemeClr val="tx2"/>
              </a:buClr>
              <a:buSzPct val="80000"/>
              <a:buFont typeface="Wingdings" pitchFamily="2" charset="2"/>
              <a:buChar char="§"/>
              <a:defRPr sz="1600" b="0" baseline="0">
                <a:solidFill>
                  <a:schemeClr val="tx2"/>
                </a:solidFill>
                <a:latin typeface="+mn-lt"/>
              </a:defRPr>
            </a:lvl2pPr>
            <a:lvl3pPr marL="1097143" indent="-182858" algn="l" rtl="0" eaLnBrk="1" fontAlgn="base" hangingPunct="1">
              <a:lnSpc>
                <a:spcPct val="90000"/>
              </a:lnSpc>
              <a:spcBef>
                <a:spcPts val="800"/>
              </a:spcBef>
              <a:spcAft>
                <a:spcPts val="0"/>
              </a:spcAft>
              <a:buClr>
                <a:schemeClr val="tx2"/>
              </a:buClr>
              <a:buSzPct val="80000"/>
              <a:buFont typeface="Wingdings" pitchFamily="2" charset="2"/>
              <a:buChar char="§"/>
              <a:defRPr sz="1400">
                <a:solidFill>
                  <a:schemeClr val="tx2"/>
                </a:solidFill>
                <a:latin typeface="+mn-lt"/>
              </a:defRPr>
            </a:lvl3pPr>
            <a:lvl4pPr marL="1554286"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4pPr>
            <a:lvl5pPr marL="2011430"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5pPr>
            <a:lvl6pPr marL="2514286"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6pPr>
            <a:lvl7pPr marL="2971430"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7pPr>
            <a:lvl8pPr marL="3428573"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8pPr>
            <a:lvl9pPr marL="3885718"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9pPr>
          </a:lstStyle>
          <a:p>
            <a:pPr marL="0" indent="0" defTabSz="914400">
              <a:buNone/>
            </a:pPr>
            <a:r>
              <a:rPr lang="en-US" sz="1800" kern="0">
                <a:latin typeface="Franklin Gothic Medium"/>
              </a:rPr>
              <a:t>22K + Employees Worldwide</a:t>
            </a:r>
          </a:p>
          <a:p>
            <a:pPr marL="0" indent="0" defTabSz="914400">
              <a:buNone/>
            </a:pPr>
            <a:r>
              <a:rPr lang="en-US" sz="1800" kern="0"/>
              <a:t>50+ Years in Colorado</a:t>
            </a:r>
          </a:p>
          <a:p>
            <a:pPr marL="0" indent="0" defTabSz="914400">
              <a:buNone/>
            </a:pPr>
            <a:r>
              <a:rPr lang="en-US" sz="1800" kern="0"/>
              <a:t>1,000 Employees in Colorado</a:t>
            </a:r>
          </a:p>
          <a:p>
            <a:pPr marL="0" indent="0" defTabSz="914400">
              <a:buNone/>
            </a:pPr>
            <a:r>
              <a:rPr lang="en-US" sz="1800" kern="0"/>
              <a:t>Colorado Offices</a:t>
            </a:r>
          </a:p>
          <a:p>
            <a:pPr marL="410845" lvl="1" indent="-227965" defTabSz="914400">
              <a:buClr>
                <a:srgbClr val="0251E6"/>
              </a:buClr>
            </a:pPr>
            <a:r>
              <a:rPr lang="en-US" sz="1400" kern="0">
                <a:solidFill>
                  <a:schemeClr val="tx1"/>
                </a:solidFill>
              </a:rPr>
              <a:t>Denver, Boulder, Colorado Springs, and Westminster</a:t>
            </a:r>
            <a:endParaRPr lang="la-Latn" sz="1400" kern="0">
              <a:solidFill>
                <a:schemeClr val="tx1"/>
              </a:solidFill>
            </a:endParaRPr>
          </a:p>
        </p:txBody>
      </p:sp>
      <p:sp>
        <p:nvSpPr>
          <p:cNvPr id="274" name="Title 4">
            <a:extLst>
              <a:ext uri="{FF2B5EF4-FFF2-40B4-BE49-F238E27FC236}">
                <a16:creationId xmlns:a16="http://schemas.microsoft.com/office/drawing/2014/main" id="{069BB14E-82DC-F394-16EB-C59ED77037F1}"/>
              </a:ext>
            </a:extLst>
          </p:cNvPr>
          <p:cNvSpPr txBox="1">
            <a:spLocks/>
          </p:cNvSpPr>
          <p:nvPr/>
        </p:nvSpPr>
        <p:spPr bwMode="auto">
          <a:xfrm>
            <a:off x="5663173" y="3756329"/>
            <a:ext cx="3742794" cy="36512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rtl="0" eaLnBrk="1" fontAlgn="base" hangingPunct="1">
              <a:lnSpc>
                <a:spcPct val="85000"/>
              </a:lnSpc>
              <a:spcBef>
                <a:spcPct val="0"/>
              </a:spcBef>
              <a:spcAft>
                <a:spcPct val="0"/>
              </a:spcAft>
              <a:defRPr lang="en-US" sz="3200" b="0" i="0" cap="all" baseline="0" dirty="0" smtClean="0">
                <a:solidFill>
                  <a:schemeClr val="tx1"/>
                </a:solidFill>
                <a:latin typeface="+mj-lt"/>
                <a:ea typeface="+mj-ea"/>
                <a:cs typeface="+mj-cs"/>
              </a:defRPr>
            </a:lvl1pPr>
            <a:lvl2pPr algn="l" rtl="0" eaLnBrk="1" fontAlgn="base" hangingPunct="1">
              <a:spcBef>
                <a:spcPct val="0"/>
              </a:spcBef>
              <a:spcAft>
                <a:spcPct val="0"/>
              </a:spcAft>
              <a:defRPr sz="2700">
                <a:solidFill>
                  <a:srgbClr val="FFFFFF"/>
                </a:solidFill>
                <a:latin typeface="Arial" charset="0"/>
              </a:defRPr>
            </a:lvl2pPr>
            <a:lvl3pPr algn="l" rtl="0" eaLnBrk="1" fontAlgn="base" hangingPunct="1">
              <a:spcBef>
                <a:spcPct val="0"/>
              </a:spcBef>
              <a:spcAft>
                <a:spcPct val="0"/>
              </a:spcAft>
              <a:defRPr sz="2700">
                <a:solidFill>
                  <a:srgbClr val="FFFFFF"/>
                </a:solidFill>
                <a:latin typeface="Arial" charset="0"/>
              </a:defRPr>
            </a:lvl3pPr>
            <a:lvl4pPr algn="l" rtl="0" eaLnBrk="1" fontAlgn="base" hangingPunct="1">
              <a:spcBef>
                <a:spcPct val="0"/>
              </a:spcBef>
              <a:spcAft>
                <a:spcPct val="0"/>
              </a:spcAft>
              <a:defRPr sz="2700">
                <a:solidFill>
                  <a:srgbClr val="FFFFFF"/>
                </a:solidFill>
                <a:latin typeface="Arial" charset="0"/>
              </a:defRPr>
            </a:lvl4pPr>
            <a:lvl5pPr algn="l" rtl="0" eaLnBrk="1" fontAlgn="base" hangingPunct="1">
              <a:spcBef>
                <a:spcPct val="0"/>
              </a:spcBef>
              <a:spcAft>
                <a:spcPct val="0"/>
              </a:spcAft>
              <a:defRPr sz="2700">
                <a:solidFill>
                  <a:srgbClr val="FFFFFF"/>
                </a:solidFill>
                <a:latin typeface="Arial" charset="0"/>
              </a:defRPr>
            </a:lvl5pPr>
            <a:lvl6pPr marL="457143" algn="l" rtl="0" eaLnBrk="1" fontAlgn="base" hangingPunct="1">
              <a:spcBef>
                <a:spcPct val="0"/>
              </a:spcBef>
              <a:spcAft>
                <a:spcPct val="0"/>
              </a:spcAft>
              <a:defRPr sz="2700">
                <a:solidFill>
                  <a:srgbClr val="FFFFFF"/>
                </a:solidFill>
                <a:latin typeface="Arial" charset="0"/>
              </a:defRPr>
            </a:lvl6pPr>
            <a:lvl7pPr marL="914286" algn="l" rtl="0" eaLnBrk="1" fontAlgn="base" hangingPunct="1">
              <a:spcBef>
                <a:spcPct val="0"/>
              </a:spcBef>
              <a:spcAft>
                <a:spcPct val="0"/>
              </a:spcAft>
              <a:defRPr sz="2700">
                <a:solidFill>
                  <a:srgbClr val="FFFFFF"/>
                </a:solidFill>
                <a:latin typeface="Arial" charset="0"/>
              </a:defRPr>
            </a:lvl7pPr>
            <a:lvl8pPr marL="1371430" algn="l" rtl="0" eaLnBrk="1" fontAlgn="base" hangingPunct="1">
              <a:spcBef>
                <a:spcPct val="0"/>
              </a:spcBef>
              <a:spcAft>
                <a:spcPct val="0"/>
              </a:spcAft>
              <a:defRPr sz="2700">
                <a:solidFill>
                  <a:srgbClr val="FFFFFF"/>
                </a:solidFill>
                <a:latin typeface="Arial" charset="0"/>
              </a:defRPr>
            </a:lvl8pPr>
            <a:lvl9pPr marL="1828573" algn="l" rtl="0" eaLnBrk="1" fontAlgn="base" hangingPunct="1">
              <a:spcBef>
                <a:spcPct val="0"/>
              </a:spcBef>
              <a:spcAft>
                <a:spcPct val="0"/>
              </a:spcAft>
              <a:defRPr sz="2700">
                <a:solidFill>
                  <a:srgbClr val="FFFFFF"/>
                </a:solidFill>
                <a:latin typeface="Arial" charset="0"/>
              </a:defRPr>
            </a:lvl9pPr>
          </a:lstStyle>
          <a:p>
            <a:pPr defTabSz="914400"/>
            <a:r>
              <a:rPr lang="en-US" sz="2000" kern="0"/>
              <a:t>Parsons Aviation Contacts</a:t>
            </a:r>
          </a:p>
        </p:txBody>
      </p:sp>
      <p:sp>
        <p:nvSpPr>
          <p:cNvPr id="275" name="Content Placeholder 6">
            <a:extLst>
              <a:ext uri="{FF2B5EF4-FFF2-40B4-BE49-F238E27FC236}">
                <a16:creationId xmlns:a16="http://schemas.microsoft.com/office/drawing/2014/main" id="{94621D0C-1E02-0636-6164-C6D70A8D084A}"/>
              </a:ext>
            </a:extLst>
          </p:cNvPr>
          <p:cNvSpPr txBox="1">
            <a:spLocks/>
          </p:cNvSpPr>
          <p:nvPr/>
        </p:nvSpPr>
        <p:spPr>
          <a:xfrm>
            <a:off x="3393290" y="4121455"/>
            <a:ext cx="8282560" cy="2401844"/>
          </a:xfrm>
          <a:prstGeom prst="rect">
            <a:avLst/>
          </a:prstGeom>
        </p:spPr>
        <p:txBody>
          <a:bodyPr/>
          <a:lstStyle>
            <a:lvl1pPr marL="228573" indent="-228573" algn="l" rtl="0" eaLnBrk="1" fontAlgn="base" hangingPunct="1">
              <a:lnSpc>
                <a:spcPct val="90000"/>
              </a:lnSpc>
              <a:spcBef>
                <a:spcPts val="1400"/>
              </a:spcBef>
              <a:spcAft>
                <a:spcPts val="0"/>
              </a:spcAft>
              <a:buClr>
                <a:schemeClr val="accent1"/>
              </a:buClr>
              <a:buFont typeface="Arial" pitchFamily="34" charset="0"/>
              <a:buChar char="•"/>
              <a:defRPr sz="2000" b="0" i="0" baseline="0">
                <a:solidFill>
                  <a:schemeClr val="tx1"/>
                </a:solidFill>
                <a:latin typeface="Franklin Gothic Medium" panose="020B0603020102020204" pitchFamily="34" charset="0"/>
                <a:ea typeface="+mn-ea"/>
                <a:cs typeface="+mn-cs"/>
              </a:defRPr>
            </a:lvl1pPr>
            <a:lvl2pPr marL="685718" indent="-228573" algn="l" rtl="0" eaLnBrk="1" fontAlgn="base" hangingPunct="1">
              <a:lnSpc>
                <a:spcPct val="90000"/>
              </a:lnSpc>
              <a:spcBef>
                <a:spcPts val="800"/>
              </a:spcBef>
              <a:spcAft>
                <a:spcPts val="0"/>
              </a:spcAft>
              <a:buClr>
                <a:schemeClr val="tx2"/>
              </a:buClr>
              <a:buSzPct val="80000"/>
              <a:buFont typeface="Wingdings" pitchFamily="2" charset="2"/>
              <a:buChar char="§"/>
              <a:defRPr sz="1600" b="0" baseline="0">
                <a:solidFill>
                  <a:schemeClr val="tx2"/>
                </a:solidFill>
                <a:latin typeface="+mn-lt"/>
              </a:defRPr>
            </a:lvl2pPr>
            <a:lvl3pPr marL="1097143" indent="-182858" algn="l" rtl="0" eaLnBrk="1" fontAlgn="base" hangingPunct="1">
              <a:lnSpc>
                <a:spcPct val="90000"/>
              </a:lnSpc>
              <a:spcBef>
                <a:spcPts val="800"/>
              </a:spcBef>
              <a:spcAft>
                <a:spcPts val="0"/>
              </a:spcAft>
              <a:buClr>
                <a:schemeClr val="tx2"/>
              </a:buClr>
              <a:buSzPct val="80000"/>
              <a:buFont typeface="Wingdings" pitchFamily="2" charset="2"/>
              <a:buChar char="§"/>
              <a:defRPr sz="1400">
                <a:solidFill>
                  <a:schemeClr val="tx2"/>
                </a:solidFill>
                <a:latin typeface="+mn-lt"/>
              </a:defRPr>
            </a:lvl3pPr>
            <a:lvl4pPr marL="1554286"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4pPr>
            <a:lvl5pPr marL="2011430"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5pPr>
            <a:lvl6pPr marL="2514286"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6pPr>
            <a:lvl7pPr marL="2971430"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7pPr>
            <a:lvl8pPr marL="3428573"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8pPr>
            <a:lvl9pPr marL="3885718"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9pPr>
          </a:lstStyle>
          <a:p>
            <a:pPr marL="227965" indent="-227965" defTabSz="914400"/>
            <a:r>
              <a:rPr lang="en-US" sz="1400" kern="0">
                <a:latin typeface="Franklin Gothic Medium"/>
              </a:rPr>
              <a:t>Rodrigo Ariza, Vice President, Aviation Program Manager (</a:t>
            </a:r>
            <a:r>
              <a:rPr lang="en-US" sz="1400" kern="0">
                <a:latin typeface="Franklin Gothic Medium"/>
                <a:hlinkClick r:id="rId3"/>
              </a:rPr>
              <a:t>rodrigo.ariza@parsons.com</a:t>
            </a:r>
            <a:r>
              <a:rPr lang="en-US" sz="1400" kern="0">
                <a:latin typeface="Franklin Gothic Medium"/>
              </a:rPr>
              <a:t>)</a:t>
            </a:r>
          </a:p>
          <a:p>
            <a:pPr marL="227965" indent="-227965" defTabSz="914400"/>
            <a:r>
              <a:rPr lang="en-US" sz="1400" kern="0">
                <a:latin typeface="Franklin Gothic Medium"/>
              </a:rPr>
              <a:t>Mark Hawley, Vice President, Deputy Aviation Program Manager (</a:t>
            </a:r>
            <a:r>
              <a:rPr lang="en-US" sz="1400" kern="0">
                <a:latin typeface="Franklin Gothic Medium"/>
                <a:hlinkClick r:id="rId4"/>
              </a:rPr>
              <a:t>mark.hawley@parsons.com</a:t>
            </a:r>
            <a:r>
              <a:rPr lang="en-US" sz="1400" kern="0">
                <a:latin typeface="Franklin Gothic Medium"/>
              </a:rPr>
              <a:t>)</a:t>
            </a:r>
            <a:endParaRPr lang="en-US" sz="1400" kern="0"/>
          </a:p>
          <a:p>
            <a:pPr marL="227965" indent="-227965" defTabSz="914400"/>
            <a:r>
              <a:rPr lang="en-US" sz="1400" kern="0">
                <a:latin typeface="Franklin Gothic Medium"/>
              </a:rPr>
              <a:t>Ric Paterson, Senior Business Director, Aviation Western Region (</a:t>
            </a:r>
            <a:r>
              <a:rPr lang="en-US" sz="1400" kern="0">
                <a:latin typeface="Franklin Gothic Medium"/>
                <a:hlinkClick r:id="rId5"/>
              </a:rPr>
              <a:t>ric.paterson@parsons.com</a:t>
            </a:r>
            <a:r>
              <a:rPr lang="en-US" sz="1400" kern="0">
                <a:latin typeface="Franklin Gothic Medium"/>
              </a:rPr>
              <a:t>)</a:t>
            </a:r>
          </a:p>
          <a:p>
            <a:pPr marL="227965" indent="-227965" defTabSz="914400"/>
            <a:r>
              <a:rPr lang="en-US" sz="1400" kern="0"/>
              <a:t>Michael Unger, PE, Vice President, Mountain Desert Region Manager (</a:t>
            </a:r>
            <a:r>
              <a:rPr lang="en-US" sz="1400" kern="0">
                <a:hlinkClick r:id="rId6"/>
              </a:rPr>
              <a:t>michael.unger@parsons.com</a:t>
            </a:r>
            <a:r>
              <a:rPr lang="en-US" sz="1400" kern="0"/>
              <a:t>)</a:t>
            </a:r>
          </a:p>
          <a:p>
            <a:pPr marL="227965" indent="-227965" defTabSz="914400"/>
            <a:r>
              <a:rPr lang="en-US" sz="1400" kern="0">
                <a:latin typeface="Franklin Gothic Medium"/>
              </a:rPr>
              <a:t>Adival Magri, Sr. Technical Consultant - Aviation Planner (</a:t>
            </a:r>
            <a:r>
              <a:rPr lang="en-US" sz="1400" kern="0">
                <a:latin typeface="Franklin Gothic Medium"/>
                <a:hlinkClick r:id="rId7"/>
              </a:rPr>
              <a:t>adival.magri@parsons.com</a:t>
            </a:r>
            <a:r>
              <a:rPr lang="en-US" sz="1400" kern="0">
                <a:latin typeface="Franklin Gothic Medium"/>
              </a:rPr>
              <a:t>)</a:t>
            </a:r>
          </a:p>
          <a:p>
            <a:pPr marL="227965" indent="-227965" defTabSz="914400"/>
            <a:r>
              <a:rPr lang="en-US" sz="1400" kern="0">
                <a:latin typeface="Franklin Gothic Medium"/>
              </a:rPr>
              <a:t>Ryan Mulligan, Business Development Director Mountain Desert Region (</a:t>
            </a:r>
            <a:r>
              <a:rPr lang="en-US" sz="1400" kern="0">
                <a:latin typeface="Franklin Gothic Medium"/>
                <a:hlinkClick r:id="rId8"/>
              </a:rPr>
              <a:t>ryan.mulligan@parsons.com</a:t>
            </a:r>
            <a:r>
              <a:rPr lang="en-US" sz="1400" kern="0">
                <a:latin typeface="Franklin Gothic Medium"/>
              </a:rPr>
              <a:t>)</a:t>
            </a:r>
          </a:p>
        </p:txBody>
      </p:sp>
      <p:sp>
        <p:nvSpPr>
          <p:cNvPr id="2" name="Footer Placeholder 1">
            <a:extLst>
              <a:ext uri="{FF2B5EF4-FFF2-40B4-BE49-F238E27FC236}">
                <a16:creationId xmlns:a16="http://schemas.microsoft.com/office/drawing/2014/main" id="{C7E5C35D-1294-6A49-B674-94840865D6B2}"/>
              </a:ext>
              <a:ext uri="{C183D7F6-B498-43B3-948B-1728B52AA6E4}">
                <adec:decorative xmlns:adec="http://schemas.microsoft.com/office/drawing/2017/decorative" val="1"/>
              </a:ext>
            </a:extLst>
          </p:cNvPr>
          <p:cNvSpPr>
            <a:spLocks noGrp="1"/>
          </p:cNvSpPr>
          <p:nvPr>
            <p:ph type="ftr" sz="quarter" idx="10"/>
          </p:nvPr>
        </p:nvSpPr>
        <p:spPr/>
        <p:txBody>
          <a:bodyPr/>
          <a:lstStyle/>
          <a:p>
            <a:r>
              <a:rPr lang="en-US"/>
              <a:t>Sensitive / Proprietary</a:t>
            </a:r>
            <a:endParaRPr lang="en-US">
              <a:latin typeface="Franklin Gothic Medium" panose="020B0603020102020204" pitchFamily="34" charset="0"/>
            </a:endParaRPr>
          </a:p>
        </p:txBody>
      </p:sp>
      <p:grpSp>
        <p:nvGrpSpPr>
          <p:cNvPr id="269" name="Group 268">
            <a:extLst>
              <a:ext uri="{FF2B5EF4-FFF2-40B4-BE49-F238E27FC236}">
                <a16:creationId xmlns:a16="http://schemas.microsoft.com/office/drawing/2014/main" id="{0978C78D-AA1B-A8A8-5400-5678BFF0ED04}"/>
              </a:ext>
              <a:ext uri="{C183D7F6-B498-43B3-948B-1728B52AA6E4}">
                <adec:decorative xmlns:adec="http://schemas.microsoft.com/office/drawing/2017/decorative" val="1"/>
              </a:ext>
            </a:extLst>
          </p:cNvPr>
          <p:cNvGrpSpPr/>
          <p:nvPr/>
        </p:nvGrpSpPr>
        <p:grpSpPr>
          <a:xfrm>
            <a:off x="11657958" y="0"/>
            <a:ext cx="534042" cy="536448"/>
            <a:chOff x="11657958" y="0"/>
            <a:chExt cx="534042" cy="536448"/>
          </a:xfrm>
        </p:grpSpPr>
        <p:sp>
          <p:nvSpPr>
            <p:cNvPr id="271" name="Rectangle 270">
              <a:extLst>
                <a:ext uri="{FF2B5EF4-FFF2-40B4-BE49-F238E27FC236}">
                  <a16:creationId xmlns:a16="http://schemas.microsoft.com/office/drawing/2014/main" id="{30212298-5F8E-9A06-38B3-8F86CD91425F}"/>
                </a:ext>
              </a:extLst>
            </p:cNvPr>
            <p:cNvSpPr/>
            <p:nvPr userDrawn="1"/>
          </p:nvSpPr>
          <p:spPr>
            <a:xfrm>
              <a:off x="11657958" y="0"/>
              <a:ext cx="534042" cy="536448"/>
            </a:xfrm>
            <a:prstGeom prst="rect">
              <a:avLst/>
            </a:prstGeom>
            <a:solidFill>
              <a:srgbClr val="081931">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2" name="Picture 271">
              <a:extLst>
                <a:ext uri="{FF2B5EF4-FFF2-40B4-BE49-F238E27FC236}">
                  <a16:creationId xmlns:a16="http://schemas.microsoft.com/office/drawing/2014/main" id="{FE3A47B7-7154-0340-B81E-EE639196CFF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1801916" y="110917"/>
              <a:ext cx="265176" cy="314615"/>
            </a:xfrm>
            <a:prstGeom prst="rect">
              <a:avLst/>
            </a:prstGeom>
          </p:spPr>
        </p:pic>
      </p:grpSp>
      <p:pic>
        <p:nvPicPr>
          <p:cNvPr id="268" name="Picture 267">
            <a:extLst>
              <a:ext uri="{FF2B5EF4-FFF2-40B4-BE49-F238E27FC236}">
                <a16:creationId xmlns:a16="http://schemas.microsoft.com/office/drawing/2014/main" id="{679B8999-69C5-D895-F307-F7FFE9462724}"/>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6445" y="5097612"/>
            <a:ext cx="2794317" cy="1294568"/>
          </a:xfrm>
          <a:prstGeom prst="rect">
            <a:avLst/>
          </a:prstGeom>
        </p:spPr>
      </p:pic>
    </p:spTree>
    <p:extLst>
      <p:ext uri="{BB962C8B-B14F-4D97-AF65-F5344CB8AC3E}">
        <p14:creationId xmlns:p14="http://schemas.microsoft.com/office/powerpoint/2010/main" val="2302682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B8BDC4-9734-8AFE-B601-AE3C13A513FC}"/>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FE6D1590-4813-BC24-0BB9-AFC1D0EA4EE9}"/>
              </a:ext>
              <a:ext uri="{C183D7F6-B498-43B3-948B-1728B52AA6E4}">
                <adec:decorative xmlns:adec="http://schemas.microsoft.com/office/drawing/2017/decorative" val="1"/>
              </a:ext>
            </a:extLst>
          </p:cNvPr>
          <p:cNvSpPr/>
          <p:nvPr/>
        </p:nvSpPr>
        <p:spPr>
          <a:xfrm>
            <a:off x="533400" y="1169949"/>
            <a:ext cx="3991553" cy="5711125"/>
          </a:xfrm>
          <a:prstGeom prst="rect">
            <a:avLst/>
          </a:prstGeom>
          <a:solidFill>
            <a:srgbClr val="081931">
              <a:alpha val="78000"/>
            </a:srgbClr>
          </a:solidFill>
          <a:ln>
            <a:gradFill>
              <a:gsLst>
                <a:gs pos="100000">
                  <a:srgbClr val="50BF34"/>
                </a:gs>
                <a:gs pos="0">
                  <a:srgbClr val="00B0F0"/>
                </a:gs>
              </a:gsLst>
              <a:lin ang="5400000" scaled="1"/>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a:extLst>
              <a:ext uri="{FF2B5EF4-FFF2-40B4-BE49-F238E27FC236}">
                <a16:creationId xmlns:a16="http://schemas.microsoft.com/office/drawing/2014/main" id="{787FF7E0-CDB8-A9CB-4266-AA4909D2A58C}"/>
              </a:ext>
              <a:ext uri="{C183D7F6-B498-43B3-948B-1728B52AA6E4}">
                <adec:decorative xmlns:adec="http://schemas.microsoft.com/office/drawing/2017/decorative" val="0"/>
              </a:ext>
            </a:extLst>
          </p:cNvPr>
          <p:cNvSpPr>
            <a:spLocks noGrp="1"/>
          </p:cNvSpPr>
          <p:nvPr>
            <p:ph type="title"/>
          </p:nvPr>
        </p:nvSpPr>
        <p:spPr>
          <a:xfrm>
            <a:off x="611721" y="1477593"/>
            <a:ext cx="3960279" cy="952500"/>
          </a:xfrm>
        </p:spPr>
        <p:txBody>
          <a:bodyPr anchor="ctr" anchorCtr="0"/>
          <a:lstStyle/>
          <a:p>
            <a:pPr algn="ctr"/>
            <a:r>
              <a:rPr lang="en-US" sz="3600" cap="none">
                <a:solidFill>
                  <a:schemeClr val="bg1"/>
                </a:solidFill>
                <a:latin typeface="Franklin Gothic Medium" panose="020B0603020102020204" pitchFamily="34" charset="0"/>
              </a:rPr>
              <a:t>Transportation</a:t>
            </a:r>
          </a:p>
        </p:txBody>
      </p:sp>
      <p:sp>
        <p:nvSpPr>
          <p:cNvPr id="17" name="Text Placeholder 4">
            <a:extLst>
              <a:ext uri="{FF2B5EF4-FFF2-40B4-BE49-F238E27FC236}">
                <a16:creationId xmlns:a16="http://schemas.microsoft.com/office/drawing/2014/main" id="{CB67D5F5-EC7C-45D6-39D2-260495EBCE16}"/>
              </a:ext>
            </a:extLst>
          </p:cNvPr>
          <p:cNvSpPr txBox="1">
            <a:spLocks/>
          </p:cNvSpPr>
          <p:nvPr/>
        </p:nvSpPr>
        <p:spPr bwMode="auto">
          <a:xfrm>
            <a:off x="850574" y="3067225"/>
            <a:ext cx="3466796" cy="28496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indent="0" algn="l" rtl="0" eaLnBrk="1" fontAlgn="base" hangingPunct="1">
              <a:lnSpc>
                <a:spcPct val="90000"/>
              </a:lnSpc>
              <a:spcBef>
                <a:spcPts val="1400"/>
              </a:spcBef>
              <a:spcAft>
                <a:spcPts val="0"/>
              </a:spcAft>
              <a:buClr>
                <a:schemeClr val="accent1"/>
              </a:buClr>
              <a:buFont typeface="Wingdings" panose="05000000000000000000" pitchFamily="2" charset="2"/>
              <a:buNone/>
              <a:defRPr sz="1400" b="0" baseline="0">
                <a:solidFill>
                  <a:schemeClr val="tx1">
                    <a:lumMod val="85000"/>
                    <a:lumOff val="15000"/>
                  </a:schemeClr>
                </a:solidFill>
                <a:latin typeface="+mj-lt"/>
                <a:ea typeface="+mn-ea"/>
                <a:cs typeface="Arial" panose="020B0604020202020204" pitchFamily="34" charset="0"/>
              </a:defRPr>
            </a:lvl1pPr>
            <a:lvl2pPr marL="685783" indent="-228594" algn="l" rtl="0" eaLnBrk="1" fontAlgn="base" hangingPunct="1">
              <a:lnSpc>
                <a:spcPct val="90000"/>
              </a:lnSpc>
              <a:spcBef>
                <a:spcPts val="800"/>
              </a:spcBef>
              <a:spcAft>
                <a:spcPts val="0"/>
              </a:spcAft>
              <a:buClr>
                <a:schemeClr val="tx2"/>
              </a:buClr>
              <a:buSzPct val="80000"/>
              <a:buFont typeface="Wingdings" pitchFamily="2" charset="2"/>
              <a:buChar char="§"/>
              <a:defRPr sz="1600" b="0" baseline="0">
                <a:solidFill>
                  <a:schemeClr val="tx2"/>
                </a:solidFill>
                <a:latin typeface="+mn-lt"/>
              </a:defRPr>
            </a:lvl2pPr>
            <a:lvl3pPr marL="1097253" indent="-182875" algn="l" rtl="0" eaLnBrk="1" fontAlgn="base" hangingPunct="1">
              <a:lnSpc>
                <a:spcPct val="90000"/>
              </a:lnSpc>
              <a:spcBef>
                <a:spcPts val="800"/>
              </a:spcBef>
              <a:spcAft>
                <a:spcPts val="0"/>
              </a:spcAft>
              <a:buClr>
                <a:schemeClr val="tx2"/>
              </a:buClr>
              <a:buSzPct val="80000"/>
              <a:buFont typeface="Wingdings" pitchFamily="2" charset="2"/>
              <a:buChar char="§"/>
              <a:defRPr sz="1400">
                <a:solidFill>
                  <a:schemeClr val="tx2"/>
                </a:solidFill>
                <a:latin typeface="+mn-lt"/>
              </a:defRPr>
            </a:lvl3pPr>
            <a:lvl4pPr marL="1554441" indent="-182875"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4pPr>
            <a:lvl5pPr marL="2011630" indent="-182875"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5pPr>
            <a:lvl6pPr marL="2514537" indent="-228594"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6pPr>
            <a:lvl7pPr marL="2971726" indent="-228594"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7pPr>
            <a:lvl8pPr marL="3428914" indent="-228594"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8pPr>
            <a:lvl9pPr marL="3886103" indent="-228594"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9pPr>
          </a:lstStyle>
          <a:p>
            <a:pPr defTabSz="914400">
              <a:lnSpc>
                <a:spcPts val="2120"/>
              </a:lnSpc>
              <a:spcBef>
                <a:spcPts val="1200"/>
              </a:spcBef>
            </a:pPr>
            <a:r>
              <a:rPr lang="en-US" sz="1500">
                <a:solidFill>
                  <a:schemeClr val="bg1"/>
                </a:solidFill>
                <a:latin typeface="+mn-lt"/>
                <a:ea typeface="Roboto Light" panose="02000000000000000000" pitchFamily="2" charset="0"/>
              </a:rPr>
              <a:t>Global infrastructure demand and investment has reached unprecedented levels in regions where we have successfully delivered for customers for decades. At Parsons, our industry-leading capabilities and program management and design experience transform the way the world moves to promote sustainability, enhance safety, and maximize value.</a:t>
            </a:r>
          </a:p>
        </p:txBody>
      </p:sp>
      <p:sp>
        <p:nvSpPr>
          <p:cNvPr id="18" name="Footer Placeholder 1">
            <a:extLst>
              <a:ext uri="{FF2B5EF4-FFF2-40B4-BE49-F238E27FC236}">
                <a16:creationId xmlns:a16="http://schemas.microsoft.com/office/drawing/2014/main" id="{CDC5185F-C748-326F-BD7F-3F02E3282AB2}"/>
              </a:ext>
              <a:ext uri="{C183D7F6-B498-43B3-948B-1728B52AA6E4}">
                <adec:decorative xmlns:adec="http://schemas.microsoft.com/office/drawing/2017/decorative" val="1"/>
              </a:ext>
            </a:extLst>
          </p:cNvPr>
          <p:cNvSpPr txBox="1">
            <a:spLocks/>
          </p:cNvSpPr>
          <p:nvPr/>
        </p:nvSpPr>
        <p:spPr>
          <a:xfrm>
            <a:off x="533400" y="6529200"/>
            <a:ext cx="4041757" cy="365125"/>
          </a:xfrm>
          <a:prstGeom prst="rect">
            <a:avLst/>
          </a:prstGeom>
        </p:spPr>
        <p:txBody>
          <a:bodyPr vert="horz" lIns="91440" tIns="45720" rIns="91440" bIns="45720" rtlCol="0" anchor="ctr"/>
          <a:lstStyle>
            <a:defPPr>
              <a:defRPr lang="en-US"/>
            </a:defPPr>
            <a:lvl1pPr marL="0" algn="r" defTabSz="1219050" rtl="0" eaLnBrk="1" latinLnBrk="0" hangingPunct="1">
              <a:defRPr sz="700" kern="1200" baseline="0">
                <a:solidFill>
                  <a:schemeClr val="bg1"/>
                </a:solidFill>
                <a:latin typeface="+mn-lt"/>
                <a:ea typeface="+mn-ea"/>
                <a:cs typeface="+mn-cs"/>
              </a:defRPr>
            </a:lvl1pPr>
            <a:lvl2pPr marL="609523" algn="l" defTabSz="1219050" rtl="0" eaLnBrk="1" latinLnBrk="0" hangingPunct="1">
              <a:defRPr sz="2400" kern="1200">
                <a:solidFill>
                  <a:schemeClr val="tx1"/>
                </a:solidFill>
                <a:latin typeface="+mn-lt"/>
                <a:ea typeface="+mn-ea"/>
                <a:cs typeface="+mn-cs"/>
              </a:defRPr>
            </a:lvl2pPr>
            <a:lvl3pPr marL="1219050" algn="l" defTabSz="1219050" rtl="0" eaLnBrk="1" latinLnBrk="0" hangingPunct="1">
              <a:defRPr sz="2400" kern="1200">
                <a:solidFill>
                  <a:schemeClr val="tx1"/>
                </a:solidFill>
                <a:latin typeface="+mn-lt"/>
                <a:ea typeface="+mn-ea"/>
                <a:cs typeface="+mn-cs"/>
              </a:defRPr>
            </a:lvl3pPr>
            <a:lvl4pPr marL="1828573" algn="l" defTabSz="1219050" rtl="0" eaLnBrk="1" latinLnBrk="0" hangingPunct="1">
              <a:defRPr sz="2400" kern="1200">
                <a:solidFill>
                  <a:schemeClr val="tx1"/>
                </a:solidFill>
                <a:latin typeface="+mn-lt"/>
                <a:ea typeface="+mn-ea"/>
                <a:cs typeface="+mn-cs"/>
              </a:defRPr>
            </a:lvl4pPr>
            <a:lvl5pPr marL="2438098" algn="l" defTabSz="1219050" rtl="0" eaLnBrk="1" latinLnBrk="0" hangingPunct="1">
              <a:defRPr sz="2400" kern="1200">
                <a:solidFill>
                  <a:schemeClr val="tx1"/>
                </a:solidFill>
                <a:latin typeface="+mn-lt"/>
                <a:ea typeface="+mn-ea"/>
                <a:cs typeface="+mn-cs"/>
              </a:defRPr>
            </a:lvl5pPr>
            <a:lvl6pPr marL="3047620" algn="l" defTabSz="1219050" rtl="0" eaLnBrk="1" latinLnBrk="0" hangingPunct="1">
              <a:defRPr sz="2400" kern="1200">
                <a:solidFill>
                  <a:schemeClr val="tx1"/>
                </a:solidFill>
                <a:latin typeface="+mn-lt"/>
                <a:ea typeface="+mn-ea"/>
                <a:cs typeface="+mn-cs"/>
              </a:defRPr>
            </a:lvl6pPr>
            <a:lvl7pPr marL="3657143" algn="l" defTabSz="1219050" rtl="0" eaLnBrk="1" latinLnBrk="0" hangingPunct="1">
              <a:defRPr sz="2400" kern="1200">
                <a:solidFill>
                  <a:schemeClr val="tx1"/>
                </a:solidFill>
                <a:latin typeface="+mn-lt"/>
                <a:ea typeface="+mn-ea"/>
                <a:cs typeface="+mn-cs"/>
              </a:defRPr>
            </a:lvl7pPr>
            <a:lvl8pPr marL="4266667" algn="l" defTabSz="1219050" rtl="0" eaLnBrk="1" latinLnBrk="0" hangingPunct="1">
              <a:defRPr sz="2400" kern="1200">
                <a:solidFill>
                  <a:schemeClr val="tx1"/>
                </a:solidFill>
                <a:latin typeface="+mn-lt"/>
                <a:ea typeface="+mn-ea"/>
                <a:cs typeface="+mn-cs"/>
              </a:defRPr>
            </a:lvl8pPr>
            <a:lvl9pPr marL="4876191" algn="l" defTabSz="1219050" rtl="0" eaLnBrk="1" latinLnBrk="0" hangingPunct="1">
              <a:defRPr sz="2400" kern="1200">
                <a:solidFill>
                  <a:schemeClr val="tx1"/>
                </a:solidFill>
                <a:latin typeface="+mn-lt"/>
                <a:ea typeface="+mn-ea"/>
                <a:cs typeface="+mn-cs"/>
              </a:defRPr>
            </a:lvl9pPr>
          </a:lstStyle>
          <a:p>
            <a:pPr algn="l"/>
            <a:r>
              <a:rPr lang="en-US" b="0" i="0">
                <a:solidFill>
                  <a:schemeClr val="tx1"/>
                </a:solidFill>
                <a:latin typeface="+mn-lt"/>
              </a:rPr>
              <a:t>Parsons Corporation</a:t>
            </a:r>
          </a:p>
        </p:txBody>
      </p:sp>
      <p:grpSp>
        <p:nvGrpSpPr>
          <p:cNvPr id="31" name="Group 30">
            <a:extLst>
              <a:ext uri="{FF2B5EF4-FFF2-40B4-BE49-F238E27FC236}">
                <a16:creationId xmlns:a16="http://schemas.microsoft.com/office/drawing/2014/main" id="{CFBD34A9-5595-B449-A9B5-BE0913B945F7}"/>
              </a:ext>
              <a:ext uri="{C183D7F6-B498-43B3-948B-1728B52AA6E4}">
                <adec:decorative xmlns:adec="http://schemas.microsoft.com/office/drawing/2017/decorative" val="1"/>
              </a:ext>
            </a:extLst>
          </p:cNvPr>
          <p:cNvGrpSpPr/>
          <p:nvPr/>
        </p:nvGrpSpPr>
        <p:grpSpPr>
          <a:xfrm>
            <a:off x="919244" y="1169949"/>
            <a:ext cx="3329457" cy="1569889"/>
            <a:chOff x="4415170" y="2594705"/>
            <a:chExt cx="1986819" cy="884919"/>
          </a:xfrm>
        </p:grpSpPr>
        <p:sp>
          <p:nvSpPr>
            <p:cNvPr id="32" name="Freeform 31">
              <a:extLst>
                <a:ext uri="{FF2B5EF4-FFF2-40B4-BE49-F238E27FC236}">
                  <a16:creationId xmlns:a16="http://schemas.microsoft.com/office/drawing/2014/main" id="{A69260B8-FB83-24CD-1CA9-8A7D0DE583B8}"/>
                </a:ext>
              </a:extLst>
            </p:cNvPr>
            <p:cNvSpPr/>
            <p:nvPr/>
          </p:nvSpPr>
          <p:spPr>
            <a:xfrm>
              <a:off x="4415170" y="2594705"/>
              <a:ext cx="488203" cy="171640"/>
            </a:xfrm>
            <a:custGeom>
              <a:avLst/>
              <a:gdLst>
                <a:gd name="connsiteX0" fmla="*/ 0 w 488203"/>
                <a:gd name="connsiteY0" fmla="*/ 171640 h 171640"/>
                <a:gd name="connsiteX1" fmla="*/ 0 w 488203"/>
                <a:gd name="connsiteY1" fmla="*/ 0 h 171640"/>
                <a:gd name="connsiteX2" fmla="*/ 488204 w 488203"/>
                <a:gd name="connsiteY2" fmla="*/ 0 h 171640"/>
              </a:gdLst>
              <a:ahLst/>
              <a:cxnLst>
                <a:cxn ang="0">
                  <a:pos x="connsiteX0" y="connsiteY0"/>
                </a:cxn>
                <a:cxn ang="0">
                  <a:pos x="connsiteX1" y="connsiteY1"/>
                </a:cxn>
                <a:cxn ang="0">
                  <a:pos x="connsiteX2" y="connsiteY2"/>
                </a:cxn>
              </a:cxnLst>
              <a:rect l="l" t="t" r="r" b="b"/>
              <a:pathLst>
                <a:path w="488203" h="171640">
                  <a:moveTo>
                    <a:pt x="0" y="171640"/>
                  </a:moveTo>
                  <a:lnTo>
                    <a:pt x="0" y="0"/>
                  </a:lnTo>
                  <a:lnTo>
                    <a:pt x="488204" y="0"/>
                  </a:lnTo>
                </a:path>
              </a:pathLst>
            </a:custGeom>
            <a:noFill/>
            <a:ln w="25400" cap="flat">
              <a:gradFill>
                <a:gsLst>
                  <a:gs pos="0">
                    <a:srgbClr val="50BF34"/>
                  </a:gs>
                  <a:gs pos="100000">
                    <a:srgbClr val="00AEE6"/>
                  </a:gs>
                </a:gsLst>
                <a:lin ang="0" scaled="1"/>
              </a:grad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A4E6FCEE-C195-BCF8-23BA-F923484A3210}"/>
                </a:ext>
              </a:extLst>
            </p:cNvPr>
            <p:cNvSpPr/>
            <p:nvPr/>
          </p:nvSpPr>
          <p:spPr>
            <a:xfrm>
              <a:off x="5912976" y="3307984"/>
              <a:ext cx="489013" cy="171640"/>
            </a:xfrm>
            <a:custGeom>
              <a:avLst/>
              <a:gdLst>
                <a:gd name="connsiteX0" fmla="*/ 489014 w 489013"/>
                <a:gd name="connsiteY0" fmla="*/ 0 h 171640"/>
                <a:gd name="connsiteX1" fmla="*/ 489014 w 489013"/>
                <a:gd name="connsiteY1" fmla="*/ 171640 h 171640"/>
                <a:gd name="connsiteX2" fmla="*/ 0 w 489013"/>
                <a:gd name="connsiteY2" fmla="*/ 171640 h 171640"/>
              </a:gdLst>
              <a:ahLst/>
              <a:cxnLst>
                <a:cxn ang="0">
                  <a:pos x="connsiteX0" y="connsiteY0"/>
                </a:cxn>
                <a:cxn ang="0">
                  <a:pos x="connsiteX1" y="connsiteY1"/>
                </a:cxn>
                <a:cxn ang="0">
                  <a:pos x="connsiteX2" y="connsiteY2"/>
                </a:cxn>
              </a:cxnLst>
              <a:rect l="l" t="t" r="r" b="b"/>
              <a:pathLst>
                <a:path w="489013" h="171640">
                  <a:moveTo>
                    <a:pt x="489014" y="0"/>
                  </a:moveTo>
                  <a:lnTo>
                    <a:pt x="489014" y="171640"/>
                  </a:lnTo>
                  <a:lnTo>
                    <a:pt x="0" y="171640"/>
                  </a:lnTo>
                </a:path>
              </a:pathLst>
            </a:custGeom>
            <a:noFill/>
            <a:ln w="25400" cap="flat">
              <a:gradFill>
                <a:gsLst>
                  <a:gs pos="0">
                    <a:srgbClr val="50BF34"/>
                  </a:gs>
                  <a:gs pos="100000">
                    <a:srgbClr val="00AEE6"/>
                  </a:gs>
                </a:gsLst>
                <a:lin ang="10800000" scaled="1"/>
              </a:gradFill>
              <a:prstDash val="solid"/>
              <a:miter/>
            </a:ln>
          </p:spPr>
          <p:txBody>
            <a:bodyPr rtlCol="0" anchor="ctr"/>
            <a:lstStyle/>
            <a:p>
              <a:endParaRPr lang="en-US"/>
            </a:p>
          </p:txBody>
        </p:sp>
      </p:grpSp>
      <p:sp>
        <p:nvSpPr>
          <p:cNvPr id="4" name="Slide Number Placeholder 3">
            <a:extLst>
              <a:ext uri="{FF2B5EF4-FFF2-40B4-BE49-F238E27FC236}">
                <a16:creationId xmlns:a16="http://schemas.microsoft.com/office/drawing/2014/main" id="{8509B258-3073-F334-17AA-DB20DDB17940}"/>
              </a:ext>
              <a:ext uri="{C183D7F6-B498-43B3-948B-1728B52AA6E4}">
                <adec:decorative xmlns:adec="http://schemas.microsoft.com/office/drawing/2017/decorative" val="1"/>
              </a:ext>
            </a:extLst>
          </p:cNvPr>
          <p:cNvSpPr>
            <a:spLocks noGrp="1"/>
          </p:cNvSpPr>
          <p:nvPr>
            <p:ph type="sldNum" sz="quarter" idx="10"/>
          </p:nvPr>
        </p:nvSpPr>
        <p:spPr/>
        <p:txBody>
          <a:bodyPr/>
          <a:lstStyle/>
          <a:p>
            <a:pPr fontAlgn="base">
              <a:spcBef>
                <a:spcPct val="0"/>
              </a:spcBef>
              <a:spcAft>
                <a:spcPct val="0"/>
              </a:spcAft>
            </a:pPr>
            <a:fld id="{8A5743FA-19ED-4A9D-9D57-C0E819892670}" type="slidenum">
              <a:rPr lang="en-US" smtClean="0">
                <a:solidFill>
                  <a:schemeClr val="tx1"/>
                </a:solidFill>
              </a:rPr>
              <a:pPr fontAlgn="base">
                <a:spcBef>
                  <a:spcPct val="0"/>
                </a:spcBef>
                <a:spcAft>
                  <a:spcPct val="0"/>
                </a:spcAft>
              </a:pPr>
              <a:t>26</a:t>
            </a:fld>
            <a:endParaRPr lang="en-US">
              <a:solidFill>
                <a:schemeClr val="tx1"/>
              </a:solidFill>
            </a:endParaRPr>
          </a:p>
        </p:txBody>
      </p:sp>
      <p:sp>
        <p:nvSpPr>
          <p:cNvPr id="3" name="Footer Placeholder 2">
            <a:extLst>
              <a:ext uri="{FF2B5EF4-FFF2-40B4-BE49-F238E27FC236}">
                <a16:creationId xmlns:a16="http://schemas.microsoft.com/office/drawing/2014/main" id="{84C41641-8DAC-E926-A38A-958A09136909}"/>
              </a:ext>
              <a:ext uri="{C183D7F6-B498-43B3-948B-1728B52AA6E4}">
                <adec:decorative xmlns:adec="http://schemas.microsoft.com/office/drawing/2017/decorative" val="1"/>
              </a:ext>
            </a:extLst>
          </p:cNvPr>
          <p:cNvSpPr>
            <a:spLocks noGrp="1"/>
          </p:cNvSpPr>
          <p:nvPr>
            <p:ph type="ftr" sz="quarter" idx="4294967295"/>
          </p:nvPr>
        </p:nvSpPr>
        <p:spPr>
          <a:xfrm>
            <a:off x="7448476" y="6529388"/>
            <a:ext cx="4041775" cy="365125"/>
          </a:xfrm>
        </p:spPr>
        <p:txBody>
          <a:bodyPr/>
          <a:lstStyle/>
          <a:p>
            <a:r>
              <a:rPr lang="en-US">
                <a:solidFill>
                  <a:schemeClr val="tx1"/>
                </a:solidFill>
              </a:rPr>
              <a:t>Sensitive / Proprietary</a:t>
            </a:r>
            <a:endParaRPr lang="en-US">
              <a:solidFill>
                <a:schemeClr val="tx1"/>
              </a:solidFill>
              <a:latin typeface="Franklin Gothic Medium" panose="020B0603020102020204" pitchFamily="34" charset="0"/>
            </a:endParaRPr>
          </a:p>
        </p:txBody>
      </p:sp>
      <p:grpSp>
        <p:nvGrpSpPr>
          <p:cNvPr id="13" name="Group 12">
            <a:extLst>
              <a:ext uri="{FF2B5EF4-FFF2-40B4-BE49-F238E27FC236}">
                <a16:creationId xmlns:a16="http://schemas.microsoft.com/office/drawing/2014/main" id="{1E2D5BBE-9F96-3CDC-201E-0D1D0689DC90}"/>
              </a:ext>
              <a:ext uri="{C183D7F6-B498-43B3-948B-1728B52AA6E4}">
                <adec:decorative xmlns:adec="http://schemas.microsoft.com/office/drawing/2017/decorative" val="1"/>
              </a:ext>
            </a:extLst>
          </p:cNvPr>
          <p:cNvGrpSpPr/>
          <p:nvPr/>
        </p:nvGrpSpPr>
        <p:grpSpPr>
          <a:xfrm>
            <a:off x="11657958" y="0"/>
            <a:ext cx="534042" cy="536448"/>
            <a:chOff x="11657958" y="0"/>
            <a:chExt cx="534042" cy="536448"/>
          </a:xfrm>
        </p:grpSpPr>
        <p:sp>
          <p:nvSpPr>
            <p:cNvPr id="14" name="Rectangle 13">
              <a:extLst>
                <a:ext uri="{FF2B5EF4-FFF2-40B4-BE49-F238E27FC236}">
                  <a16:creationId xmlns:a16="http://schemas.microsoft.com/office/drawing/2014/main" id="{53C0C523-B1DF-439E-3E3B-BE2B20356E9D}"/>
                </a:ext>
              </a:extLst>
            </p:cNvPr>
            <p:cNvSpPr/>
            <p:nvPr userDrawn="1"/>
          </p:nvSpPr>
          <p:spPr>
            <a:xfrm>
              <a:off x="11657958" y="0"/>
              <a:ext cx="534042" cy="536448"/>
            </a:xfrm>
            <a:prstGeom prst="rect">
              <a:avLst/>
            </a:prstGeom>
            <a:solidFill>
              <a:srgbClr val="081931">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044FDFD-D604-62E2-1E37-FCCE1D560F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801916" y="110917"/>
              <a:ext cx="265176" cy="314615"/>
            </a:xfrm>
            <a:prstGeom prst="rect">
              <a:avLst/>
            </a:prstGeom>
          </p:spPr>
        </p:pic>
      </p:grpSp>
    </p:spTree>
    <p:extLst>
      <p:ext uri="{BB962C8B-B14F-4D97-AF65-F5344CB8AC3E}">
        <p14:creationId xmlns:p14="http://schemas.microsoft.com/office/powerpoint/2010/main" val="32970403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7FF8-9667-BD64-136F-D8E5FDCEE293}"/>
              </a:ext>
            </a:extLst>
          </p:cNvPr>
          <p:cNvSpPr>
            <a:spLocks noGrp="1"/>
          </p:cNvSpPr>
          <p:nvPr>
            <p:ph type="title"/>
          </p:nvPr>
        </p:nvSpPr>
        <p:spPr/>
        <p:txBody>
          <a:bodyPr/>
          <a:lstStyle/>
          <a:p>
            <a:r>
              <a:rPr lang="en-US"/>
              <a:t>Aviation Offerings</a:t>
            </a:r>
          </a:p>
        </p:txBody>
      </p:sp>
      <p:pic>
        <p:nvPicPr>
          <p:cNvPr id="3" name="Picture 2" descr="Aviation offerings slide with airport diagram and service categories: landside, terminal, airside, FAA, and ancillary">
            <a:extLst>
              <a:ext uri="{FF2B5EF4-FFF2-40B4-BE49-F238E27FC236}">
                <a16:creationId xmlns:a16="http://schemas.microsoft.com/office/drawing/2014/main" id="{8948854F-CCD0-5C5A-EE00-7E32A408F99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3831116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F534D1-9554-BE39-BD58-8FDE590AB539}"/>
              </a:ext>
            </a:extLst>
          </p:cNvPr>
          <p:cNvSpPr>
            <a:spLocks noGrp="1"/>
          </p:cNvSpPr>
          <p:nvPr>
            <p:ph type="title"/>
          </p:nvPr>
        </p:nvSpPr>
        <p:spPr/>
        <p:txBody>
          <a:bodyPr/>
          <a:lstStyle/>
          <a:p>
            <a:r>
              <a:rPr lang="en-US"/>
              <a:t>Representative Airport Projects</a:t>
            </a:r>
          </a:p>
        </p:txBody>
      </p:sp>
      <p:sp>
        <p:nvSpPr>
          <p:cNvPr id="14" name="Text Placeholder 6">
            <a:extLst>
              <a:ext uri="{FF2B5EF4-FFF2-40B4-BE49-F238E27FC236}">
                <a16:creationId xmlns:a16="http://schemas.microsoft.com/office/drawing/2014/main" id="{21E890EE-6673-352C-2F5E-0392961F0245}"/>
              </a:ext>
              <a:ext uri="{C183D7F6-B498-43B3-948B-1728B52AA6E4}">
                <adec:decorative xmlns:adec="http://schemas.microsoft.com/office/drawing/2017/decorative" val="1"/>
              </a:ext>
            </a:extLst>
          </p:cNvPr>
          <p:cNvSpPr txBox="1">
            <a:spLocks/>
          </p:cNvSpPr>
          <p:nvPr/>
        </p:nvSpPr>
        <p:spPr bwMode="auto">
          <a:xfrm>
            <a:off x="1978911" y="4877307"/>
            <a:ext cx="2520847" cy="504497"/>
          </a:xfrm>
          <a:prstGeom prst="rect">
            <a:avLst/>
          </a:prstGeom>
          <a:noFill/>
          <a:ln w="9525">
            <a:noFill/>
            <a:miter lim="800000"/>
            <a:headEnd/>
            <a:tailEnd/>
          </a:ln>
          <a:effectLst/>
        </p:spPr>
        <p:txBody>
          <a:bodyPr vert="horz" wrap="square" lIns="0" tIns="0" rIns="0" bIns="0" numCol="1" anchor="b" anchorCtr="0" compatLnSpc="1">
            <a:prstTxWarp prst="textNoShape">
              <a:avLst/>
            </a:prstTxWarp>
            <a:normAutofit/>
          </a:bodyPr>
          <a:lstStyle>
            <a:lvl1pPr marL="0" indent="0" algn="ctr" defTabSz="914286" rtl="0" eaLnBrk="1" fontAlgn="base" latinLnBrk="0" hangingPunct="1">
              <a:lnSpc>
                <a:spcPct val="90000"/>
              </a:lnSpc>
              <a:spcBef>
                <a:spcPct val="0"/>
              </a:spcBef>
              <a:spcAft>
                <a:spcPts val="400"/>
              </a:spcAft>
              <a:buClr>
                <a:schemeClr val="accent1"/>
              </a:buClr>
              <a:buFont typeface="Arial" pitchFamily="34" charset="0"/>
              <a:buNone/>
              <a:defRPr lang="en-US" sz="1600" b="0" i="0" kern="1200" cap="none" baseline="0" dirty="0" smtClean="0">
                <a:solidFill>
                  <a:schemeClr val="accent1"/>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a:lvl2pPr marL="0" indent="-228573" algn="l" defTabSz="914286" rtl="0" eaLnBrk="1" fontAlgn="base" latinLnBrk="0" hangingPunct="1">
              <a:lnSpc>
                <a:spcPct val="90000"/>
              </a:lnSpc>
              <a:spcBef>
                <a:spcPts val="800"/>
              </a:spcBef>
              <a:spcAft>
                <a:spcPts val="0"/>
              </a:spcAft>
              <a:buClr>
                <a:schemeClr val="tx2"/>
              </a:buClr>
              <a:buSzPct val="80000"/>
              <a:buFont typeface="Wingdings" pitchFamily="2" charset="2"/>
              <a:buChar char="§"/>
              <a:defRPr lang="en-US" sz="1400" b="0" kern="1200" baseline="0" dirty="0" smtClean="0">
                <a:solidFill>
                  <a:srgbClr val="F2F2F2"/>
                </a:solidFill>
                <a:latin typeface="Calibri"/>
                <a:ea typeface="+mn-ea"/>
                <a:cs typeface="Calibri"/>
              </a:defRPr>
            </a:lvl2pPr>
            <a:lvl3pPr marL="0" indent="-182858" algn="l" defTabSz="914286" rtl="0" eaLnBrk="1" fontAlgn="base" latinLnBrk="0" hangingPunct="1">
              <a:lnSpc>
                <a:spcPct val="90000"/>
              </a:lnSpc>
              <a:spcBef>
                <a:spcPts val="800"/>
              </a:spcBef>
              <a:spcAft>
                <a:spcPts val="0"/>
              </a:spcAft>
              <a:buClr>
                <a:schemeClr val="tx2"/>
              </a:buClr>
              <a:buSzPct val="80000"/>
              <a:buFont typeface="Wingdings" pitchFamily="2" charset="2"/>
              <a:buChar char="§"/>
              <a:defRPr lang="en-US" sz="1400" kern="1200" dirty="0" smtClean="0">
                <a:solidFill>
                  <a:srgbClr val="F2F2F2"/>
                </a:solidFill>
                <a:latin typeface="Calibri"/>
                <a:ea typeface="+mn-ea"/>
                <a:cs typeface="Calibri"/>
              </a:defRPr>
            </a:lvl3pPr>
            <a:lvl4pPr marL="0" indent="-182858" algn="l" defTabSz="914286" rtl="0" eaLnBrk="1" fontAlgn="base" latinLnBrk="0" hangingPunct="1">
              <a:lnSpc>
                <a:spcPct val="90000"/>
              </a:lnSpc>
              <a:spcBef>
                <a:spcPts val="600"/>
              </a:spcBef>
              <a:spcAft>
                <a:spcPts val="0"/>
              </a:spcAft>
              <a:buClr>
                <a:schemeClr val="tx2"/>
              </a:buClr>
              <a:buSzPct val="80000"/>
              <a:buFont typeface="Wingdings" pitchFamily="2" charset="2"/>
              <a:buChar char="§"/>
              <a:defRPr lang="en-US" sz="1400" kern="1200" dirty="0" smtClean="0">
                <a:solidFill>
                  <a:srgbClr val="F2F2F2"/>
                </a:solidFill>
                <a:latin typeface="Calibri"/>
                <a:ea typeface="+mn-ea"/>
                <a:cs typeface="Calibri"/>
              </a:defRPr>
            </a:lvl4pPr>
            <a:lvl5pPr marL="0" indent="-182858" algn="l" defTabSz="914286" rtl="0" eaLnBrk="1" fontAlgn="base" latinLnBrk="0" hangingPunct="1">
              <a:lnSpc>
                <a:spcPct val="90000"/>
              </a:lnSpc>
              <a:spcBef>
                <a:spcPts val="600"/>
              </a:spcBef>
              <a:spcAft>
                <a:spcPts val="0"/>
              </a:spcAft>
              <a:buClr>
                <a:schemeClr val="tx2"/>
              </a:buClr>
              <a:buSzPct val="80000"/>
              <a:buFont typeface="Wingdings" pitchFamily="2" charset="2"/>
              <a:buChar char="§"/>
              <a:defRPr lang="en-US" sz="1400" kern="1200" dirty="0">
                <a:solidFill>
                  <a:srgbClr val="F2F2F2"/>
                </a:solidFill>
                <a:latin typeface="Calibri"/>
                <a:ea typeface="+mn-ea"/>
                <a:cs typeface="Calibri"/>
              </a:defRPr>
            </a:lvl5pPr>
            <a:lvl6pPr marL="2514286"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6pPr>
            <a:lvl7pPr marL="2971430"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7pPr>
            <a:lvl8pPr marL="3428573"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8pPr>
            <a:lvl9pPr marL="3885718"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9pPr>
          </a:lstStyle>
          <a:p>
            <a:r>
              <a:rPr lang="en-US"/>
              <a:t>Denver International Airport Hotel and Transit Center</a:t>
            </a:r>
          </a:p>
        </p:txBody>
      </p:sp>
      <p:sp>
        <p:nvSpPr>
          <p:cNvPr id="3" name="Text Placeholder 2">
            <a:extLst>
              <a:ext uri="{FF2B5EF4-FFF2-40B4-BE49-F238E27FC236}">
                <a16:creationId xmlns:a16="http://schemas.microsoft.com/office/drawing/2014/main" id="{FCF2101F-1108-41A2-FAC7-96066F2D97AF}"/>
              </a:ext>
            </a:extLst>
          </p:cNvPr>
          <p:cNvSpPr>
            <a:spLocks noGrp="1"/>
          </p:cNvSpPr>
          <p:nvPr>
            <p:ph type="body" sz="quarter" idx="14"/>
          </p:nvPr>
        </p:nvSpPr>
        <p:spPr/>
        <p:txBody>
          <a:bodyPr>
            <a:normAutofit lnSpcReduction="10000"/>
          </a:bodyPr>
          <a:lstStyle/>
          <a:p>
            <a:r>
              <a:rPr lang="en-US"/>
              <a:t>Program Management, PM/CM</a:t>
            </a:r>
          </a:p>
        </p:txBody>
      </p:sp>
      <p:sp>
        <p:nvSpPr>
          <p:cNvPr id="7" name="Text Placeholder 6">
            <a:extLst>
              <a:ext uri="{FF2B5EF4-FFF2-40B4-BE49-F238E27FC236}">
                <a16:creationId xmlns:a16="http://schemas.microsoft.com/office/drawing/2014/main" id="{27E9CF55-F7EA-AE39-FD71-0775757625F5}"/>
              </a:ext>
            </a:extLst>
          </p:cNvPr>
          <p:cNvSpPr>
            <a:spLocks noGrp="1"/>
          </p:cNvSpPr>
          <p:nvPr>
            <p:ph type="body" sz="quarter" idx="18"/>
          </p:nvPr>
        </p:nvSpPr>
        <p:spPr/>
        <p:txBody>
          <a:bodyPr/>
          <a:lstStyle/>
          <a:p>
            <a:r>
              <a:rPr lang="en-US"/>
              <a:t>Raleigh-Durham International Airport</a:t>
            </a:r>
          </a:p>
        </p:txBody>
      </p:sp>
      <p:sp>
        <p:nvSpPr>
          <p:cNvPr id="6" name="Text Placeholder 5">
            <a:extLst>
              <a:ext uri="{FF2B5EF4-FFF2-40B4-BE49-F238E27FC236}">
                <a16:creationId xmlns:a16="http://schemas.microsoft.com/office/drawing/2014/main" id="{E08DC8FA-C9E5-4644-FA64-D2E1CC02A211}"/>
              </a:ext>
            </a:extLst>
          </p:cNvPr>
          <p:cNvSpPr>
            <a:spLocks noGrp="1"/>
          </p:cNvSpPr>
          <p:nvPr>
            <p:ph type="body" sz="quarter" idx="17"/>
          </p:nvPr>
        </p:nvSpPr>
        <p:spPr/>
        <p:txBody>
          <a:bodyPr/>
          <a:lstStyle/>
          <a:p>
            <a:r>
              <a:rPr lang="en-US"/>
              <a:t>PM/CM</a:t>
            </a:r>
          </a:p>
        </p:txBody>
      </p:sp>
      <p:sp>
        <p:nvSpPr>
          <p:cNvPr id="10" name="Text Placeholder 9">
            <a:extLst>
              <a:ext uri="{FF2B5EF4-FFF2-40B4-BE49-F238E27FC236}">
                <a16:creationId xmlns:a16="http://schemas.microsoft.com/office/drawing/2014/main" id="{5830965C-8F30-4156-53C5-26CA47142E38}"/>
              </a:ext>
            </a:extLst>
          </p:cNvPr>
          <p:cNvSpPr>
            <a:spLocks noGrp="1"/>
          </p:cNvSpPr>
          <p:nvPr>
            <p:ph type="body" sz="quarter" idx="21"/>
          </p:nvPr>
        </p:nvSpPr>
        <p:spPr>
          <a:xfrm>
            <a:off x="7647998" y="4875696"/>
            <a:ext cx="2520847" cy="611783"/>
          </a:xfrm>
        </p:spPr>
        <p:txBody>
          <a:bodyPr>
            <a:normAutofit fontScale="85000" lnSpcReduction="10000"/>
          </a:bodyPr>
          <a:lstStyle/>
          <a:p>
            <a:r>
              <a:rPr lang="en-US"/>
              <a:t>Los Angeles International Airport</a:t>
            </a:r>
          </a:p>
          <a:p>
            <a:r>
              <a:rPr lang="en-US"/>
              <a:t>Landside Access Modernization Program</a:t>
            </a:r>
          </a:p>
        </p:txBody>
      </p:sp>
      <p:sp>
        <p:nvSpPr>
          <p:cNvPr id="9" name="Text Placeholder 8">
            <a:extLst>
              <a:ext uri="{FF2B5EF4-FFF2-40B4-BE49-F238E27FC236}">
                <a16:creationId xmlns:a16="http://schemas.microsoft.com/office/drawing/2014/main" id="{D22EC1E4-A791-8992-FD57-D73E7C167875}"/>
              </a:ext>
            </a:extLst>
          </p:cNvPr>
          <p:cNvSpPr>
            <a:spLocks noGrp="1"/>
          </p:cNvSpPr>
          <p:nvPr>
            <p:ph type="body" sz="quarter" idx="20"/>
          </p:nvPr>
        </p:nvSpPr>
        <p:spPr>
          <a:xfrm>
            <a:off x="7647998" y="5644054"/>
            <a:ext cx="2520847" cy="510649"/>
          </a:xfrm>
        </p:spPr>
        <p:txBody>
          <a:bodyPr>
            <a:normAutofit lnSpcReduction="10000"/>
          </a:bodyPr>
          <a:lstStyle/>
          <a:p>
            <a:pPr lvl="1" indent="0" algn="ctr">
              <a:lnSpc>
                <a:spcPct val="100000"/>
              </a:lnSpc>
              <a:spcBef>
                <a:spcPts val="0"/>
              </a:spcBef>
              <a:spcAft>
                <a:spcPts val="400"/>
              </a:spcAft>
              <a:buClr>
                <a:schemeClr val="accent1"/>
              </a:buClr>
              <a:buNone/>
            </a:pPr>
            <a:r>
              <a:rPr lang="en-US" sz="1400">
                <a:solidFill>
                  <a:schemeClr val="tx1"/>
                </a:solidFill>
                <a:latin typeface="+mn-lt"/>
                <a:cs typeface="Arial" pitchFamily="34" charset="0"/>
              </a:rPr>
              <a:t>Owner’s Representative</a:t>
            </a:r>
          </a:p>
          <a:p>
            <a:pPr lvl="1" indent="0" algn="ctr">
              <a:lnSpc>
                <a:spcPct val="100000"/>
              </a:lnSpc>
              <a:spcBef>
                <a:spcPts val="0"/>
              </a:spcBef>
              <a:spcAft>
                <a:spcPts val="400"/>
              </a:spcAft>
              <a:buClr>
                <a:schemeClr val="accent1"/>
              </a:buClr>
              <a:buNone/>
            </a:pPr>
            <a:r>
              <a:rPr lang="en-US" sz="1400">
                <a:solidFill>
                  <a:schemeClr val="tx1"/>
                </a:solidFill>
                <a:latin typeface="+mn-lt"/>
                <a:cs typeface="Arial" pitchFamily="34" charset="0"/>
              </a:rPr>
              <a:t>APM and CONRAC</a:t>
            </a:r>
          </a:p>
          <a:p>
            <a:endParaRPr lang="en-US"/>
          </a:p>
        </p:txBody>
      </p:sp>
      <p:sp>
        <p:nvSpPr>
          <p:cNvPr id="12" name="Footer Placeholder 11">
            <a:extLst>
              <a:ext uri="{FF2B5EF4-FFF2-40B4-BE49-F238E27FC236}">
                <a16:creationId xmlns:a16="http://schemas.microsoft.com/office/drawing/2014/main" id="{BBD33D7C-EC73-05B3-CD82-2DF5359C9526}"/>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a:t>Sensitive / Proprietary</a:t>
            </a:r>
            <a:endParaRPr lang="en-US">
              <a:latin typeface="Franklin Gothic Medium" panose="020B0603020102020204" pitchFamily="34" charset="0"/>
            </a:endParaRPr>
          </a:p>
        </p:txBody>
      </p:sp>
      <p:sp>
        <p:nvSpPr>
          <p:cNvPr id="13" name="Slide Number Placeholder 12">
            <a:extLst>
              <a:ext uri="{FF2B5EF4-FFF2-40B4-BE49-F238E27FC236}">
                <a16:creationId xmlns:a16="http://schemas.microsoft.com/office/drawing/2014/main" id="{2278BD43-648F-8F84-7DA1-DEF6AF41AE6B}"/>
              </a:ext>
              <a:ext uri="{C183D7F6-B498-43B3-948B-1728B52AA6E4}">
                <adec:decorative xmlns:adec="http://schemas.microsoft.com/office/drawing/2017/decorative" val="1"/>
              </a:ext>
            </a:extLst>
          </p:cNvPr>
          <p:cNvSpPr>
            <a:spLocks noGrp="1"/>
          </p:cNvSpPr>
          <p:nvPr>
            <p:ph type="sldNum" sz="quarter" idx="23"/>
          </p:nvPr>
        </p:nvSpPr>
        <p:spPr/>
        <p:txBody>
          <a:bodyPr/>
          <a:lstStyle/>
          <a:p>
            <a:pPr fontAlgn="base">
              <a:spcBef>
                <a:spcPct val="0"/>
              </a:spcBef>
              <a:spcAft>
                <a:spcPct val="0"/>
              </a:spcAft>
            </a:pPr>
            <a:fld id="{8A5743FA-19ED-4A9D-9D57-C0E819892670}" type="slidenum">
              <a:rPr lang="en-US" smtClean="0"/>
              <a:pPr fontAlgn="base">
                <a:spcBef>
                  <a:spcPct val="0"/>
                </a:spcBef>
                <a:spcAft>
                  <a:spcPct val="0"/>
                </a:spcAft>
              </a:pPr>
              <a:t>28</a:t>
            </a:fld>
            <a:endParaRPr lang="en-US"/>
          </a:p>
        </p:txBody>
      </p:sp>
      <p:pic>
        <p:nvPicPr>
          <p:cNvPr id="17" name="Picture Placeholder 16">
            <a:extLst>
              <a:ext uri="{FF2B5EF4-FFF2-40B4-BE49-F238E27FC236}">
                <a16:creationId xmlns:a16="http://schemas.microsoft.com/office/drawing/2014/main" id="{75535AAE-1EB1-2867-743E-86A3959C79F3}"/>
              </a:ext>
              <a:ext uri="{C183D7F6-B498-43B3-948B-1728B52AA6E4}">
                <adec:decorative xmlns:adec="http://schemas.microsoft.com/office/drawing/2017/decorative" val="1"/>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xfrm>
            <a:off x="1982788" y="1371600"/>
            <a:ext cx="2528887" cy="3463925"/>
          </a:xfrm>
          <a:prstGeom prst="rect">
            <a:avLst/>
          </a:prstGeom>
        </p:spPr>
      </p:pic>
      <p:pic>
        <p:nvPicPr>
          <p:cNvPr id="18" name="Picture Placeholder 17">
            <a:extLst>
              <a:ext uri="{FF2B5EF4-FFF2-40B4-BE49-F238E27FC236}">
                <a16:creationId xmlns:a16="http://schemas.microsoft.com/office/drawing/2014/main" id="{560EFAAF-66DC-1ABB-7377-DD5C4062A54F}"/>
              </a:ext>
              <a:ext uri="{C183D7F6-B498-43B3-948B-1728B52AA6E4}">
                <adec:decorative xmlns:adec="http://schemas.microsoft.com/office/drawing/2017/decorative" val="1"/>
              </a:ext>
            </a:extLst>
          </p:cNvPr>
          <p:cNvPicPr>
            <a:picLocks noGrp="1" noChangeAspect="1"/>
          </p:cNvPicPr>
          <p:nvPr>
            <p:ph type="pic" sz="quarter" idx="16"/>
          </p:nvPr>
        </p:nvPicPr>
        <p:blipFill>
          <a:blip r:embed="rId4" cstate="email">
            <a:extLst>
              <a:ext uri="{28A0092B-C50C-407E-A947-70E740481C1C}">
                <a14:useLocalDpi xmlns:a14="http://schemas.microsoft.com/office/drawing/2010/main"/>
              </a:ext>
            </a:extLst>
          </a:blip>
          <a:srcRect/>
          <a:stretch>
            <a:fillRect/>
          </a:stretch>
        </p:blipFill>
        <p:spPr>
          <a:xfrm>
            <a:off x="4799013" y="1371600"/>
            <a:ext cx="2528887" cy="3463925"/>
          </a:xfrm>
          <a:prstGeom prst="rect">
            <a:avLst/>
          </a:prstGeom>
        </p:spPr>
      </p:pic>
      <p:pic>
        <p:nvPicPr>
          <p:cNvPr id="19" name="Picture 2">
            <a:extLst>
              <a:ext uri="{FF2B5EF4-FFF2-40B4-BE49-F238E27FC236}">
                <a16:creationId xmlns:a16="http://schemas.microsoft.com/office/drawing/2014/main" id="{D2E7831A-99E5-38EA-58F7-D62C9F13110C}"/>
              </a:ext>
              <a:ext uri="{C183D7F6-B498-43B3-948B-1728B52AA6E4}">
                <adec:decorative xmlns:adec="http://schemas.microsoft.com/office/drawing/2017/decorative" val="1"/>
              </a:ext>
            </a:extLst>
          </p:cNvPr>
          <p:cNvPicPr>
            <a:picLocks noGrp="1" noChangeAspect="1" noChangeArrowheads="1"/>
          </p:cNvPicPr>
          <p:nvPr>
            <p:ph type="pic" sz="quarter" idx="19"/>
          </p:nvPr>
        </p:nvPicPr>
        <p:blipFill>
          <a:blip r:embed="rId5" cstate="email">
            <a:extLst>
              <a:ext uri="{28A0092B-C50C-407E-A947-70E740481C1C}">
                <a14:useLocalDpi xmlns:a14="http://schemas.microsoft.com/office/drawing/2010/main"/>
              </a:ext>
            </a:extLst>
          </a:blip>
          <a:srcRect/>
          <a:stretch>
            <a:fillRect/>
          </a:stretch>
        </p:blipFill>
        <p:spPr bwMode="auto">
          <a:xfrm>
            <a:off x="7623175" y="1371600"/>
            <a:ext cx="2527300" cy="3463925"/>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BD0561C0-8AB0-7BB1-A796-F1EFC111DB0D}"/>
              </a:ext>
              <a:ext uri="{C183D7F6-B498-43B3-948B-1728B52AA6E4}">
                <adec:decorative xmlns:adec="http://schemas.microsoft.com/office/drawing/2017/decorative" val="1"/>
              </a:ext>
            </a:extLst>
          </p:cNvPr>
          <p:cNvGrpSpPr/>
          <p:nvPr/>
        </p:nvGrpSpPr>
        <p:grpSpPr>
          <a:xfrm>
            <a:off x="11657958" y="0"/>
            <a:ext cx="534042" cy="536448"/>
            <a:chOff x="11657958" y="0"/>
            <a:chExt cx="534042" cy="536448"/>
          </a:xfrm>
        </p:grpSpPr>
        <p:sp>
          <p:nvSpPr>
            <p:cNvPr id="4" name="Rectangle 3">
              <a:extLst>
                <a:ext uri="{FF2B5EF4-FFF2-40B4-BE49-F238E27FC236}">
                  <a16:creationId xmlns:a16="http://schemas.microsoft.com/office/drawing/2014/main" id="{E1D46C7A-2B51-F3AE-1DDD-C15B30837EB0}"/>
                </a:ext>
              </a:extLst>
            </p:cNvPr>
            <p:cNvSpPr/>
            <p:nvPr userDrawn="1"/>
          </p:nvSpPr>
          <p:spPr>
            <a:xfrm>
              <a:off x="11657958" y="0"/>
              <a:ext cx="534042" cy="536448"/>
            </a:xfrm>
            <a:prstGeom prst="rect">
              <a:avLst/>
            </a:prstGeom>
            <a:solidFill>
              <a:srgbClr val="081931">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18363A10-EDDB-09D1-3B97-D38E6534DE3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801916" y="110917"/>
              <a:ext cx="265176" cy="314615"/>
            </a:xfrm>
            <a:prstGeom prst="rect">
              <a:avLst/>
            </a:prstGeom>
          </p:spPr>
        </p:pic>
      </p:grpSp>
    </p:spTree>
    <p:extLst>
      <p:ext uri="{BB962C8B-B14F-4D97-AF65-F5344CB8AC3E}">
        <p14:creationId xmlns:p14="http://schemas.microsoft.com/office/powerpoint/2010/main" val="3501883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C87F92-DA4C-EE46-BE0D-8C799B30938C}"/>
              </a:ext>
            </a:extLst>
          </p:cNvPr>
          <p:cNvSpPr>
            <a:spLocks noGrp="1"/>
          </p:cNvSpPr>
          <p:nvPr>
            <p:ph type="title"/>
          </p:nvPr>
        </p:nvSpPr>
        <p:spPr/>
        <p:txBody>
          <a:bodyPr/>
          <a:lstStyle/>
          <a:p>
            <a:r>
              <a:rPr lang="en-US"/>
              <a:t>Upcoming OPPORTUNITIES</a:t>
            </a:r>
          </a:p>
        </p:txBody>
      </p:sp>
      <p:sp>
        <p:nvSpPr>
          <p:cNvPr id="6" name="Content Placeholder 7">
            <a:extLst>
              <a:ext uri="{FF2B5EF4-FFF2-40B4-BE49-F238E27FC236}">
                <a16:creationId xmlns:a16="http://schemas.microsoft.com/office/drawing/2014/main" id="{057B54E5-C3AB-8148-A543-8DB369D79B38}"/>
              </a:ext>
            </a:extLst>
          </p:cNvPr>
          <p:cNvSpPr txBox="1">
            <a:spLocks/>
          </p:cNvSpPr>
          <p:nvPr/>
        </p:nvSpPr>
        <p:spPr>
          <a:xfrm>
            <a:off x="1113461" y="1282715"/>
            <a:ext cx="10338357" cy="3716953"/>
          </a:xfrm>
          <a:prstGeom prst="rect">
            <a:avLst/>
          </a:prstGeom>
        </p:spPr>
        <p:txBody>
          <a:bodyPr lIns="91440" tIns="45720" rIns="91440" bIns="45720" anchor="t"/>
          <a:lstStyle>
            <a:lvl1pPr marL="228573" indent="-228573" algn="l" rtl="0" eaLnBrk="1" fontAlgn="base" hangingPunct="1">
              <a:lnSpc>
                <a:spcPct val="90000"/>
              </a:lnSpc>
              <a:spcBef>
                <a:spcPts val="1400"/>
              </a:spcBef>
              <a:spcAft>
                <a:spcPts val="0"/>
              </a:spcAft>
              <a:buClr>
                <a:schemeClr val="accent1"/>
              </a:buClr>
              <a:buFont typeface="Arial" pitchFamily="34" charset="0"/>
              <a:buChar char="•"/>
              <a:defRPr sz="2000" b="0" i="0" baseline="0">
                <a:solidFill>
                  <a:schemeClr val="tx1"/>
                </a:solidFill>
                <a:latin typeface="Franklin Gothic Medium" panose="020B0603020102020204" pitchFamily="34" charset="0"/>
                <a:ea typeface="+mn-ea"/>
                <a:cs typeface="+mn-cs"/>
              </a:defRPr>
            </a:lvl1pPr>
            <a:lvl2pPr marL="685718" indent="-228573" algn="l" rtl="0" eaLnBrk="1" fontAlgn="base" hangingPunct="1">
              <a:lnSpc>
                <a:spcPct val="90000"/>
              </a:lnSpc>
              <a:spcBef>
                <a:spcPts val="800"/>
              </a:spcBef>
              <a:spcAft>
                <a:spcPts val="0"/>
              </a:spcAft>
              <a:buClr>
                <a:schemeClr val="tx2"/>
              </a:buClr>
              <a:buSzPct val="80000"/>
              <a:buFont typeface="Wingdings" pitchFamily="2" charset="2"/>
              <a:buChar char="§"/>
              <a:defRPr sz="1600" b="0" baseline="0">
                <a:solidFill>
                  <a:schemeClr val="tx2"/>
                </a:solidFill>
                <a:latin typeface="+mn-lt"/>
              </a:defRPr>
            </a:lvl2pPr>
            <a:lvl3pPr marL="1097143" indent="-182858" algn="l" rtl="0" eaLnBrk="1" fontAlgn="base" hangingPunct="1">
              <a:lnSpc>
                <a:spcPct val="90000"/>
              </a:lnSpc>
              <a:spcBef>
                <a:spcPts val="800"/>
              </a:spcBef>
              <a:spcAft>
                <a:spcPts val="0"/>
              </a:spcAft>
              <a:buClr>
                <a:schemeClr val="tx2"/>
              </a:buClr>
              <a:buSzPct val="80000"/>
              <a:buFont typeface="Wingdings" pitchFamily="2" charset="2"/>
              <a:buChar char="§"/>
              <a:defRPr sz="1400">
                <a:solidFill>
                  <a:schemeClr val="tx2"/>
                </a:solidFill>
                <a:latin typeface="+mn-lt"/>
              </a:defRPr>
            </a:lvl3pPr>
            <a:lvl4pPr marL="1554286"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4pPr>
            <a:lvl5pPr marL="2011430" indent="-182858" algn="l" rtl="0" eaLnBrk="1" fontAlgn="base" hangingPunct="1">
              <a:lnSpc>
                <a:spcPct val="90000"/>
              </a:lnSpc>
              <a:spcBef>
                <a:spcPts val="600"/>
              </a:spcBef>
              <a:spcAft>
                <a:spcPts val="0"/>
              </a:spcAft>
              <a:buClr>
                <a:schemeClr val="tx2"/>
              </a:buClr>
              <a:buSzPct val="80000"/>
              <a:buFont typeface="Wingdings" pitchFamily="2" charset="2"/>
              <a:buChar char="§"/>
              <a:defRPr sz="1400">
                <a:solidFill>
                  <a:schemeClr val="tx2"/>
                </a:solidFill>
                <a:latin typeface="+mn-lt"/>
              </a:defRPr>
            </a:lvl5pPr>
            <a:lvl6pPr marL="2514286"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6pPr>
            <a:lvl7pPr marL="2971430"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7pPr>
            <a:lvl8pPr marL="3428573"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8pPr>
            <a:lvl9pPr marL="3885718" indent="-228573" algn="l" rtl="0" eaLnBrk="1" fontAlgn="base" hangingPunct="1">
              <a:spcBef>
                <a:spcPct val="20000"/>
              </a:spcBef>
              <a:spcAft>
                <a:spcPct val="0"/>
              </a:spcAft>
              <a:buClr>
                <a:srgbClr val="3C3C3C"/>
              </a:buClr>
              <a:buFont typeface="Wingdings" pitchFamily="2" charset="2"/>
              <a:buChar char="§"/>
              <a:defRPr sz="1700">
                <a:solidFill>
                  <a:schemeClr val="tx1"/>
                </a:solidFill>
                <a:latin typeface="+mn-lt"/>
              </a:defRPr>
            </a:lvl9pPr>
          </a:lstStyle>
          <a:p>
            <a:pPr marL="0" indent="0" defTabSz="914400">
              <a:buNone/>
            </a:pPr>
            <a:r>
              <a:rPr lang="en-US" sz="2400" kern="0">
                <a:latin typeface="Franklin Gothic Medium"/>
              </a:rPr>
              <a:t>Airports</a:t>
            </a:r>
            <a:endParaRPr lang="en-US" sz="2400"/>
          </a:p>
          <a:p>
            <a:pPr marL="227965" lvl="1" indent="-227965" defTabSz="914400">
              <a:buClr>
                <a:srgbClr val="0251E6"/>
              </a:buClr>
            </a:pPr>
            <a:r>
              <a:rPr lang="en-US" sz="1800" b="1"/>
              <a:t>DEN</a:t>
            </a:r>
          </a:p>
          <a:p>
            <a:pPr marL="227965" lvl="1" indent="-227965" defTabSz="914400">
              <a:buClr>
                <a:srgbClr val="0251E6"/>
              </a:buClr>
            </a:pPr>
            <a:r>
              <a:rPr lang="en-US" sz="1800" b="1"/>
              <a:t>Pheonix</a:t>
            </a:r>
          </a:p>
          <a:p>
            <a:pPr marL="227965" lvl="1" indent="-227965" defTabSz="914400">
              <a:buClr>
                <a:srgbClr val="0251E6"/>
              </a:buClr>
            </a:pPr>
            <a:r>
              <a:rPr lang="en-US" sz="1800" b="1"/>
              <a:t>Las Vegas</a:t>
            </a:r>
          </a:p>
          <a:p>
            <a:pPr marL="227965" lvl="1" indent="-227965" defTabSz="914400">
              <a:buClr>
                <a:srgbClr val="0251E6"/>
              </a:buClr>
            </a:pPr>
            <a:r>
              <a:rPr lang="en-US" sz="1800" b="1"/>
              <a:t>Seattle</a:t>
            </a:r>
          </a:p>
          <a:p>
            <a:pPr marL="227965" lvl="1" indent="-227965" defTabSz="914400">
              <a:buClr>
                <a:srgbClr val="0251E6"/>
              </a:buClr>
            </a:pPr>
            <a:r>
              <a:rPr lang="en-US" sz="1800" b="1">
                <a:solidFill>
                  <a:srgbClr val="1B3349"/>
                </a:solidFill>
                <a:latin typeface="Franklin Gothic Book"/>
              </a:rPr>
              <a:t>Memphis</a:t>
            </a:r>
          </a:p>
          <a:p>
            <a:pPr marL="227965" lvl="1" indent="-227965" defTabSz="914400">
              <a:buClr>
                <a:srgbClr val="0251E6"/>
              </a:buClr>
            </a:pPr>
            <a:r>
              <a:rPr lang="en-US" sz="1800" b="1">
                <a:solidFill>
                  <a:srgbClr val="1B3349"/>
                </a:solidFill>
                <a:latin typeface="Franklin Gothic Book"/>
              </a:rPr>
              <a:t>San Francisco/Bay Area</a:t>
            </a:r>
          </a:p>
          <a:p>
            <a:pPr marL="227965" lvl="1" indent="-227965" defTabSz="914400">
              <a:buClr>
                <a:srgbClr val="0251E6"/>
              </a:buClr>
            </a:pPr>
            <a:r>
              <a:rPr lang="en-US" sz="1800" b="1">
                <a:solidFill>
                  <a:srgbClr val="1B3349"/>
                </a:solidFill>
                <a:latin typeface="Franklin Gothic Book"/>
              </a:rPr>
              <a:t>FAA Technical Support Services</a:t>
            </a:r>
          </a:p>
          <a:p>
            <a:pPr marL="227965" lvl="1" indent="-227965" defTabSz="914400">
              <a:buClr>
                <a:srgbClr val="0251E6"/>
              </a:buClr>
            </a:pPr>
            <a:endParaRPr lang="en-US">
              <a:solidFill>
                <a:srgbClr val="1B3349"/>
              </a:solidFill>
              <a:latin typeface="Franklin Gothic Book"/>
            </a:endParaRPr>
          </a:p>
          <a:p>
            <a:pPr marL="0" lvl="1" indent="0" defTabSz="914400">
              <a:spcBef>
                <a:spcPts val="1400"/>
              </a:spcBef>
              <a:buClr>
                <a:schemeClr val="accent1"/>
              </a:buClr>
              <a:buNone/>
            </a:pPr>
            <a:r>
              <a:rPr lang="en-US" sz="2400" kern="0">
                <a:solidFill>
                  <a:schemeClr val="tx1"/>
                </a:solidFill>
                <a:latin typeface="Franklin Gothic Medium"/>
              </a:rPr>
              <a:t>CDOT</a:t>
            </a:r>
          </a:p>
          <a:p>
            <a:pPr marL="227965" lvl="1" indent="-227965" defTabSz="914400">
              <a:buClr>
                <a:srgbClr val="0251E6"/>
              </a:buClr>
            </a:pPr>
            <a:r>
              <a:rPr lang="en-US" sz="1800" b="1" kern="0"/>
              <a:t>General Engineering NPS Contract</a:t>
            </a:r>
          </a:p>
          <a:p>
            <a:pPr marL="0" lvl="1" indent="0" algn="ctr" defTabSz="914400">
              <a:spcBef>
                <a:spcPts val="1400"/>
              </a:spcBef>
              <a:buNone/>
            </a:pPr>
            <a:endParaRPr lang="en-US" sz="2400" kern="0">
              <a:solidFill>
                <a:schemeClr val="tx1"/>
              </a:solidFill>
              <a:latin typeface="Franklin Gothic Medium"/>
            </a:endParaRPr>
          </a:p>
          <a:p>
            <a:pPr marL="0" lvl="1" indent="0" algn="ctr" defTabSz="914400">
              <a:spcBef>
                <a:spcPts val="1400"/>
              </a:spcBef>
              <a:buNone/>
            </a:pPr>
            <a:r>
              <a:rPr lang="en-US" sz="2400" kern="0">
                <a:solidFill>
                  <a:schemeClr val="tx1"/>
                </a:solidFill>
                <a:latin typeface="Franklin Gothic Medium"/>
              </a:rPr>
              <a:t>Track record of supporting SBE/MWBE/DBE as Prime or Subcontractor</a:t>
            </a:r>
            <a:endParaRPr lang="en-US">
              <a:solidFill>
                <a:schemeClr val="tx1"/>
              </a:solidFill>
            </a:endParaRPr>
          </a:p>
        </p:txBody>
      </p:sp>
      <p:pic>
        <p:nvPicPr>
          <p:cNvPr id="9" name="Picture 8" descr="Sined document for the Equity in Infrastructure Project">
            <a:extLst>
              <a:ext uri="{FF2B5EF4-FFF2-40B4-BE49-F238E27FC236}">
                <a16:creationId xmlns:a16="http://schemas.microsoft.com/office/drawing/2014/main" id="{17B5F5F5-1A80-C44C-7D49-FF7828FEE02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37390" y="1277623"/>
            <a:ext cx="4585683" cy="3057122"/>
          </a:xfrm>
          <a:prstGeom prst="rect">
            <a:avLst/>
          </a:prstGeom>
        </p:spPr>
      </p:pic>
      <p:sp>
        <p:nvSpPr>
          <p:cNvPr id="3" name="Footer Placeholder 2">
            <a:extLst>
              <a:ext uri="{FF2B5EF4-FFF2-40B4-BE49-F238E27FC236}">
                <a16:creationId xmlns:a16="http://schemas.microsoft.com/office/drawing/2014/main" id="{C81BC79F-C36E-C847-8E5A-3461035D4233}"/>
              </a:ext>
              <a:ext uri="{C183D7F6-B498-43B3-948B-1728B52AA6E4}">
                <adec:decorative xmlns:adec="http://schemas.microsoft.com/office/drawing/2017/decorative" val="1"/>
              </a:ext>
            </a:extLst>
          </p:cNvPr>
          <p:cNvSpPr>
            <a:spLocks noGrp="1"/>
          </p:cNvSpPr>
          <p:nvPr>
            <p:ph type="ftr" sz="quarter" idx="14"/>
          </p:nvPr>
        </p:nvSpPr>
        <p:spPr/>
        <p:txBody>
          <a:bodyPr/>
          <a:lstStyle/>
          <a:p>
            <a:r>
              <a:rPr lang="en-US"/>
              <a:t>Sensitive / Proprietary</a:t>
            </a:r>
            <a:endParaRPr lang="en-US">
              <a:latin typeface="Franklin Gothic Medium" panose="020B0603020102020204" pitchFamily="34" charset="0"/>
            </a:endParaRPr>
          </a:p>
        </p:txBody>
      </p:sp>
      <p:sp>
        <p:nvSpPr>
          <p:cNvPr id="4" name="Slide Number Placeholder 3">
            <a:extLst>
              <a:ext uri="{FF2B5EF4-FFF2-40B4-BE49-F238E27FC236}">
                <a16:creationId xmlns:a16="http://schemas.microsoft.com/office/drawing/2014/main" id="{914C8DE8-9DB7-3743-918D-6CB02C15B1DD}"/>
              </a:ext>
              <a:ext uri="{C183D7F6-B498-43B3-948B-1728B52AA6E4}">
                <adec:decorative xmlns:adec="http://schemas.microsoft.com/office/drawing/2017/decorative" val="1"/>
              </a:ext>
            </a:extLst>
          </p:cNvPr>
          <p:cNvSpPr>
            <a:spLocks noGrp="1"/>
          </p:cNvSpPr>
          <p:nvPr>
            <p:ph type="sldNum" sz="quarter" idx="15"/>
          </p:nvPr>
        </p:nvSpPr>
        <p:spPr/>
        <p:txBody>
          <a:bodyPr/>
          <a:lstStyle/>
          <a:p>
            <a:pPr fontAlgn="base">
              <a:spcBef>
                <a:spcPct val="0"/>
              </a:spcBef>
              <a:spcAft>
                <a:spcPct val="0"/>
              </a:spcAft>
            </a:pPr>
            <a:fld id="{8A5743FA-19ED-4A9D-9D57-C0E819892670}" type="slidenum">
              <a:rPr lang="en-US" smtClean="0"/>
              <a:pPr fontAlgn="base">
                <a:spcBef>
                  <a:spcPct val="0"/>
                </a:spcBef>
                <a:spcAft>
                  <a:spcPct val="0"/>
                </a:spcAft>
              </a:pPr>
              <a:t>29</a:t>
            </a:fld>
            <a:endParaRPr lang="en-US"/>
          </a:p>
        </p:txBody>
      </p:sp>
      <p:grpSp>
        <p:nvGrpSpPr>
          <p:cNvPr id="2" name="Group 1">
            <a:extLst>
              <a:ext uri="{FF2B5EF4-FFF2-40B4-BE49-F238E27FC236}">
                <a16:creationId xmlns:a16="http://schemas.microsoft.com/office/drawing/2014/main" id="{2360D40C-6073-5369-AE8B-29534A1FDF5F}"/>
              </a:ext>
              <a:ext uri="{C183D7F6-B498-43B3-948B-1728B52AA6E4}">
                <adec:decorative xmlns:adec="http://schemas.microsoft.com/office/drawing/2017/decorative" val="1"/>
              </a:ext>
            </a:extLst>
          </p:cNvPr>
          <p:cNvGrpSpPr/>
          <p:nvPr/>
        </p:nvGrpSpPr>
        <p:grpSpPr>
          <a:xfrm>
            <a:off x="11657958" y="0"/>
            <a:ext cx="534042" cy="536448"/>
            <a:chOff x="11657958" y="0"/>
            <a:chExt cx="534042" cy="536448"/>
          </a:xfrm>
        </p:grpSpPr>
        <p:sp>
          <p:nvSpPr>
            <p:cNvPr id="7" name="Rectangle 6">
              <a:extLst>
                <a:ext uri="{FF2B5EF4-FFF2-40B4-BE49-F238E27FC236}">
                  <a16:creationId xmlns:a16="http://schemas.microsoft.com/office/drawing/2014/main" id="{4EA90410-8FBD-7A75-E92C-8EAA817B4594}"/>
                </a:ext>
              </a:extLst>
            </p:cNvPr>
            <p:cNvSpPr/>
            <p:nvPr userDrawn="1"/>
          </p:nvSpPr>
          <p:spPr>
            <a:xfrm>
              <a:off x="11657958" y="0"/>
              <a:ext cx="534042" cy="536448"/>
            </a:xfrm>
            <a:prstGeom prst="rect">
              <a:avLst/>
            </a:prstGeom>
            <a:solidFill>
              <a:srgbClr val="081931">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835AF76A-4E8A-A617-9A15-D67BE5C76A4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801916" y="110917"/>
              <a:ext cx="265176" cy="314615"/>
            </a:xfrm>
            <a:prstGeom prst="rect">
              <a:avLst/>
            </a:prstGeom>
          </p:spPr>
        </p:pic>
      </p:grpSp>
    </p:spTree>
    <p:extLst>
      <p:ext uri="{BB962C8B-B14F-4D97-AF65-F5344CB8AC3E}">
        <p14:creationId xmlns:p14="http://schemas.microsoft.com/office/powerpoint/2010/main" val="408100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object 55" descr="Vision 100 and Operation 2045 are two phases of DEN’s strategic plan. Vision 100 is phase one and is focused on preparing the airport to serve 100 million annual passengers in the next several years. Operation 2045 is phase two and is focused on preparing the airport for its 50th anniversary in 2045 and for an expected 120 million-plus annual passengers. Both phases combined serve as a blueprint to align decision-making and accountability.&#10;&#10;">
            <a:extLst>
              <a:ext uri="{C183D7F6-B498-43B3-948B-1728B52AA6E4}">
                <adec:decorative xmlns:adec="http://schemas.microsoft.com/office/drawing/2017/decorative" val="0"/>
              </a:ext>
            </a:extLst>
          </p:cNvPr>
          <p:cNvGrpSpPr/>
          <p:nvPr/>
        </p:nvGrpSpPr>
        <p:grpSpPr>
          <a:xfrm>
            <a:off x="428" y="-13551"/>
            <a:ext cx="12191144" cy="6623111"/>
            <a:chOff x="0" y="0"/>
            <a:chExt cx="20104100" cy="10922000"/>
          </a:xfrm>
        </p:grpSpPr>
        <p:sp>
          <p:nvSpPr>
            <p:cNvPr id="56" name="object 56"/>
            <p:cNvSpPr/>
            <p:nvPr/>
          </p:nvSpPr>
          <p:spPr>
            <a:xfrm>
              <a:off x="1862864" y="8879847"/>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object 57"/>
            <p:cNvSpPr/>
            <p:nvPr/>
          </p:nvSpPr>
          <p:spPr>
            <a:xfrm>
              <a:off x="1862864" y="8879847"/>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1862864" y="10089400"/>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1862864" y="10089400"/>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10619595" y="8792431"/>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10619595" y="8792431"/>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10619595" y="9992164"/>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10619595" y="9992164"/>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14902205" y="8728101"/>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14902205" y="8728101"/>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object 66"/>
            <p:cNvSpPr/>
            <p:nvPr/>
          </p:nvSpPr>
          <p:spPr>
            <a:xfrm>
              <a:off x="13894575" y="10182117"/>
              <a:ext cx="1984375" cy="459740"/>
            </a:xfrm>
            <a:custGeom>
              <a:avLst/>
              <a:gdLst/>
              <a:ahLst/>
              <a:cxnLst/>
              <a:rect l="l" t="t" r="r" b="b"/>
              <a:pathLst>
                <a:path w="1984375" h="459740">
                  <a:moveTo>
                    <a:pt x="361149" y="8839"/>
                  </a:moveTo>
                  <a:lnTo>
                    <a:pt x="313169" y="8839"/>
                  </a:lnTo>
                  <a:lnTo>
                    <a:pt x="180581" y="403466"/>
                  </a:lnTo>
                  <a:lnTo>
                    <a:pt x="47980" y="8839"/>
                  </a:lnTo>
                  <a:lnTo>
                    <a:pt x="0" y="8839"/>
                  </a:lnTo>
                  <a:lnTo>
                    <a:pt x="153428" y="450811"/>
                  </a:lnTo>
                  <a:lnTo>
                    <a:pt x="207733" y="450811"/>
                  </a:lnTo>
                  <a:lnTo>
                    <a:pt x="361149" y="8839"/>
                  </a:lnTo>
                  <a:close/>
                </a:path>
                <a:path w="1984375" h="459740">
                  <a:moveTo>
                    <a:pt x="487451" y="8839"/>
                  </a:moveTo>
                  <a:lnTo>
                    <a:pt x="438200" y="8839"/>
                  </a:lnTo>
                  <a:lnTo>
                    <a:pt x="438200" y="450811"/>
                  </a:lnTo>
                  <a:lnTo>
                    <a:pt x="487451" y="450811"/>
                  </a:lnTo>
                  <a:lnTo>
                    <a:pt x="487451" y="8839"/>
                  </a:lnTo>
                  <a:close/>
                </a:path>
                <a:path w="1984375" h="459740">
                  <a:moveTo>
                    <a:pt x="920572" y="328955"/>
                  </a:moveTo>
                  <a:lnTo>
                    <a:pt x="913714" y="290258"/>
                  </a:lnTo>
                  <a:lnTo>
                    <a:pt x="865174" y="236524"/>
                  </a:lnTo>
                  <a:lnTo>
                    <a:pt x="827760" y="221627"/>
                  </a:lnTo>
                  <a:lnTo>
                    <a:pt x="699592" y="187528"/>
                  </a:lnTo>
                  <a:lnTo>
                    <a:pt x="675030" y="177863"/>
                  </a:lnTo>
                  <a:lnTo>
                    <a:pt x="657923" y="163690"/>
                  </a:lnTo>
                  <a:lnTo>
                    <a:pt x="647915" y="144551"/>
                  </a:lnTo>
                  <a:lnTo>
                    <a:pt x="644664" y="119964"/>
                  </a:lnTo>
                  <a:lnTo>
                    <a:pt x="652437" y="85229"/>
                  </a:lnTo>
                  <a:lnTo>
                    <a:pt x="674179" y="59905"/>
                  </a:lnTo>
                  <a:lnTo>
                    <a:pt x="707529" y="44411"/>
                  </a:lnTo>
                  <a:lnTo>
                    <a:pt x="750112" y="39154"/>
                  </a:lnTo>
                  <a:lnTo>
                    <a:pt x="795845" y="45593"/>
                  </a:lnTo>
                  <a:lnTo>
                    <a:pt x="829970" y="63690"/>
                  </a:lnTo>
                  <a:lnTo>
                    <a:pt x="851319" y="91630"/>
                  </a:lnTo>
                  <a:lnTo>
                    <a:pt x="858697" y="127546"/>
                  </a:lnTo>
                  <a:lnTo>
                    <a:pt x="858697" y="137007"/>
                  </a:lnTo>
                  <a:lnTo>
                    <a:pt x="904798" y="137007"/>
                  </a:lnTo>
                  <a:lnTo>
                    <a:pt x="904798" y="126276"/>
                  </a:lnTo>
                  <a:lnTo>
                    <a:pt x="897432" y="84289"/>
                  </a:lnTo>
                  <a:lnTo>
                    <a:pt x="876528" y="49377"/>
                  </a:lnTo>
                  <a:lnTo>
                    <a:pt x="843838" y="22821"/>
                  </a:lnTo>
                  <a:lnTo>
                    <a:pt x="801103" y="5930"/>
                  </a:lnTo>
                  <a:lnTo>
                    <a:pt x="750112" y="0"/>
                  </a:lnTo>
                  <a:lnTo>
                    <a:pt x="699300" y="5359"/>
                  </a:lnTo>
                  <a:lnTo>
                    <a:pt x="657047" y="21018"/>
                  </a:lnTo>
                  <a:lnTo>
                    <a:pt x="624903" y="46380"/>
                  </a:lnTo>
                  <a:lnTo>
                    <a:pt x="604469" y="80822"/>
                  </a:lnTo>
                  <a:lnTo>
                    <a:pt x="597306" y="123761"/>
                  </a:lnTo>
                  <a:lnTo>
                    <a:pt x="602056" y="159029"/>
                  </a:lnTo>
                  <a:lnTo>
                    <a:pt x="617270" y="188633"/>
                  </a:lnTo>
                  <a:lnTo>
                    <a:pt x="644448" y="211836"/>
                  </a:lnTo>
                  <a:lnTo>
                    <a:pt x="685076" y="227939"/>
                  </a:lnTo>
                  <a:lnTo>
                    <a:pt x="810094" y="260769"/>
                  </a:lnTo>
                  <a:lnTo>
                    <a:pt x="837260" y="271475"/>
                  </a:lnTo>
                  <a:lnTo>
                    <a:pt x="857046" y="287286"/>
                  </a:lnTo>
                  <a:lnTo>
                    <a:pt x="869124" y="307822"/>
                  </a:lnTo>
                  <a:lnTo>
                    <a:pt x="873226" y="332740"/>
                  </a:lnTo>
                  <a:lnTo>
                    <a:pt x="865187" y="370166"/>
                  </a:lnTo>
                  <a:lnTo>
                    <a:pt x="842048" y="397700"/>
                  </a:lnTo>
                  <a:lnTo>
                    <a:pt x="805294" y="414705"/>
                  </a:lnTo>
                  <a:lnTo>
                    <a:pt x="756412" y="420509"/>
                  </a:lnTo>
                  <a:lnTo>
                    <a:pt x="707072" y="413727"/>
                  </a:lnTo>
                  <a:lnTo>
                    <a:pt x="669912" y="394627"/>
                  </a:lnTo>
                  <a:lnTo>
                    <a:pt x="646493" y="365099"/>
                  </a:lnTo>
                  <a:lnTo>
                    <a:pt x="638352" y="327063"/>
                  </a:lnTo>
                  <a:lnTo>
                    <a:pt x="638352" y="316953"/>
                  </a:lnTo>
                  <a:lnTo>
                    <a:pt x="591629" y="316953"/>
                  </a:lnTo>
                  <a:lnTo>
                    <a:pt x="591629" y="328320"/>
                  </a:lnTo>
                  <a:lnTo>
                    <a:pt x="599732" y="373011"/>
                  </a:lnTo>
                  <a:lnTo>
                    <a:pt x="622541" y="409460"/>
                  </a:lnTo>
                  <a:lnTo>
                    <a:pt x="657771" y="436702"/>
                  </a:lnTo>
                  <a:lnTo>
                    <a:pt x="703148" y="453758"/>
                  </a:lnTo>
                  <a:lnTo>
                    <a:pt x="756412" y="459651"/>
                  </a:lnTo>
                  <a:lnTo>
                    <a:pt x="809612" y="453821"/>
                  </a:lnTo>
                  <a:lnTo>
                    <a:pt x="854849" y="436930"/>
                  </a:lnTo>
                  <a:lnTo>
                    <a:pt x="889889" y="409879"/>
                  </a:lnTo>
                  <a:lnTo>
                    <a:pt x="912533" y="373583"/>
                  </a:lnTo>
                  <a:lnTo>
                    <a:pt x="920572" y="328955"/>
                  </a:lnTo>
                  <a:close/>
                </a:path>
                <a:path w="1984375" h="459740">
                  <a:moveTo>
                    <a:pt x="1068971" y="8839"/>
                  </a:moveTo>
                  <a:lnTo>
                    <a:pt x="1019721" y="8839"/>
                  </a:lnTo>
                  <a:lnTo>
                    <a:pt x="1019721" y="450811"/>
                  </a:lnTo>
                  <a:lnTo>
                    <a:pt x="1068971" y="450811"/>
                  </a:lnTo>
                  <a:lnTo>
                    <a:pt x="1068971" y="8839"/>
                  </a:lnTo>
                  <a:close/>
                </a:path>
                <a:path w="1984375" h="459740">
                  <a:moveTo>
                    <a:pt x="1545031" y="194475"/>
                  </a:moveTo>
                  <a:lnTo>
                    <a:pt x="1541246" y="150101"/>
                  </a:lnTo>
                  <a:lnTo>
                    <a:pt x="1529880" y="109258"/>
                  </a:lnTo>
                  <a:lnTo>
                    <a:pt x="1510931" y="73139"/>
                  </a:lnTo>
                  <a:lnTo>
                    <a:pt x="1495780" y="55892"/>
                  </a:lnTo>
                  <a:lnTo>
                    <a:pt x="1495780" y="191947"/>
                  </a:lnTo>
                  <a:lnTo>
                    <a:pt x="1495780" y="267716"/>
                  </a:lnTo>
                  <a:lnTo>
                    <a:pt x="1490637" y="315404"/>
                  </a:lnTo>
                  <a:lnTo>
                    <a:pt x="1474876" y="356831"/>
                  </a:lnTo>
                  <a:lnTo>
                    <a:pt x="1448054" y="389496"/>
                  </a:lnTo>
                  <a:lnTo>
                    <a:pt x="1409712" y="410921"/>
                  </a:lnTo>
                  <a:lnTo>
                    <a:pt x="1359408" y="418617"/>
                  </a:lnTo>
                  <a:lnTo>
                    <a:pt x="1309090" y="410921"/>
                  </a:lnTo>
                  <a:lnTo>
                    <a:pt x="1270762" y="389496"/>
                  </a:lnTo>
                  <a:lnTo>
                    <a:pt x="1243939" y="356831"/>
                  </a:lnTo>
                  <a:lnTo>
                    <a:pt x="1228178" y="315404"/>
                  </a:lnTo>
                  <a:lnTo>
                    <a:pt x="1223022" y="267716"/>
                  </a:lnTo>
                  <a:lnTo>
                    <a:pt x="1223022" y="191947"/>
                  </a:lnTo>
                  <a:lnTo>
                    <a:pt x="1228178" y="144246"/>
                  </a:lnTo>
                  <a:lnTo>
                    <a:pt x="1243939" y="102819"/>
                  </a:lnTo>
                  <a:lnTo>
                    <a:pt x="1270762" y="70154"/>
                  </a:lnTo>
                  <a:lnTo>
                    <a:pt x="1309090" y="48729"/>
                  </a:lnTo>
                  <a:lnTo>
                    <a:pt x="1359408" y="41046"/>
                  </a:lnTo>
                  <a:lnTo>
                    <a:pt x="1409712" y="48729"/>
                  </a:lnTo>
                  <a:lnTo>
                    <a:pt x="1448054" y="70154"/>
                  </a:lnTo>
                  <a:lnTo>
                    <a:pt x="1474876" y="102819"/>
                  </a:lnTo>
                  <a:lnTo>
                    <a:pt x="1490637" y="144246"/>
                  </a:lnTo>
                  <a:lnTo>
                    <a:pt x="1495780" y="191947"/>
                  </a:lnTo>
                  <a:lnTo>
                    <a:pt x="1495780" y="55892"/>
                  </a:lnTo>
                  <a:lnTo>
                    <a:pt x="1484414" y="42938"/>
                  </a:lnTo>
                  <a:lnTo>
                    <a:pt x="1481607" y="41046"/>
                  </a:lnTo>
                  <a:lnTo>
                    <a:pt x="1450327" y="19888"/>
                  </a:lnTo>
                  <a:lnTo>
                    <a:pt x="1408645" y="5168"/>
                  </a:lnTo>
                  <a:lnTo>
                    <a:pt x="1359408" y="0"/>
                  </a:lnTo>
                  <a:lnTo>
                    <a:pt x="1310157" y="5168"/>
                  </a:lnTo>
                  <a:lnTo>
                    <a:pt x="1268488" y="19888"/>
                  </a:lnTo>
                  <a:lnTo>
                    <a:pt x="1234389" y="42938"/>
                  </a:lnTo>
                  <a:lnTo>
                    <a:pt x="1207871" y="73139"/>
                  </a:lnTo>
                  <a:lnTo>
                    <a:pt x="1188923" y="109258"/>
                  </a:lnTo>
                  <a:lnTo>
                    <a:pt x="1177569" y="150101"/>
                  </a:lnTo>
                  <a:lnTo>
                    <a:pt x="1173772" y="194475"/>
                  </a:lnTo>
                  <a:lnTo>
                    <a:pt x="1173772" y="265188"/>
                  </a:lnTo>
                  <a:lnTo>
                    <a:pt x="1177569" y="309562"/>
                  </a:lnTo>
                  <a:lnTo>
                    <a:pt x="1188923" y="350405"/>
                  </a:lnTo>
                  <a:lnTo>
                    <a:pt x="1207871" y="386524"/>
                  </a:lnTo>
                  <a:lnTo>
                    <a:pt x="1234389" y="416712"/>
                  </a:lnTo>
                  <a:lnTo>
                    <a:pt x="1268488" y="439762"/>
                  </a:lnTo>
                  <a:lnTo>
                    <a:pt x="1310157" y="454482"/>
                  </a:lnTo>
                  <a:lnTo>
                    <a:pt x="1359408" y="459651"/>
                  </a:lnTo>
                  <a:lnTo>
                    <a:pt x="1408645" y="454482"/>
                  </a:lnTo>
                  <a:lnTo>
                    <a:pt x="1450327" y="439762"/>
                  </a:lnTo>
                  <a:lnTo>
                    <a:pt x="1484414" y="416712"/>
                  </a:lnTo>
                  <a:lnTo>
                    <a:pt x="1510931" y="386524"/>
                  </a:lnTo>
                  <a:lnTo>
                    <a:pt x="1529880" y="350405"/>
                  </a:lnTo>
                  <a:lnTo>
                    <a:pt x="1541246" y="309562"/>
                  </a:lnTo>
                  <a:lnTo>
                    <a:pt x="1545031" y="265188"/>
                  </a:lnTo>
                  <a:lnTo>
                    <a:pt x="1545031" y="194475"/>
                  </a:lnTo>
                  <a:close/>
                </a:path>
                <a:path w="1984375" h="459740">
                  <a:moveTo>
                    <a:pt x="1983867" y="8839"/>
                  </a:moveTo>
                  <a:lnTo>
                    <a:pt x="1935886" y="8839"/>
                  </a:lnTo>
                  <a:lnTo>
                    <a:pt x="1935886" y="371894"/>
                  </a:lnTo>
                  <a:lnTo>
                    <a:pt x="1692795" y="8839"/>
                  </a:lnTo>
                  <a:lnTo>
                    <a:pt x="1646707" y="8839"/>
                  </a:lnTo>
                  <a:lnTo>
                    <a:pt x="1646707" y="450811"/>
                  </a:lnTo>
                  <a:lnTo>
                    <a:pt x="1694688" y="450811"/>
                  </a:lnTo>
                  <a:lnTo>
                    <a:pt x="1694688" y="87757"/>
                  </a:lnTo>
                  <a:lnTo>
                    <a:pt x="1937778" y="450811"/>
                  </a:lnTo>
                  <a:lnTo>
                    <a:pt x="1983867" y="450811"/>
                  </a:lnTo>
                  <a:lnTo>
                    <a:pt x="1983867" y="8839"/>
                  </a:lnTo>
                  <a:close/>
                </a:path>
              </a:pathLst>
            </a:custGeom>
            <a:solidFill>
              <a:srgbClr val="48329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object 67"/>
            <p:cNvSpPr/>
            <p:nvPr/>
          </p:nvSpPr>
          <p:spPr>
            <a:xfrm>
              <a:off x="17177334" y="10181608"/>
              <a:ext cx="1289685" cy="460375"/>
            </a:xfrm>
            <a:custGeom>
              <a:avLst/>
              <a:gdLst/>
              <a:ahLst/>
              <a:cxnLst/>
              <a:rect l="l" t="t" r="r" b="b"/>
              <a:pathLst>
                <a:path w="1289684" h="460375">
                  <a:moveTo>
                    <a:pt x="419608" y="227037"/>
                  </a:moveTo>
                  <a:lnTo>
                    <a:pt x="416344" y="181571"/>
                  </a:lnTo>
                  <a:lnTo>
                    <a:pt x="406577" y="140716"/>
                  </a:lnTo>
                  <a:lnTo>
                    <a:pt x="390398" y="104686"/>
                  </a:lnTo>
                  <a:lnTo>
                    <a:pt x="367880" y="73660"/>
                  </a:lnTo>
                  <a:lnTo>
                    <a:pt x="339102" y="47840"/>
                  </a:lnTo>
                  <a:lnTo>
                    <a:pt x="304139" y="27419"/>
                  </a:lnTo>
                  <a:lnTo>
                    <a:pt x="292214" y="23114"/>
                  </a:lnTo>
                  <a:lnTo>
                    <a:pt x="292214" y="228358"/>
                  </a:lnTo>
                  <a:lnTo>
                    <a:pt x="284924" y="282943"/>
                  </a:lnTo>
                  <a:lnTo>
                    <a:pt x="262991" y="324307"/>
                  </a:lnTo>
                  <a:lnTo>
                    <a:pt x="226288" y="350520"/>
                  </a:lnTo>
                  <a:lnTo>
                    <a:pt x="174675" y="359689"/>
                  </a:lnTo>
                  <a:lnTo>
                    <a:pt x="126733" y="359689"/>
                  </a:lnTo>
                  <a:lnTo>
                    <a:pt x="126733" y="100952"/>
                  </a:lnTo>
                  <a:lnTo>
                    <a:pt x="174675" y="100952"/>
                  </a:lnTo>
                  <a:lnTo>
                    <a:pt x="224904" y="109969"/>
                  </a:lnTo>
                  <a:lnTo>
                    <a:pt x="261759" y="135597"/>
                  </a:lnTo>
                  <a:lnTo>
                    <a:pt x="284467" y="175755"/>
                  </a:lnTo>
                  <a:lnTo>
                    <a:pt x="292214" y="228358"/>
                  </a:lnTo>
                  <a:lnTo>
                    <a:pt x="292214" y="23114"/>
                  </a:lnTo>
                  <a:lnTo>
                    <a:pt x="263055" y="12585"/>
                  </a:lnTo>
                  <a:lnTo>
                    <a:pt x="215938" y="3556"/>
                  </a:lnTo>
                  <a:lnTo>
                    <a:pt x="162852" y="495"/>
                  </a:lnTo>
                  <a:lnTo>
                    <a:pt x="0" y="495"/>
                  </a:lnTo>
                  <a:lnTo>
                    <a:pt x="0" y="460159"/>
                  </a:lnTo>
                  <a:lnTo>
                    <a:pt x="162852" y="460159"/>
                  </a:lnTo>
                  <a:lnTo>
                    <a:pt x="217665" y="457022"/>
                  </a:lnTo>
                  <a:lnTo>
                    <a:pt x="265696" y="447763"/>
                  </a:lnTo>
                  <a:lnTo>
                    <a:pt x="307047" y="432549"/>
                  </a:lnTo>
                  <a:lnTo>
                    <a:pt x="341807" y="411581"/>
                  </a:lnTo>
                  <a:lnTo>
                    <a:pt x="370039" y="385051"/>
                  </a:lnTo>
                  <a:lnTo>
                    <a:pt x="391858" y="353148"/>
                  </a:lnTo>
                  <a:lnTo>
                    <a:pt x="407327" y="316039"/>
                  </a:lnTo>
                  <a:lnTo>
                    <a:pt x="416560" y="273951"/>
                  </a:lnTo>
                  <a:lnTo>
                    <a:pt x="419519" y="228358"/>
                  </a:lnTo>
                  <a:lnTo>
                    <a:pt x="419608" y="227037"/>
                  </a:lnTo>
                  <a:close/>
                </a:path>
                <a:path w="1289684" h="460375">
                  <a:moveTo>
                    <a:pt x="818857" y="350520"/>
                  </a:moveTo>
                  <a:lnTo>
                    <a:pt x="596900" y="350520"/>
                  </a:lnTo>
                  <a:lnTo>
                    <a:pt x="596900" y="274320"/>
                  </a:lnTo>
                  <a:lnTo>
                    <a:pt x="791286" y="274320"/>
                  </a:lnTo>
                  <a:lnTo>
                    <a:pt x="791286" y="180340"/>
                  </a:lnTo>
                  <a:lnTo>
                    <a:pt x="596900" y="180340"/>
                  </a:lnTo>
                  <a:lnTo>
                    <a:pt x="596900" y="109220"/>
                  </a:lnTo>
                  <a:lnTo>
                    <a:pt x="816876" y="109220"/>
                  </a:lnTo>
                  <a:lnTo>
                    <a:pt x="816876" y="0"/>
                  </a:lnTo>
                  <a:lnTo>
                    <a:pt x="470166" y="0"/>
                  </a:lnTo>
                  <a:lnTo>
                    <a:pt x="470166" y="109220"/>
                  </a:lnTo>
                  <a:lnTo>
                    <a:pt x="470166" y="180340"/>
                  </a:lnTo>
                  <a:lnTo>
                    <a:pt x="470166" y="274320"/>
                  </a:lnTo>
                  <a:lnTo>
                    <a:pt x="470166" y="350520"/>
                  </a:lnTo>
                  <a:lnTo>
                    <a:pt x="470166" y="459740"/>
                  </a:lnTo>
                  <a:lnTo>
                    <a:pt x="818857" y="459740"/>
                  </a:lnTo>
                  <a:lnTo>
                    <a:pt x="818857" y="350520"/>
                  </a:lnTo>
                  <a:close/>
                </a:path>
                <a:path w="1289684" h="460375">
                  <a:moveTo>
                    <a:pt x="1289685" y="495"/>
                  </a:moveTo>
                  <a:lnTo>
                    <a:pt x="1170165" y="495"/>
                  </a:lnTo>
                  <a:lnTo>
                    <a:pt x="1170165" y="261848"/>
                  </a:lnTo>
                  <a:lnTo>
                    <a:pt x="998118" y="495"/>
                  </a:lnTo>
                  <a:lnTo>
                    <a:pt x="877951" y="495"/>
                  </a:lnTo>
                  <a:lnTo>
                    <a:pt x="877951" y="460159"/>
                  </a:lnTo>
                  <a:lnTo>
                    <a:pt x="997470" y="460159"/>
                  </a:lnTo>
                  <a:lnTo>
                    <a:pt x="997470" y="200113"/>
                  </a:lnTo>
                  <a:lnTo>
                    <a:pt x="1170165" y="460159"/>
                  </a:lnTo>
                  <a:lnTo>
                    <a:pt x="1289685" y="460159"/>
                  </a:lnTo>
                  <a:lnTo>
                    <a:pt x="1289685" y="495"/>
                  </a:lnTo>
                  <a:close/>
                </a:path>
              </a:pathLst>
            </a:custGeom>
            <a:solidFill>
              <a:srgbClr val="E05929"/>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object 68">
              <a:extLst>
                <a:ext uri="{C183D7F6-B498-43B3-948B-1728B52AA6E4}">
                  <adec:decorative xmlns:adec="http://schemas.microsoft.com/office/drawing/2017/decorative" val="1"/>
                </a:ext>
              </a:extLst>
            </p:cNvPr>
            <p:cNvSpPr/>
            <p:nvPr/>
          </p:nvSpPr>
          <p:spPr>
            <a:xfrm>
              <a:off x="13903757" y="10182117"/>
              <a:ext cx="4982210" cy="739775"/>
            </a:xfrm>
            <a:custGeom>
              <a:avLst/>
              <a:gdLst/>
              <a:ahLst/>
              <a:cxnLst/>
              <a:rect l="l" t="t" r="r" b="b"/>
              <a:pathLst>
                <a:path w="4982209" h="739775">
                  <a:moveTo>
                    <a:pt x="2305608" y="8851"/>
                  </a:moveTo>
                  <a:lnTo>
                    <a:pt x="2233625" y="8851"/>
                  </a:lnTo>
                  <a:lnTo>
                    <a:pt x="2124392" y="54927"/>
                  </a:lnTo>
                  <a:lnTo>
                    <a:pt x="2124392" y="131965"/>
                  </a:lnTo>
                  <a:lnTo>
                    <a:pt x="2218474" y="97243"/>
                  </a:lnTo>
                  <a:lnTo>
                    <a:pt x="2218474" y="450811"/>
                  </a:lnTo>
                  <a:lnTo>
                    <a:pt x="2305608" y="450811"/>
                  </a:lnTo>
                  <a:lnTo>
                    <a:pt x="2305608" y="8851"/>
                  </a:lnTo>
                  <a:close/>
                </a:path>
                <a:path w="4982209" h="739775">
                  <a:moveTo>
                    <a:pt x="2726118" y="154063"/>
                  </a:moveTo>
                  <a:lnTo>
                    <a:pt x="2720835" y="111302"/>
                  </a:lnTo>
                  <a:lnTo>
                    <a:pt x="2705493" y="73990"/>
                  </a:lnTo>
                  <a:lnTo>
                    <a:pt x="2680893" y="43180"/>
                  </a:lnTo>
                  <a:lnTo>
                    <a:pt x="2647823" y="19875"/>
                  </a:lnTo>
                  <a:lnTo>
                    <a:pt x="2638983" y="16687"/>
                  </a:lnTo>
                  <a:lnTo>
                    <a:pt x="2638983" y="152793"/>
                  </a:lnTo>
                  <a:lnTo>
                    <a:pt x="2638983" y="306857"/>
                  </a:lnTo>
                  <a:lnTo>
                    <a:pt x="2633484" y="342226"/>
                  </a:lnTo>
                  <a:lnTo>
                    <a:pt x="2617686" y="367703"/>
                  </a:lnTo>
                  <a:lnTo>
                    <a:pt x="2592641" y="383133"/>
                  </a:lnTo>
                  <a:lnTo>
                    <a:pt x="2559431" y="388315"/>
                  </a:lnTo>
                  <a:lnTo>
                    <a:pt x="2526220" y="383133"/>
                  </a:lnTo>
                  <a:lnTo>
                    <a:pt x="2501188" y="367703"/>
                  </a:lnTo>
                  <a:lnTo>
                    <a:pt x="2485377" y="342226"/>
                  </a:lnTo>
                  <a:lnTo>
                    <a:pt x="2479878" y="306857"/>
                  </a:lnTo>
                  <a:lnTo>
                    <a:pt x="2479878" y="152793"/>
                  </a:lnTo>
                  <a:lnTo>
                    <a:pt x="2485377" y="117436"/>
                  </a:lnTo>
                  <a:lnTo>
                    <a:pt x="2501188" y="91948"/>
                  </a:lnTo>
                  <a:lnTo>
                    <a:pt x="2526220" y="76530"/>
                  </a:lnTo>
                  <a:lnTo>
                    <a:pt x="2559431" y="71348"/>
                  </a:lnTo>
                  <a:lnTo>
                    <a:pt x="2592641" y="76530"/>
                  </a:lnTo>
                  <a:lnTo>
                    <a:pt x="2617686" y="91948"/>
                  </a:lnTo>
                  <a:lnTo>
                    <a:pt x="2633484" y="117436"/>
                  </a:lnTo>
                  <a:lnTo>
                    <a:pt x="2638983" y="152793"/>
                  </a:lnTo>
                  <a:lnTo>
                    <a:pt x="2638983" y="16687"/>
                  </a:lnTo>
                  <a:lnTo>
                    <a:pt x="2607081" y="5143"/>
                  </a:lnTo>
                  <a:lnTo>
                    <a:pt x="2559431" y="0"/>
                  </a:lnTo>
                  <a:lnTo>
                    <a:pt x="2511793" y="5143"/>
                  </a:lnTo>
                  <a:lnTo>
                    <a:pt x="2471039" y="19875"/>
                  </a:lnTo>
                  <a:lnTo>
                    <a:pt x="2437968" y="43180"/>
                  </a:lnTo>
                  <a:lnTo>
                    <a:pt x="2413368" y="73990"/>
                  </a:lnTo>
                  <a:lnTo>
                    <a:pt x="2398039" y="111302"/>
                  </a:lnTo>
                  <a:lnTo>
                    <a:pt x="2392743" y="154063"/>
                  </a:lnTo>
                  <a:lnTo>
                    <a:pt x="2392743" y="305600"/>
                  </a:lnTo>
                  <a:lnTo>
                    <a:pt x="2398039" y="348361"/>
                  </a:lnTo>
                  <a:lnTo>
                    <a:pt x="2413368" y="385660"/>
                  </a:lnTo>
                  <a:lnTo>
                    <a:pt x="2437968" y="416483"/>
                  </a:lnTo>
                  <a:lnTo>
                    <a:pt x="2471039" y="439775"/>
                  </a:lnTo>
                  <a:lnTo>
                    <a:pt x="2511793" y="454507"/>
                  </a:lnTo>
                  <a:lnTo>
                    <a:pt x="2559431" y="459651"/>
                  </a:lnTo>
                  <a:lnTo>
                    <a:pt x="2607081" y="454507"/>
                  </a:lnTo>
                  <a:lnTo>
                    <a:pt x="2647823" y="439775"/>
                  </a:lnTo>
                  <a:lnTo>
                    <a:pt x="2680893" y="416483"/>
                  </a:lnTo>
                  <a:lnTo>
                    <a:pt x="2705493" y="385660"/>
                  </a:lnTo>
                  <a:lnTo>
                    <a:pt x="2720835" y="348361"/>
                  </a:lnTo>
                  <a:lnTo>
                    <a:pt x="2726118" y="305600"/>
                  </a:lnTo>
                  <a:lnTo>
                    <a:pt x="2726118" y="154063"/>
                  </a:lnTo>
                  <a:close/>
                </a:path>
                <a:path w="4982209" h="739775">
                  <a:moveTo>
                    <a:pt x="3130232" y="154063"/>
                  </a:moveTo>
                  <a:lnTo>
                    <a:pt x="3124936" y="111302"/>
                  </a:lnTo>
                  <a:lnTo>
                    <a:pt x="3109607" y="73990"/>
                  </a:lnTo>
                  <a:lnTo>
                    <a:pt x="3085007" y="43180"/>
                  </a:lnTo>
                  <a:lnTo>
                    <a:pt x="3051937" y="19875"/>
                  </a:lnTo>
                  <a:lnTo>
                    <a:pt x="3043097" y="16687"/>
                  </a:lnTo>
                  <a:lnTo>
                    <a:pt x="3043097" y="152793"/>
                  </a:lnTo>
                  <a:lnTo>
                    <a:pt x="3043097" y="306857"/>
                  </a:lnTo>
                  <a:lnTo>
                    <a:pt x="3037586" y="342226"/>
                  </a:lnTo>
                  <a:lnTo>
                    <a:pt x="3021787" y="367703"/>
                  </a:lnTo>
                  <a:lnTo>
                    <a:pt x="2996742" y="383133"/>
                  </a:lnTo>
                  <a:lnTo>
                    <a:pt x="2963545" y="388315"/>
                  </a:lnTo>
                  <a:lnTo>
                    <a:pt x="2930334" y="383133"/>
                  </a:lnTo>
                  <a:lnTo>
                    <a:pt x="2905290" y="367703"/>
                  </a:lnTo>
                  <a:lnTo>
                    <a:pt x="2889491" y="342226"/>
                  </a:lnTo>
                  <a:lnTo>
                    <a:pt x="2883979" y="306857"/>
                  </a:lnTo>
                  <a:lnTo>
                    <a:pt x="2883979" y="152793"/>
                  </a:lnTo>
                  <a:lnTo>
                    <a:pt x="2889491" y="117436"/>
                  </a:lnTo>
                  <a:lnTo>
                    <a:pt x="2905290" y="91948"/>
                  </a:lnTo>
                  <a:lnTo>
                    <a:pt x="2930334" y="76530"/>
                  </a:lnTo>
                  <a:lnTo>
                    <a:pt x="2963545" y="71348"/>
                  </a:lnTo>
                  <a:lnTo>
                    <a:pt x="2996742" y="76530"/>
                  </a:lnTo>
                  <a:lnTo>
                    <a:pt x="3021787" y="91948"/>
                  </a:lnTo>
                  <a:lnTo>
                    <a:pt x="3037586" y="117436"/>
                  </a:lnTo>
                  <a:lnTo>
                    <a:pt x="3043097" y="152793"/>
                  </a:lnTo>
                  <a:lnTo>
                    <a:pt x="3043097" y="16687"/>
                  </a:lnTo>
                  <a:lnTo>
                    <a:pt x="3011182" y="5143"/>
                  </a:lnTo>
                  <a:lnTo>
                    <a:pt x="2963545" y="0"/>
                  </a:lnTo>
                  <a:lnTo>
                    <a:pt x="2915894" y="5143"/>
                  </a:lnTo>
                  <a:lnTo>
                    <a:pt x="2875153" y="19875"/>
                  </a:lnTo>
                  <a:lnTo>
                    <a:pt x="2842082" y="43180"/>
                  </a:lnTo>
                  <a:lnTo>
                    <a:pt x="2817482" y="73990"/>
                  </a:lnTo>
                  <a:lnTo>
                    <a:pt x="2802140" y="111302"/>
                  </a:lnTo>
                  <a:lnTo>
                    <a:pt x="2796857" y="154063"/>
                  </a:lnTo>
                  <a:lnTo>
                    <a:pt x="2796857" y="305600"/>
                  </a:lnTo>
                  <a:lnTo>
                    <a:pt x="2802140" y="348361"/>
                  </a:lnTo>
                  <a:lnTo>
                    <a:pt x="2817482" y="385660"/>
                  </a:lnTo>
                  <a:lnTo>
                    <a:pt x="2842082" y="416483"/>
                  </a:lnTo>
                  <a:lnTo>
                    <a:pt x="2875153" y="439775"/>
                  </a:lnTo>
                  <a:lnTo>
                    <a:pt x="2915894" y="454507"/>
                  </a:lnTo>
                  <a:lnTo>
                    <a:pt x="2963545" y="459651"/>
                  </a:lnTo>
                  <a:lnTo>
                    <a:pt x="3011182" y="454507"/>
                  </a:lnTo>
                  <a:lnTo>
                    <a:pt x="3051937" y="439775"/>
                  </a:lnTo>
                  <a:lnTo>
                    <a:pt x="3085007" y="416483"/>
                  </a:lnTo>
                  <a:lnTo>
                    <a:pt x="3107486" y="388315"/>
                  </a:lnTo>
                  <a:lnTo>
                    <a:pt x="3109607" y="385660"/>
                  </a:lnTo>
                  <a:lnTo>
                    <a:pt x="3124936" y="348361"/>
                  </a:lnTo>
                  <a:lnTo>
                    <a:pt x="3130232" y="305600"/>
                  </a:lnTo>
                  <a:lnTo>
                    <a:pt x="3130232" y="154063"/>
                  </a:lnTo>
                  <a:close/>
                </a:path>
                <a:path w="4982209" h="739775">
                  <a:moveTo>
                    <a:pt x="4981791" y="244221"/>
                  </a:moveTo>
                  <a:lnTo>
                    <a:pt x="4979987" y="236613"/>
                  </a:lnTo>
                  <a:lnTo>
                    <a:pt x="4975390" y="230314"/>
                  </a:lnTo>
                  <a:lnTo>
                    <a:pt x="4968951" y="226390"/>
                  </a:lnTo>
                  <a:lnTo>
                    <a:pt x="4961509" y="225183"/>
                  </a:lnTo>
                  <a:lnTo>
                    <a:pt x="4953901" y="226974"/>
                  </a:lnTo>
                  <a:lnTo>
                    <a:pt x="4846294" y="276440"/>
                  </a:lnTo>
                  <a:lnTo>
                    <a:pt x="4705096" y="181432"/>
                  </a:lnTo>
                  <a:lnTo>
                    <a:pt x="4682591" y="191744"/>
                  </a:lnTo>
                  <a:lnTo>
                    <a:pt x="4787417" y="303517"/>
                  </a:lnTo>
                  <a:lnTo>
                    <a:pt x="4694237" y="346367"/>
                  </a:lnTo>
                  <a:lnTo>
                    <a:pt x="4659439" y="319112"/>
                  </a:lnTo>
                  <a:lnTo>
                    <a:pt x="4631893" y="331558"/>
                  </a:lnTo>
                  <a:lnTo>
                    <a:pt x="4677016" y="373900"/>
                  </a:lnTo>
                  <a:lnTo>
                    <a:pt x="4491787" y="416306"/>
                  </a:lnTo>
                  <a:lnTo>
                    <a:pt x="4441837" y="427570"/>
                  </a:lnTo>
                  <a:lnTo>
                    <a:pt x="4392117" y="438594"/>
                  </a:lnTo>
                  <a:lnTo>
                    <a:pt x="4343171" y="449224"/>
                  </a:lnTo>
                  <a:lnTo>
                    <a:pt x="4295533" y="459282"/>
                  </a:lnTo>
                  <a:lnTo>
                    <a:pt x="4199890" y="478764"/>
                  </a:lnTo>
                  <a:lnTo>
                    <a:pt x="4150004" y="488734"/>
                  </a:lnTo>
                  <a:lnTo>
                    <a:pt x="4100080" y="498513"/>
                  </a:lnTo>
                  <a:lnTo>
                    <a:pt x="4050106" y="508101"/>
                  </a:lnTo>
                  <a:lnTo>
                    <a:pt x="4000093" y="517474"/>
                  </a:lnTo>
                  <a:lnTo>
                    <a:pt x="3950030" y="526656"/>
                  </a:lnTo>
                  <a:lnTo>
                    <a:pt x="3899928" y="535622"/>
                  </a:lnTo>
                  <a:lnTo>
                    <a:pt x="3849776" y="544385"/>
                  </a:lnTo>
                  <a:lnTo>
                    <a:pt x="3799586" y="552945"/>
                  </a:lnTo>
                  <a:lnTo>
                    <a:pt x="3749357" y="561289"/>
                  </a:lnTo>
                  <a:lnTo>
                    <a:pt x="3699091" y="569417"/>
                  </a:lnTo>
                  <a:lnTo>
                    <a:pt x="3648786" y="577342"/>
                  </a:lnTo>
                  <a:lnTo>
                    <a:pt x="3598443" y="585038"/>
                  </a:lnTo>
                  <a:lnTo>
                    <a:pt x="3548075" y="592531"/>
                  </a:lnTo>
                  <a:lnTo>
                    <a:pt x="3497656" y="599795"/>
                  </a:lnTo>
                  <a:lnTo>
                    <a:pt x="3447211" y="606844"/>
                  </a:lnTo>
                  <a:lnTo>
                    <a:pt x="3396742" y="613676"/>
                  </a:lnTo>
                  <a:lnTo>
                    <a:pt x="3346234" y="620280"/>
                  </a:lnTo>
                  <a:lnTo>
                    <a:pt x="3295688" y="626656"/>
                  </a:lnTo>
                  <a:lnTo>
                    <a:pt x="3245129" y="632802"/>
                  </a:lnTo>
                  <a:lnTo>
                    <a:pt x="3194532" y="638733"/>
                  </a:lnTo>
                  <a:lnTo>
                    <a:pt x="3143923" y="644423"/>
                  </a:lnTo>
                  <a:lnTo>
                    <a:pt x="3093275" y="649884"/>
                  </a:lnTo>
                  <a:lnTo>
                    <a:pt x="3042615" y="655104"/>
                  </a:lnTo>
                  <a:lnTo>
                    <a:pt x="2991916" y="660095"/>
                  </a:lnTo>
                  <a:lnTo>
                    <a:pt x="2941205" y="664845"/>
                  </a:lnTo>
                  <a:lnTo>
                    <a:pt x="2890482" y="669353"/>
                  </a:lnTo>
                  <a:lnTo>
                    <a:pt x="2839732" y="673633"/>
                  </a:lnTo>
                  <a:lnTo>
                    <a:pt x="2788958" y="677659"/>
                  </a:lnTo>
                  <a:lnTo>
                    <a:pt x="2738170" y="681443"/>
                  </a:lnTo>
                  <a:lnTo>
                    <a:pt x="2687370" y="684987"/>
                  </a:lnTo>
                  <a:lnTo>
                    <a:pt x="2636558" y="688276"/>
                  </a:lnTo>
                  <a:lnTo>
                    <a:pt x="2585732" y="691311"/>
                  </a:lnTo>
                  <a:lnTo>
                    <a:pt x="2534894" y="694105"/>
                  </a:lnTo>
                  <a:lnTo>
                    <a:pt x="2484043" y="696645"/>
                  </a:lnTo>
                  <a:lnTo>
                    <a:pt x="2433180" y="698931"/>
                  </a:lnTo>
                  <a:lnTo>
                    <a:pt x="2382316" y="700951"/>
                  </a:lnTo>
                  <a:lnTo>
                    <a:pt x="2331440" y="702716"/>
                  </a:lnTo>
                  <a:lnTo>
                    <a:pt x="2280551" y="704227"/>
                  </a:lnTo>
                  <a:lnTo>
                    <a:pt x="2229662" y="705472"/>
                  </a:lnTo>
                  <a:lnTo>
                    <a:pt x="2178774" y="706462"/>
                  </a:lnTo>
                  <a:lnTo>
                    <a:pt x="2127872" y="707186"/>
                  </a:lnTo>
                  <a:lnTo>
                    <a:pt x="2076983" y="707631"/>
                  </a:lnTo>
                  <a:lnTo>
                    <a:pt x="2026081" y="707821"/>
                  </a:lnTo>
                  <a:lnTo>
                    <a:pt x="1975192" y="707732"/>
                  </a:lnTo>
                  <a:lnTo>
                    <a:pt x="1924291" y="707377"/>
                  </a:lnTo>
                  <a:lnTo>
                    <a:pt x="1873402" y="706742"/>
                  </a:lnTo>
                  <a:lnTo>
                    <a:pt x="1822513" y="705840"/>
                  </a:lnTo>
                  <a:lnTo>
                    <a:pt x="1771637" y="704646"/>
                  </a:lnTo>
                  <a:lnTo>
                    <a:pt x="1720761" y="703186"/>
                  </a:lnTo>
                  <a:lnTo>
                    <a:pt x="1669884" y="701446"/>
                  </a:lnTo>
                  <a:lnTo>
                    <a:pt x="1619034" y="699427"/>
                  </a:lnTo>
                  <a:lnTo>
                    <a:pt x="1568183" y="697115"/>
                  </a:lnTo>
                  <a:lnTo>
                    <a:pt x="1517345" y="694524"/>
                  </a:lnTo>
                  <a:lnTo>
                    <a:pt x="1466519" y="691642"/>
                  </a:lnTo>
                  <a:lnTo>
                    <a:pt x="1415707" y="688467"/>
                  </a:lnTo>
                  <a:lnTo>
                    <a:pt x="1364907" y="685012"/>
                  </a:lnTo>
                  <a:lnTo>
                    <a:pt x="1314132" y="681253"/>
                  </a:lnTo>
                  <a:lnTo>
                    <a:pt x="1263357" y="677202"/>
                  </a:lnTo>
                  <a:lnTo>
                    <a:pt x="1212621" y="672858"/>
                  </a:lnTo>
                  <a:lnTo>
                    <a:pt x="1161884" y="668223"/>
                  </a:lnTo>
                  <a:lnTo>
                    <a:pt x="1110767" y="663003"/>
                  </a:lnTo>
                  <a:lnTo>
                    <a:pt x="1059649" y="657529"/>
                  </a:lnTo>
                  <a:lnTo>
                    <a:pt x="1008532" y="651789"/>
                  </a:lnTo>
                  <a:lnTo>
                    <a:pt x="957427" y="645756"/>
                  </a:lnTo>
                  <a:lnTo>
                    <a:pt x="906348" y="639432"/>
                  </a:lnTo>
                  <a:lnTo>
                    <a:pt x="855306" y="632790"/>
                  </a:lnTo>
                  <a:lnTo>
                    <a:pt x="804291" y="625805"/>
                  </a:lnTo>
                  <a:lnTo>
                    <a:pt x="753325" y="618451"/>
                  </a:lnTo>
                  <a:lnTo>
                    <a:pt x="702424" y="610743"/>
                  </a:lnTo>
                  <a:lnTo>
                    <a:pt x="651573" y="602640"/>
                  </a:lnTo>
                  <a:lnTo>
                    <a:pt x="600798" y="594118"/>
                  </a:lnTo>
                  <a:lnTo>
                    <a:pt x="550100" y="585177"/>
                  </a:lnTo>
                  <a:lnTo>
                    <a:pt x="499491" y="575792"/>
                  </a:lnTo>
                  <a:lnTo>
                    <a:pt x="448983" y="565950"/>
                  </a:lnTo>
                  <a:lnTo>
                    <a:pt x="398576" y="555612"/>
                  </a:lnTo>
                  <a:lnTo>
                    <a:pt x="348272" y="544791"/>
                  </a:lnTo>
                  <a:lnTo>
                    <a:pt x="298094" y="533450"/>
                  </a:lnTo>
                  <a:lnTo>
                    <a:pt x="248043" y="521589"/>
                  </a:lnTo>
                  <a:lnTo>
                    <a:pt x="198132" y="509168"/>
                  </a:lnTo>
                  <a:lnTo>
                    <a:pt x="148361" y="496176"/>
                  </a:lnTo>
                  <a:lnTo>
                    <a:pt x="98742" y="482600"/>
                  </a:lnTo>
                  <a:lnTo>
                    <a:pt x="49288" y="468426"/>
                  </a:lnTo>
                  <a:lnTo>
                    <a:pt x="0" y="453618"/>
                  </a:lnTo>
                  <a:lnTo>
                    <a:pt x="48514" y="470255"/>
                  </a:lnTo>
                  <a:lnTo>
                    <a:pt x="97307" y="486079"/>
                  </a:lnTo>
                  <a:lnTo>
                    <a:pt x="146342" y="501129"/>
                  </a:lnTo>
                  <a:lnTo>
                    <a:pt x="195605" y="515429"/>
                  </a:lnTo>
                  <a:lnTo>
                    <a:pt x="245084" y="529056"/>
                  </a:lnTo>
                  <a:lnTo>
                    <a:pt x="294754" y="542023"/>
                  </a:lnTo>
                  <a:lnTo>
                    <a:pt x="344576" y="554393"/>
                  </a:lnTo>
                  <a:lnTo>
                    <a:pt x="394550" y="566204"/>
                  </a:lnTo>
                  <a:lnTo>
                    <a:pt x="444639" y="577494"/>
                  </a:lnTo>
                  <a:lnTo>
                    <a:pt x="494817" y="588314"/>
                  </a:lnTo>
                  <a:lnTo>
                    <a:pt x="545084" y="598703"/>
                  </a:lnTo>
                  <a:lnTo>
                    <a:pt x="595401" y="608711"/>
                  </a:lnTo>
                  <a:lnTo>
                    <a:pt x="645744" y="618375"/>
                  </a:lnTo>
                  <a:lnTo>
                    <a:pt x="695896" y="627354"/>
                  </a:lnTo>
                  <a:lnTo>
                    <a:pt x="746125" y="635977"/>
                  </a:lnTo>
                  <a:lnTo>
                    <a:pt x="796429" y="644220"/>
                  </a:lnTo>
                  <a:lnTo>
                    <a:pt x="846797" y="652119"/>
                  </a:lnTo>
                  <a:lnTo>
                    <a:pt x="897242" y="659663"/>
                  </a:lnTo>
                  <a:lnTo>
                    <a:pt x="947750" y="666838"/>
                  </a:lnTo>
                  <a:lnTo>
                    <a:pt x="998308" y="673671"/>
                  </a:lnTo>
                  <a:lnTo>
                    <a:pt x="1048905" y="680135"/>
                  </a:lnTo>
                  <a:lnTo>
                    <a:pt x="1099553" y="686257"/>
                  </a:lnTo>
                  <a:lnTo>
                    <a:pt x="1150251" y="692035"/>
                  </a:lnTo>
                  <a:lnTo>
                    <a:pt x="1200962" y="697458"/>
                  </a:lnTo>
                  <a:lnTo>
                    <a:pt x="1251712" y="702538"/>
                  </a:lnTo>
                  <a:lnTo>
                    <a:pt x="1302473" y="707263"/>
                  </a:lnTo>
                  <a:lnTo>
                    <a:pt x="1353261" y="711657"/>
                  </a:lnTo>
                  <a:lnTo>
                    <a:pt x="1404048" y="715708"/>
                  </a:lnTo>
                  <a:lnTo>
                    <a:pt x="1454848" y="719404"/>
                  </a:lnTo>
                  <a:lnTo>
                    <a:pt x="1505102" y="722718"/>
                  </a:lnTo>
                  <a:lnTo>
                    <a:pt x="1555369" y="725716"/>
                  </a:lnTo>
                  <a:lnTo>
                    <a:pt x="1605661" y="728421"/>
                  </a:lnTo>
                  <a:lnTo>
                    <a:pt x="1655965" y="730821"/>
                  </a:lnTo>
                  <a:lnTo>
                    <a:pt x="1706270" y="732929"/>
                  </a:lnTo>
                  <a:lnTo>
                    <a:pt x="1756600" y="734745"/>
                  </a:lnTo>
                  <a:lnTo>
                    <a:pt x="1806930" y="736257"/>
                  </a:lnTo>
                  <a:lnTo>
                    <a:pt x="1857273" y="737489"/>
                  </a:lnTo>
                  <a:lnTo>
                    <a:pt x="1907616" y="738416"/>
                  </a:lnTo>
                  <a:lnTo>
                    <a:pt x="1957971" y="739063"/>
                  </a:lnTo>
                  <a:lnTo>
                    <a:pt x="2008327" y="739419"/>
                  </a:lnTo>
                  <a:lnTo>
                    <a:pt x="2058695" y="739482"/>
                  </a:lnTo>
                  <a:lnTo>
                    <a:pt x="2109051" y="739267"/>
                  </a:lnTo>
                  <a:lnTo>
                    <a:pt x="2159419" y="738759"/>
                  </a:lnTo>
                  <a:lnTo>
                    <a:pt x="2209774" y="737971"/>
                  </a:lnTo>
                  <a:lnTo>
                    <a:pt x="2260130" y="736904"/>
                  </a:lnTo>
                  <a:lnTo>
                    <a:pt x="2310473" y="735558"/>
                  </a:lnTo>
                  <a:lnTo>
                    <a:pt x="2360815" y="733945"/>
                  </a:lnTo>
                  <a:lnTo>
                    <a:pt x="2411158" y="732040"/>
                  </a:lnTo>
                  <a:lnTo>
                    <a:pt x="2461488" y="729869"/>
                  </a:lnTo>
                  <a:lnTo>
                    <a:pt x="2511806" y="727417"/>
                  </a:lnTo>
                  <a:lnTo>
                    <a:pt x="2562110" y="724687"/>
                  </a:lnTo>
                  <a:lnTo>
                    <a:pt x="2612402" y="721702"/>
                  </a:lnTo>
                  <a:lnTo>
                    <a:pt x="2662682" y="718439"/>
                  </a:lnTo>
                  <a:lnTo>
                    <a:pt x="2712936" y="714908"/>
                  </a:lnTo>
                  <a:lnTo>
                    <a:pt x="2763177" y="711111"/>
                  </a:lnTo>
                  <a:lnTo>
                    <a:pt x="2813405" y="707047"/>
                  </a:lnTo>
                  <a:lnTo>
                    <a:pt x="2863608" y="702729"/>
                  </a:lnTo>
                  <a:lnTo>
                    <a:pt x="2913786" y="698131"/>
                  </a:lnTo>
                  <a:lnTo>
                    <a:pt x="2963938" y="693293"/>
                  </a:lnTo>
                  <a:lnTo>
                    <a:pt x="3014078" y="688187"/>
                  </a:lnTo>
                  <a:lnTo>
                    <a:pt x="3064179" y="682815"/>
                  </a:lnTo>
                  <a:lnTo>
                    <a:pt x="3114256" y="677202"/>
                  </a:lnTo>
                  <a:lnTo>
                    <a:pt x="3164306" y="671322"/>
                  </a:lnTo>
                  <a:lnTo>
                    <a:pt x="3214332" y="665187"/>
                  </a:lnTo>
                  <a:lnTo>
                    <a:pt x="3264319" y="658812"/>
                  </a:lnTo>
                  <a:lnTo>
                    <a:pt x="3314268" y="652183"/>
                  </a:lnTo>
                  <a:lnTo>
                    <a:pt x="3364179" y="645299"/>
                  </a:lnTo>
                  <a:lnTo>
                    <a:pt x="3414064" y="638175"/>
                  </a:lnTo>
                  <a:lnTo>
                    <a:pt x="3463912" y="630796"/>
                  </a:lnTo>
                  <a:lnTo>
                    <a:pt x="3513709" y="623176"/>
                  </a:lnTo>
                  <a:lnTo>
                    <a:pt x="3563480" y="615315"/>
                  </a:lnTo>
                  <a:lnTo>
                    <a:pt x="3613200" y="607212"/>
                  </a:lnTo>
                  <a:lnTo>
                    <a:pt x="3662870" y="598868"/>
                  </a:lnTo>
                  <a:lnTo>
                    <a:pt x="3712502" y="590296"/>
                  </a:lnTo>
                  <a:lnTo>
                    <a:pt x="3762095" y="581469"/>
                  </a:lnTo>
                  <a:lnTo>
                    <a:pt x="3811625" y="572414"/>
                  </a:lnTo>
                  <a:lnTo>
                    <a:pt x="3861117" y="563130"/>
                  </a:lnTo>
                  <a:lnTo>
                    <a:pt x="3910558" y="553605"/>
                  </a:lnTo>
                  <a:lnTo>
                    <a:pt x="3959936" y="543852"/>
                  </a:lnTo>
                  <a:lnTo>
                    <a:pt x="4009275" y="533869"/>
                  </a:lnTo>
                  <a:lnTo>
                    <a:pt x="4058551" y="523659"/>
                  </a:lnTo>
                  <a:lnTo>
                    <a:pt x="4107764" y="513219"/>
                  </a:lnTo>
                  <a:lnTo>
                    <a:pt x="4155414" y="502843"/>
                  </a:lnTo>
                  <a:lnTo>
                    <a:pt x="4203344" y="492125"/>
                  </a:lnTo>
                  <a:lnTo>
                    <a:pt x="4251490" y="481088"/>
                  </a:lnTo>
                  <a:lnTo>
                    <a:pt x="4299788" y="469760"/>
                  </a:lnTo>
                  <a:lnTo>
                    <a:pt x="4348150" y="458177"/>
                  </a:lnTo>
                  <a:lnTo>
                    <a:pt x="4396537" y="446379"/>
                  </a:lnTo>
                  <a:lnTo>
                    <a:pt x="4444873" y="434365"/>
                  </a:lnTo>
                  <a:lnTo>
                    <a:pt x="4493082" y="422198"/>
                  </a:lnTo>
                  <a:lnTo>
                    <a:pt x="4541113" y="409892"/>
                  </a:lnTo>
                  <a:lnTo>
                    <a:pt x="4588878" y="397471"/>
                  </a:lnTo>
                  <a:lnTo>
                    <a:pt x="4636325" y="384987"/>
                  </a:lnTo>
                  <a:lnTo>
                    <a:pt x="4677219" y="374091"/>
                  </a:lnTo>
                  <a:lnTo>
                    <a:pt x="4678286" y="375081"/>
                  </a:lnTo>
                  <a:lnTo>
                    <a:pt x="4680915" y="439267"/>
                  </a:lnTo>
                  <a:lnTo>
                    <a:pt x="4709122" y="426554"/>
                  </a:lnTo>
                  <a:lnTo>
                    <a:pt x="4710874" y="381990"/>
                  </a:lnTo>
                  <a:lnTo>
                    <a:pt x="4803749" y="339318"/>
                  </a:lnTo>
                  <a:lnTo>
                    <a:pt x="4820424" y="491502"/>
                  </a:lnTo>
                  <a:lnTo>
                    <a:pt x="4842446" y="481164"/>
                  </a:lnTo>
                  <a:lnTo>
                    <a:pt x="4862588" y="312229"/>
                  </a:lnTo>
                  <a:lnTo>
                    <a:pt x="4970348" y="262724"/>
                  </a:lnTo>
                  <a:lnTo>
                    <a:pt x="4976647" y="258114"/>
                  </a:lnTo>
                  <a:lnTo>
                    <a:pt x="4980571" y="251675"/>
                  </a:lnTo>
                  <a:lnTo>
                    <a:pt x="4981791" y="244221"/>
                  </a:lnTo>
                  <a:close/>
                </a:path>
              </a:pathLst>
            </a:custGeom>
            <a:solidFill>
              <a:srgbClr val="48329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object 69"/>
            <p:cNvSpPr/>
            <p:nvPr/>
          </p:nvSpPr>
          <p:spPr>
            <a:xfrm>
              <a:off x="0" y="0"/>
              <a:ext cx="20104100" cy="2237740"/>
            </a:xfrm>
            <a:custGeom>
              <a:avLst/>
              <a:gdLst/>
              <a:ahLst/>
              <a:cxnLst/>
              <a:rect l="l" t="t" r="r" b="b"/>
              <a:pathLst>
                <a:path w="20104100" h="2237740">
                  <a:moveTo>
                    <a:pt x="20104100" y="2237549"/>
                  </a:moveTo>
                  <a:lnTo>
                    <a:pt x="0" y="2237549"/>
                  </a:lnTo>
                  <a:lnTo>
                    <a:pt x="0" y="0"/>
                  </a:lnTo>
                  <a:lnTo>
                    <a:pt x="20104100" y="0"/>
                  </a:lnTo>
                  <a:lnTo>
                    <a:pt x="20104100" y="2237549"/>
                  </a:lnTo>
                  <a:close/>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 name="object 3">
            <a:extLst>
              <a:ext uri="{C183D7F6-B498-43B3-948B-1728B52AA6E4}">
                <adec:decorative xmlns:adec="http://schemas.microsoft.com/office/drawing/2017/decorative" val="1"/>
              </a:ext>
            </a:extLst>
          </p:cNvPr>
          <p:cNvSpPr txBox="1"/>
          <p:nvPr/>
        </p:nvSpPr>
        <p:spPr>
          <a:xfrm>
            <a:off x="4510521" y="2195939"/>
            <a:ext cx="1681577" cy="444974"/>
          </a:xfrm>
          <a:prstGeom prst="rect">
            <a:avLst/>
          </a:prstGeom>
        </p:spPr>
        <p:txBody>
          <a:bodyPr vert="horz" wrap="square" lIns="0" tIns="34271" rIns="0" bIns="0" rtlCol="0">
            <a:spAutoFit/>
          </a:bodyPr>
          <a:lstStyle/>
          <a:p>
            <a:pPr marL="7701" marR="3081" lvl="0" indent="0" algn="l" defTabSz="554492" rtl="0" eaLnBrk="1" fontAlgn="auto" latinLnBrk="0" hangingPunct="1">
              <a:lnSpc>
                <a:spcPts val="1577"/>
              </a:lnSpc>
              <a:spcBef>
                <a:spcPts val="270"/>
              </a:spcBef>
              <a:spcAft>
                <a:spcPts val="0"/>
              </a:spcAft>
              <a:buClrTx/>
              <a:buSzTx/>
              <a:buFontTx/>
              <a:buNone/>
              <a:tabLst/>
              <a:defRPr/>
            </a:pPr>
            <a:r>
              <a:rPr kumimoji="0" sz="1455" b="1" i="0" u="none" strike="noStrike" kern="0" cap="none" spc="100" normalizeH="0" baseline="0" noProof="0">
                <a:ln>
                  <a:noFill/>
                </a:ln>
                <a:solidFill>
                  <a:srgbClr val="452D8C"/>
                </a:solidFill>
                <a:effectLst/>
                <a:uLnTx/>
                <a:uFillTx/>
                <a:latin typeface="Calibri"/>
                <a:ea typeface="+mn-ea"/>
                <a:cs typeface="Calibri"/>
              </a:rPr>
              <a:t>GROWING</a:t>
            </a:r>
            <a:r>
              <a:rPr kumimoji="0" sz="1455" b="1" i="0" u="none" strike="noStrike" kern="0" cap="none" spc="0" normalizeH="0" baseline="0" noProof="0">
                <a:ln>
                  <a:noFill/>
                </a:ln>
                <a:solidFill>
                  <a:srgbClr val="452D8C"/>
                </a:solidFill>
                <a:effectLst/>
                <a:uLnTx/>
                <a:uFillTx/>
                <a:latin typeface="Calibri"/>
                <a:ea typeface="+mn-ea"/>
                <a:cs typeface="Calibri"/>
              </a:rPr>
              <a:t> </a:t>
            </a:r>
            <a:r>
              <a:rPr kumimoji="0" sz="1455" b="1" i="0" u="none" strike="noStrike" kern="0" cap="none" spc="112" normalizeH="0" baseline="0" noProof="0">
                <a:ln>
                  <a:noFill/>
                </a:ln>
                <a:solidFill>
                  <a:srgbClr val="452D8C"/>
                </a:solidFill>
                <a:effectLst/>
                <a:uLnTx/>
                <a:uFillTx/>
                <a:latin typeface="Calibri"/>
                <a:ea typeface="+mn-ea"/>
                <a:cs typeface="Calibri"/>
              </a:rPr>
              <a:t>OUR </a:t>
            </a:r>
            <a:r>
              <a:rPr kumimoji="0" sz="1455" b="1" i="0" u="none" strike="noStrike" kern="0" cap="none" spc="149" normalizeH="0" baseline="0" noProof="0">
                <a:ln>
                  <a:noFill/>
                </a:ln>
                <a:solidFill>
                  <a:srgbClr val="452D8C"/>
                </a:solidFill>
                <a:effectLst/>
                <a:uLnTx/>
                <a:uFillTx/>
                <a:latin typeface="Calibri"/>
                <a:ea typeface="+mn-ea"/>
                <a:cs typeface="Calibri"/>
              </a:rPr>
              <a:t>INFRASTRUCTURE</a:t>
            </a:r>
            <a:endParaRPr kumimoji="0" sz="145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4" name="object 4">
            <a:extLst>
              <a:ext uri="{C183D7F6-B498-43B3-948B-1728B52AA6E4}">
                <adec:decorative xmlns:adec="http://schemas.microsoft.com/office/drawing/2017/decorative" val="1"/>
              </a:ext>
            </a:extLst>
          </p:cNvPr>
          <p:cNvSpPr txBox="1"/>
          <p:nvPr/>
        </p:nvSpPr>
        <p:spPr>
          <a:xfrm>
            <a:off x="7231573" y="2550356"/>
            <a:ext cx="1430515" cy="444974"/>
          </a:xfrm>
          <a:prstGeom prst="rect">
            <a:avLst/>
          </a:prstGeom>
        </p:spPr>
        <p:txBody>
          <a:bodyPr vert="horz" wrap="square" lIns="0" tIns="34271" rIns="0" bIns="0" rtlCol="0">
            <a:spAutoFit/>
          </a:bodyPr>
          <a:lstStyle/>
          <a:p>
            <a:pPr marL="7701" marR="3081" lvl="0" indent="0" algn="l" defTabSz="554492" rtl="0" eaLnBrk="1" fontAlgn="auto" latinLnBrk="0" hangingPunct="1">
              <a:lnSpc>
                <a:spcPts val="1577"/>
              </a:lnSpc>
              <a:spcBef>
                <a:spcPts val="270"/>
              </a:spcBef>
              <a:spcAft>
                <a:spcPts val="0"/>
              </a:spcAft>
              <a:buClrTx/>
              <a:buSzTx/>
              <a:buFontTx/>
              <a:buNone/>
              <a:tabLst/>
              <a:defRPr/>
            </a:pPr>
            <a:r>
              <a:rPr kumimoji="0" sz="1455" b="1" i="0" u="none" strike="noStrike" kern="0" cap="none" spc="67" normalizeH="0" baseline="0" noProof="0">
                <a:ln>
                  <a:noFill/>
                </a:ln>
                <a:solidFill>
                  <a:srgbClr val="452D8C"/>
                </a:solidFill>
                <a:effectLst/>
                <a:uLnTx/>
                <a:uFillTx/>
                <a:latin typeface="Calibri"/>
                <a:ea typeface="+mn-ea"/>
                <a:cs typeface="Calibri"/>
              </a:rPr>
              <a:t>MAINTAINING </a:t>
            </a:r>
            <a:r>
              <a:rPr kumimoji="0" sz="1455" b="1" i="0" u="none" strike="noStrike" kern="0" cap="none" spc="100" normalizeH="0" baseline="0" noProof="0">
                <a:ln>
                  <a:noFill/>
                </a:ln>
                <a:solidFill>
                  <a:srgbClr val="452D8C"/>
                </a:solidFill>
                <a:effectLst/>
                <a:uLnTx/>
                <a:uFillTx/>
                <a:latin typeface="Calibri"/>
                <a:ea typeface="+mn-ea"/>
                <a:cs typeface="Calibri"/>
              </a:rPr>
              <a:t>WHAT</a:t>
            </a:r>
            <a:r>
              <a:rPr kumimoji="0" sz="1455" b="1" i="0" u="none" strike="noStrike" kern="0" cap="none" spc="-3" normalizeH="0" baseline="0" noProof="0">
                <a:ln>
                  <a:noFill/>
                </a:ln>
                <a:solidFill>
                  <a:srgbClr val="452D8C"/>
                </a:solidFill>
                <a:effectLst/>
                <a:uLnTx/>
                <a:uFillTx/>
                <a:latin typeface="Calibri"/>
                <a:ea typeface="+mn-ea"/>
                <a:cs typeface="Calibri"/>
              </a:rPr>
              <a:t> </a:t>
            </a:r>
            <a:r>
              <a:rPr kumimoji="0" sz="1455" b="1" i="0" u="none" strike="noStrike" kern="0" cap="none" spc="146" normalizeH="0" baseline="0" noProof="0">
                <a:ln>
                  <a:noFill/>
                </a:ln>
                <a:solidFill>
                  <a:srgbClr val="452D8C"/>
                </a:solidFill>
                <a:effectLst/>
                <a:uLnTx/>
                <a:uFillTx/>
                <a:latin typeface="Calibri"/>
                <a:ea typeface="+mn-ea"/>
                <a:cs typeface="Calibri"/>
              </a:rPr>
              <a:t>WE</a:t>
            </a:r>
            <a:r>
              <a:rPr kumimoji="0" sz="1455" b="1" i="0" u="none" strike="noStrike" kern="0" cap="none" spc="0" normalizeH="0" baseline="0" noProof="0">
                <a:ln>
                  <a:noFill/>
                </a:ln>
                <a:solidFill>
                  <a:srgbClr val="452D8C"/>
                </a:solidFill>
                <a:effectLst/>
                <a:uLnTx/>
                <a:uFillTx/>
                <a:latin typeface="Calibri"/>
                <a:ea typeface="+mn-ea"/>
                <a:cs typeface="Calibri"/>
              </a:rPr>
              <a:t> </a:t>
            </a:r>
            <a:r>
              <a:rPr kumimoji="0" sz="1455" b="1" i="0" u="none" strike="noStrike" kern="0" cap="none" spc="109" normalizeH="0" baseline="0" noProof="0">
                <a:ln>
                  <a:noFill/>
                </a:ln>
                <a:solidFill>
                  <a:srgbClr val="452D8C"/>
                </a:solidFill>
                <a:effectLst/>
                <a:uLnTx/>
                <a:uFillTx/>
                <a:latin typeface="Calibri"/>
                <a:ea typeface="+mn-ea"/>
                <a:cs typeface="Calibri"/>
              </a:rPr>
              <a:t>HAVE</a:t>
            </a:r>
            <a:endParaRPr kumimoji="0" sz="145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 name="object 5">
            <a:extLst>
              <a:ext uri="{C183D7F6-B498-43B3-948B-1728B52AA6E4}">
                <adec:decorative xmlns:adec="http://schemas.microsoft.com/office/drawing/2017/decorative" val="1"/>
              </a:ext>
            </a:extLst>
          </p:cNvPr>
          <p:cNvSpPr txBox="1"/>
          <p:nvPr/>
        </p:nvSpPr>
        <p:spPr>
          <a:xfrm>
            <a:off x="10102195" y="2110790"/>
            <a:ext cx="1350807" cy="650159"/>
          </a:xfrm>
          <a:prstGeom prst="rect">
            <a:avLst/>
          </a:prstGeom>
        </p:spPr>
        <p:txBody>
          <a:bodyPr vert="horz" wrap="square" lIns="0" tIns="34271" rIns="0" bIns="0" rtlCol="0">
            <a:spAutoFit/>
          </a:bodyPr>
          <a:lstStyle/>
          <a:p>
            <a:pPr marL="7701" marR="3081" lvl="0" indent="0" algn="l" defTabSz="554492" rtl="0" eaLnBrk="1" fontAlgn="auto" latinLnBrk="0" hangingPunct="1">
              <a:lnSpc>
                <a:spcPts val="1577"/>
              </a:lnSpc>
              <a:spcBef>
                <a:spcPts val="270"/>
              </a:spcBef>
              <a:spcAft>
                <a:spcPts val="0"/>
              </a:spcAft>
              <a:buClrTx/>
              <a:buSzTx/>
              <a:buFontTx/>
              <a:buNone/>
              <a:tabLst/>
              <a:defRPr/>
            </a:pPr>
            <a:r>
              <a:rPr kumimoji="0" sz="1455" b="1" i="0" u="none" strike="noStrike" kern="0" cap="none" spc="115" normalizeH="0" baseline="0" noProof="0">
                <a:ln>
                  <a:noFill/>
                </a:ln>
                <a:solidFill>
                  <a:srgbClr val="452D8C"/>
                </a:solidFill>
                <a:effectLst/>
                <a:uLnTx/>
                <a:uFillTx/>
                <a:latin typeface="Calibri"/>
                <a:ea typeface="+mn-ea"/>
                <a:cs typeface="Calibri"/>
              </a:rPr>
              <a:t>EXPANDING </a:t>
            </a:r>
            <a:r>
              <a:rPr kumimoji="0" sz="1455" b="1" i="0" u="none" strike="noStrike" kern="0" cap="none" spc="130" normalizeH="0" baseline="0" noProof="0">
                <a:ln>
                  <a:noFill/>
                </a:ln>
                <a:solidFill>
                  <a:srgbClr val="452D8C"/>
                </a:solidFill>
                <a:effectLst/>
                <a:uLnTx/>
                <a:uFillTx/>
                <a:latin typeface="Calibri"/>
                <a:ea typeface="+mn-ea"/>
                <a:cs typeface="Calibri"/>
              </a:rPr>
              <a:t>OUR</a:t>
            </a:r>
            <a:r>
              <a:rPr kumimoji="0" sz="1455" b="1" i="0" u="none" strike="noStrike" kern="0" cap="none" spc="-6" normalizeH="0" baseline="0" noProof="0">
                <a:ln>
                  <a:noFill/>
                </a:ln>
                <a:solidFill>
                  <a:srgbClr val="452D8C"/>
                </a:solidFill>
                <a:effectLst/>
                <a:uLnTx/>
                <a:uFillTx/>
                <a:latin typeface="Calibri"/>
                <a:ea typeface="+mn-ea"/>
                <a:cs typeface="Calibri"/>
              </a:rPr>
              <a:t> </a:t>
            </a:r>
            <a:r>
              <a:rPr kumimoji="0" sz="1455" b="1" i="0" u="none" strike="noStrike" kern="0" cap="none" spc="149" normalizeH="0" baseline="0" noProof="0">
                <a:ln>
                  <a:noFill/>
                </a:ln>
                <a:solidFill>
                  <a:srgbClr val="452D8C"/>
                </a:solidFill>
                <a:effectLst/>
                <a:uLnTx/>
                <a:uFillTx/>
                <a:latin typeface="Calibri"/>
                <a:ea typeface="+mn-ea"/>
                <a:cs typeface="Calibri"/>
              </a:rPr>
              <a:t>GLOBAL </a:t>
            </a:r>
            <a:r>
              <a:rPr kumimoji="0" sz="1455" b="1" i="0" u="none" strike="noStrike" kern="0" cap="none" spc="133" normalizeH="0" baseline="0" noProof="0">
                <a:ln>
                  <a:noFill/>
                </a:ln>
                <a:solidFill>
                  <a:srgbClr val="452D8C"/>
                </a:solidFill>
                <a:effectLst/>
                <a:uLnTx/>
                <a:uFillTx/>
                <a:latin typeface="Calibri"/>
                <a:ea typeface="+mn-ea"/>
                <a:cs typeface="Calibri"/>
              </a:rPr>
              <a:t>CONNECTIONS</a:t>
            </a:r>
            <a:endParaRPr kumimoji="0" sz="1455"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6" name="object 6">
            <a:extLst>
              <a:ext uri="{C183D7F6-B498-43B3-948B-1728B52AA6E4}">
                <adec:decorative xmlns:adec="http://schemas.microsoft.com/office/drawing/2017/decorative" val="1"/>
              </a:ext>
            </a:extLst>
          </p:cNvPr>
          <p:cNvGrpSpPr/>
          <p:nvPr/>
        </p:nvGrpSpPr>
        <p:grpSpPr>
          <a:xfrm>
            <a:off x="1065103" y="2127735"/>
            <a:ext cx="8753287" cy="3941136"/>
            <a:chOff x="1755728" y="3508792"/>
            <a:chExt cx="14434819" cy="6499225"/>
          </a:xfrm>
        </p:grpSpPr>
        <p:sp>
          <p:nvSpPr>
            <p:cNvPr id="7" name="object 7"/>
            <p:cNvSpPr/>
            <p:nvPr/>
          </p:nvSpPr>
          <p:spPr>
            <a:xfrm>
              <a:off x="15504391" y="3508792"/>
              <a:ext cx="685800" cy="873125"/>
            </a:xfrm>
            <a:custGeom>
              <a:avLst/>
              <a:gdLst/>
              <a:ahLst/>
              <a:cxnLst/>
              <a:rect l="l" t="t" r="r" b="b"/>
              <a:pathLst>
                <a:path w="685800" h="873125">
                  <a:moveTo>
                    <a:pt x="447598" y="0"/>
                  </a:moveTo>
                  <a:lnTo>
                    <a:pt x="255594" y="0"/>
                  </a:lnTo>
                  <a:lnTo>
                    <a:pt x="0" y="547349"/>
                  </a:lnTo>
                  <a:lnTo>
                    <a:pt x="0" y="700706"/>
                  </a:lnTo>
                  <a:lnTo>
                    <a:pt x="385260" y="700706"/>
                  </a:lnTo>
                  <a:lnTo>
                    <a:pt x="385260" y="872764"/>
                  </a:lnTo>
                  <a:lnTo>
                    <a:pt x="579757" y="872764"/>
                  </a:lnTo>
                  <a:lnTo>
                    <a:pt x="579757" y="700706"/>
                  </a:lnTo>
                  <a:lnTo>
                    <a:pt x="685738" y="700706"/>
                  </a:lnTo>
                  <a:lnTo>
                    <a:pt x="685738" y="541114"/>
                  </a:lnTo>
                  <a:lnTo>
                    <a:pt x="579757" y="541114"/>
                  </a:lnTo>
                  <a:lnTo>
                    <a:pt x="579757" y="365313"/>
                  </a:lnTo>
                  <a:lnTo>
                    <a:pt x="385260" y="365313"/>
                  </a:lnTo>
                  <a:lnTo>
                    <a:pt x="385260" y="541114"/>
                  </a:lnTo>
                  <a:lnTo>
                    <a:pt x="205721" y="541114"/>
                  </a:lnTo>
                  <a:lnTo>
                    <a:pt x="447598" y="0"/>
                  </a:lnTo>
                  <a:close/>
                </a:path>
              </a:pathLst>
            </a:custGeom>
            <a:solidFill>
              <a:srgbClr val="E05929"/>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10647854" y="7352950"/>
              <a:ext cx="2401570" cy="0"/>
            </a:xfrm>
            <a:custGeom>
              <a:avLst/>
              <a:gdLst/>
              <a:ahLst/>
              <a:cxnLst/>
              <a:rect l="l" t="t" r="r" b="b"/>
              <a:pathLst>
                <a:path w="2401569">
                  <a:moveTo>
                    <a:pt x="2401413" y="0"/>
                  </a:moveTo>
                  <a:lnTo>
                    <a:pt x="0" y="0"/>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10647854" y="7352950"/>
              <a:ext cx="2401570" cy="0"/>
            </a:xfrm>
            <a:custGeom>
              <a:avLst/>
              <a:gdLst/>
              <a:ahLst/>
              <a:cxnLst/>
              <a:rect l="l" t="t" r="r" b="b"/>
              <a:pathLst>
                <a:path w="2401569">
                  <a:moveTo>
                    <a:pt x="0" y="0"/>
                  </a:moveTo>
                  <a:lnTo>
                    <a:pt x="2401413"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0733836" y="5712883"/>
              <a:ext cx="690880" cy="556260"/>
            </a:xfrm>
            <a:custGeom>
              <a:avLst/>
              <a:gdLst/>
              <a:ahLst/>
              <a:cxnLst/>
              <a:rect l="l" t="t" r="r" b="b"/>
              <a:pathLst>
                <a:path w="690879" h="556260">
                  <a:moveTo>
                    <a:pt x="640881" y="0"/>
                  </a:moveTo>
                  <a:lnTo>
                    <a:pt x="38784" y="0"/>
                  </a:lnTo>
                  <a:lnTo>
                    <a:pt x="0" y="188774"/>
                  </a:lnTo>
                  <a:lnTo>
                    <a:pt x="85908" y="555977"/>
                  </a:lnTo>
                  <a:lnTo>
                    <a:pt x="616389" y="555977"/>
                  </a:lnTo>
                  <a:lnTo>
                    <a:pt x="690575" y="206930"/>
                  </a:lnTo>
                  <a:lnTo>
                    <a:pt x="640881" y="0"/>
                  </a:lnTo>
                  <a:close/>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10733836" y="5712883"/>
              <a:ext cx="690880" cy="556260"/>
            </a:xfrm>
            <a:custGeom>
              <a:avLst/>
              <a:gdLst/>
              <a:ahLst/>
              <a:cxnLst/>
              <a:rect l="l" t="t" r="r" b="b"/>
              <a:pathLst>
                <a:path w="690879" h="556260">
                  <a:moveTo>
                    <a:pt x="616389" y="555977"/>
                  </a:moveTo>
                  <a:lnTo>
                    <a:pt x="690575" y="206930"/>
                  </a:lnTo>
                  <a:lnTo>
                    <a:pt x="640881" y="0"/>
                  </a:lnTo>
                  <a:lnTo>
                    <a:pt x="38784" y="0"/>
                  </a:lnTo>
                  <a:lnTo>
                    <a:pt x="0" y="188774"/>
                  </a:lnTo>
                  <a:lnTo>
                    <a:pt x="85908" y="555977"/>
                  </a:lnTo>
                  <a:lnTo>
                    <a:pt x="616389" y="555977"/>
                  </a:lnTo>
                  <a:close/>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10763847" y="5919750"/>
              <a:ext cx="623570" cy="0"/>
            </a:xfrm>
            <a:custGeom>
              <a:avLst/>
              <a:gdLst/>
              <a:ahLst/>
              <a:cxnLst/>
              <a:rect l="l" t="t" r="r" b="b"/>
              <a:pathLst>
                <a:path w="623570">
                  <a:moveTo>
                    <a:pt x="623436" y="0"/>
                  </a:moveTo>
                  <a:lnTo>
                    <a:pt x="0" y="0"/>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10763847" y="5919750"/>
              <a:ext cx="623570" cy="0"/>
            </a:xfrm>
            <a:custGeom>
              <a:avLst/>
              <a:gdLst/>
              <a:ahLst/>
              <a:cxnLst/>
              <a:rect l="l" t="t" r="r" b="b"/>
              <a:pathLst>
                <a:path w="623570">
                  <a:moveTo>
                    <a:pt x="623436" y="0"/>
                  </a:moveTo>
                  <a:lnTo>
                    <a:pt x="0"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10929092" y="6027014"/>
              <a:ext cx="34290" cy="236854"/>
            </a:xfrm>
            <a:custGeom>
              <a:avLst/>
              <a:gdLst/>
              <a:ahLst/>
              <a:cxnLst/>
              <a:rect l="l" t="t" r="r" b="b"/>
              <a:pathLst>
                <a:path w="34290" h="236854">
                  <a:moveTo>
                    <a:pt x="0" y="0"/>
                  </a:moveTo>
                  <a:lnTo>
                    <a:pt x="34046" y="236233"/>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10929092" y="6027014"/>
              <a:ext cx="34290" cy="236854"/>
            </a:xfrm>
            <a:custGeom>
              <a:avLst/>
              <a:gdLst/>
              <a:ahLst/>
              <a:cxnLst/>
              <a:rect l="l" t="t" r="r" b="b"/>
              <a:pathLst>
                <a:path w="34290" h="236854">
                  <a:moveTo>
                    <a:pt x="0" y="0"/>
                  </a:moveTo>
                  <a:lnTo>
                    <a:pt x="34046" y="236233"/>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11206880" y="6027014"/>
              <a:ext cx="34290" cy="236854"/>
            </a:xfrm>
            <a:custGeom>
              <a:avLst/>
              <a:gdLst/>
              <a:ahLst/>
              <a:cxnLst/>
              <a:rect l="l" t="t" r="r" b="b"/>
              <a:pathLst>
                <a:path w="34290" h="236854">
                  <a:moveTo>
                    <a:pt x="34030" y="0"/>
                  </a:moveTo>
                  <a:lnTo>
                    <a:pt x="0" y="236233"/>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11206880" y="6027014"/>
              <a:ext cx="34290" cy="236854"/>
            </a:xfrm>
            <a:custGeom>
              <a:avLst/>
              <a:gdLst/>
              <a:ahLst/>
              <a:cxnLst/>
              <a:rect l="l" t="t" r="r" b="b"/>
              <a:pathLst>
                <a:path w="34290" h="236854">
                  <a:moveTo>
                    <a:pt x="34030" y="0"/>
                  </a:moveTo>
                  <a:lnTo>
                    <a:pt x="0" y="236233"/>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10905997" y="5454296"/>
              <a:ext cx="0" cy="245745"/>
            </a:xfrm>
            <a:custGeom>
              <a:avLst/>
              <a:gdLst/>
              <a:ahLst/>
              <a:cxnLst/>
              <a:rect l="l" t="t" r="r" b="b"/>
              <a:pathLst>
                <a:path h="245745">
                  <a:moveTo>
                    <a:pt x="0" y="0"/>
                  </a:moveTo>
                  <a:lnTo>
                    <a:pt x="0" y="245652"/>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10905997" y="5454296"/>
              <a:ext cx="0" cy="245745"/>
            </a:xfrm>
            <a:custGeom>
              <a:avLst/>
              <a:gdLst/>
              <a:ahLst/>
              <a:cxnLst/>
              <a:rect l="l" t="t" r="r" b="b"/>
              <a:pathLst>
                <a:path h="245745">
                  <a:moveTo>
                    <a:pt x="0" y="245652"/>
                  </a:moveTo>
                  <a:lnTo>
                    <a:pt x="0"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10897356" y="6277485"/>
              <a:ext cx="0" cy="953769"/>
            </a:xfrm>
            <a:custGeom>
              <a:avLst/>
              <a:gdLst/>
              <a:ahLst/>
              <a:cxnLst/>
              <a:rect l="l" t="t" r="r" b="b"/>
              <a:pathLst>
                <a:path h="953770">
                  <a:moveTo>
                    <a:pt x="0" y="0"/>
                  </a:moveTo>
                  <a:lnTo>
                    <a:pt x="0" y="95332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10897356" y="6277485"/>
              <a:ext cx="0" cy="953769"/>
            </a:xfrm>
            <a:custGeom>
              <a:avLst/>
              <a:gdLst/>
              <a:ahLst/>
              <a:cxnLst/>
              <a:rect l="l" t="t" r="r" b="b"/>
              <a:pathLst>
                <a:path h="953770">
                  <a:moveTo>
                    <a:pt x="0" y="0"/>
                  </a:moveTo>
                  <a:lnTo>
                    <a:pt x="0" y="95332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11272647" y="6277485"/>
              <a:ext cx="0" cy="1061085"/>
            </a:xfrm>
            <a:custGeom>
              <a:avLst/>
              <a:gdLst/>
              <a:ahLst/>
              <a:cxnLst/>
              <a:rect l="l" t="t" r="r" b="b"/>
              <a:pathLst>
                <a:path h="1061084">
                  <a:moveTo>
                    <a:pt x="0" y="0"/>
                  </a:moveTo>
                  <a:lnTo>
                    <a:pt x="0" y="1061077"/>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11272647" y="6277485"/>
              <a:ext cx="0" cy="1061085"/>
            </a:xfrm>
            <a:custGeom>
              <a:avLst/>
              <a:gdLst/>
              <a:ahLst/>
              <a:cxnLst/>
              <a:rect l="l" t="t" r="r" b="b"/>
              <a:pathLst>
                <a:path h="1061084">
                  <a:moveTo>
                    <a:pt x="0" y="0"/>
                  </a:moveTo>
                  <a:lnTo>
                    <a:pt x="0" y="1061077"/>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11296764" y="6964965"/>
              <a:ext cx="1774189" cy="387985"/>
            </a:xfrm>
            <a:custGeom>
              <a:avLst/>
              <a:gdLst/>
              <a:ahLst/>
              <a:cxnLst/>
              <a:rect l="l" t="t" r="r" b="b"/>
              <a:pathLst>
                <a:path w="1774190" h="387984">
                  <a:moveTo>
                    <a:pt x="1774019" y="0"/>
                  </a:moveTo>
                  <a:lnTo>
                    <a:pt x="0" y="0"/>
                  </a:lnTo>
                  <a:lnTo>
                    <a:pt x="91808" y="387380"/>
                  </a:lnTo>
                  <a:lnTo>
                    <a:pt x="91808" y="70945"/>
                  </a:lnTo>
                  <a:lnTo>
                    <a:pt x="1774019" y="70945"/>
                  </a:lnTo>
                  <a:lnTo>
                    <a:pt x="1774019" y="0"/>
                  </a:lnTo>
                  <a:close/>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11296764" y="6964965"/>
              <a:ext cx="1774189" cy="387985"/>
            </a:xfrm>
            <a:custGeom>
              <a:avLst/>
              <a:gdLst/>
              <a:ahLst/>
              <a:cxnLst/>
              <a:rect l="l" t="t" r="r" b="b"/>
              <a:pathLst>
                <a:path w="1774190" h="387984">
                  <a:moveTo>
                    <a:pt x="0" y="0"/>
                  </a:moveTo>
                  <a:lnTo>
                    <a:pt x="1774019" y="0"/>
                  </a:lnTo>
                  <a:lnTo>
                    <a:pt x="1774019" y="70945"/>
                  </a:lnTo>
                  <a:lnTo>
                    <a:pt x="91808" y="70945"/>
                  </a:lnTo>
                  <a:lnTo>
                    <a:pt x="91808" y="38738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12031299" y="7035911"/>
              <a:ext cx="0" cy="314325"/>
            </a:xfrm>
            <a:custGeom>
              <a:avLst/>
              <a:gdLst/>
              <a:ahLst/>
              <a:cxnLst/>
              <a:rect l="l" t="t" r="r" b="b"/>
              <a:pathLst>
                <a:path h="314325">
                  <a:moveTo>
                    <a:pt x="0" y="0"/>
                  </a:moveTo>
                  <a:lnTo>
                    <a:pt x="0" y="31390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12031299" y="7035911"/>
              <a:ext cx="0" cy="314325"/>
            </a:xfrm>
            <a:custGeom>
              <a:avLst/>
              <a:gdLst/>
              <a:ahLst/>
              <a:cxnLst/>
              <a:rect l="l" t="t" r="r" b="b"/>
              <a:pathLst>
                <a:path h="314325">
                  <a:moveTo>
                    <a:pt x="0" y="0"/>
                  </a:moveTo>
                  <a:lnTo>
                    <a:pt x="0" y="31390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object 28"/>
            <p:cNvSpPr/>
            <p:nvPr/>
          </p:nvSpPr>
          <p:spPr>
            <a:xfrm>
              <a:off x="11870774" y="7035911"/>
              <a:ext cx="0" cy="314325"/>
            </a:xfrm>
            <a:custGeom>
              <a:avLst/>
              <a:gdLst/>
              <a:ahLst/>
              <a:cxnLst/>
              <a:rect l="l" t="t" r="r" b="b"/>
              <a:pathLst>
                <a:path h="314325">
                  <a:moveTo>
                    <a:pt x="0" y="0"/>
                  </a:moveTo>
                  <a:lnTo>
                    <a:pt x="0" y="31390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11870774" y="7035911"/>
              <a:ext cx="0" cy="314325"/>
            </a:xfrm>
            <a:custGeom>
              <a:avLst/>
              <a:gdLst/>
              <a:ahLst/>
              <a:cxnLst/>
              <a:rect l="l" t="t" r="r" b="b"/>
              <a:pathLst>
                <a:path h="314325">
                  <a:moveTo>
                    <a:pt x="0" y="0"/>
                  </a:moveTo>
                  <a:lnTo>
                    <a:pt x="0" y="31390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11710259" y="7035911"/>
              <a:ext cx="0" cy="314325"/>
            </a:xfrm>
            <a:custGeom>
              <a:avLst/>
              <a:gdLst/>
              <a:ahLst/>
              <a:cxnLst/>
              <a:rect l="l" t="t" r="r" b="b"/>
              <a:pathLst>
                <a:path h="314325">
                  <a:moveTo>
                    <a:pt x="0" y="0"/>
                  </a:moveTo>
                  <a:lnTo>
                    <a:pt x="0" y="31390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11710259" y="7035911"/>
              <a:ext cx="0" cy="314325"/>
            </a:xfrm>
            <a:custGeom>
              <a:avLst/>
              <a:gdLst/>
              <a:ahLst/>
              <a:cxnLst/>
              <a:rect l="l" t="t" r="r" b="b"/>
              <a:pathLst>
                <a:path h="314325">
                  <a:moveTo>
                    <a:pt x="0" y="0"/>
                  </a:moveTo>
                  <a:lnTo>
                    <a:pt x="0" y="31390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11549737" y="7035911"/>
              <a:ext cx="0" cy="314325"/>
            </a:xfrm>
            <a:custGeom>
              <a:avLst/>
              <a:gdLst/>
              <a:ahLst/>
              <a:cxnLst/>
              <a:rect l="l" t="t" r="r" b="b"/>
              <a:pathLst>
                <a:path h="314325">
                  <a:moveTo>
                    <a:pt x="0" y="0"/>
                  </a:moveTo>
                  <a:lnTo>
                    <a:pt x="0" y="31390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11549737" y="7035911"/>
              <a:ext cx="0" cy="314325"/>
            </a:xfrm>
            <a:custGeom>
              <a:avLst/>
              <a:gdLst/>
              <a:ahLst/>
              <a:cxnLst/>
              <a:rect l="l" t="t" r="r" b="b"/>
              <a:pathLst>
                <a:path h="314325">
                  <a:moveTo>
                    <a:pt x="0" y="0"/>
                  </a:moveTo>
                  <a:lnTo>
                    <a:pt x="0" y="31390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11392475" y="7196800"/>
              <a:ext cx="635000" cy="0"/>
            </a:xfrm>
            <a:custGeom>
              <a:avLst/>
              <a:gdLst/>
              <a:ahLst/>
              <a:cxnLst/>
              <a:rect l="l" t="t" r="r" b="b"/>
              <a:pathLst>
                <a:path w="635000">
                  <a:moveTo>
                    <a:pt x="634619" y="0"/>
                  </a:moveTo>
                  <a:lnTo>
                    <a:pt x="0" y="0"/>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11392475" y="7196800"/>
              <a:ext cx="635000" cy="0"/>
            </a:xfrm>
            <a:custGeom>
              <a:avLst/>
              <a:gdLst/>
              <a:ahLst/>
              <a:cxnLst/>
              <a:rect l="l" t="t" r="r" b="b"/>
              <a:pathLst>
                <a:path w="635000">
                  <a:moveTo>
                    <a:pt x="0" y="0"/>
                  </a:moveTo>
                  <a:lnTo>
                    <a:pt x="634619"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13063966" y="7035911"/>
              <a:ext cx="0" cy="314325"/>
            </a:xfrm>
            <a:custGeom>
              <a:avLst/>
              <a:gdLst/>
              <a:ahLst/>
              <a:cxnLst/>
              <a:rect l="l" t="t" r="r" b="b"/>
              <a:pathLst>
                <a:path h="314325">
                  <a:moveTo>
                    <a:pt x="0" y="0"/>
                  </a:moveTo>
                  <a:lnTo>
                    <a:pt x="0" y="313906"/>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13063966" y="7035911"/>
              <a:ext cx="0" cy="314325"/>
            </a:xfrm>
            <a:custGeom>
              <a:avLst/>
              <a:gdLst/>
              <a:ahLst/>
              <a:cxnLst/>
              <a:rect l="l" t="t" r="r" b="b"/>
              <a:pathLst>
                <a:path h="314325">
                  <a:moveTo>
                    <a:pt x="0" y="0"/>
                  </a:moveTo>
                  <a:lnTo>
                    <a:pt x="0" y="313906"/>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11872715" y="5782051"/>
              <a:ext cx="386080" cy="156845"/>
            </a:xfrm>
            <a:custGeom>
              <a:avLst/>
              <a:gdLst/>
              <a:ahLst/>
              <a:cxnLst/>
              <a:rect l="l" t="t" r="r" b="b"/>
              <a:pathLst>
                <a:path w="386079" h="156845">
                  <a:moveTo>
                    <a:pt x="375279" y="1532"/>
                  </a:moveTo>
                  <a:lnTo>
                    <a:pt x="375076" y="1532"/>
                  </a:lnTo>
                  <a:lnTo>
                    <a:pt x="137823" y="75785"/>
                  </a:lnTo>
                  <a:lnTo>
                    <a:pt x="110768" y="83930"/>
                  </a:lnTo>
                  <a:lnTo>
                    <a:pt x="54192" y="103977"/>
                  </a:lnTo>
                  <a:lnTo>
                    <a:pt x="4976" y="129339"/>
                  </a:lnTo>
                  <a:lnTo>
                    <a:pt x="0" y="153431"/>
                  </a:lnTo>
                  <a:lnTo>
                    <a:pt x="24001" y="156698"/>
                  </a:lnTo>
                  <a:lnTo>
                    <a:pt x="66036" y="149313"/>
                  </a:lnTo>
                  <a:lnTo>
                    <a:pt x="120400" y="133850"/>
                  </a:lnTo>
                  <a:lnTo>
                    <a:pt x="181385" y="112882"/>
                  </a:lnTo>
                  <a:lnTo>
                    <a:pt x="243285" y="88981"/>
                  </a:lnTo>
                  <a:lnTo>
                    <a:pt x="300394" y="64721"/>
                  </a:lnTo>
                  <a:lnTo>
                    <a:pt x="347006" y="42674"/>
                  </a:lnTo>
                  <a:lnTo>
                    <a:pt x="385909" y="15514"/>
                  </a:lnTo>
                  <a:lnTo>
                    <a:pt x="378448" y="6225"/>
                  </a:lnTo>
                  <a:lnTo>
                    <a:pt x="375279" y="1532"/>
                  </a:lnTo>
                  <a:close/>
                </a:path>
                <a:path w="386079" h="156845">
                  <a:moveTo>
                    <a:pt x="375789" y="0"/>
                  </a:moveTo>
                  <a:lnTo>
                    <a:pt x="375279" y="1532"/>
                  </a:lnTo>
                  <a:lnTo>
                    <a:pt x="375076" y="1532"/>
                  </a:lnTo>
                  <a:lnTo>
                    <a:pt x="379365" y="190"/>
                  </a:lnTo>
                  <a:lnTo>
                    <a:pt x="375789" y="0"/>
                  </a:lnTo>
                  <a:close/>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11872715" y="5782051"/>
              <a:ext cx="386080" cy="156845"/>
            </a:xfrm>
            <a:custGeom>
              <a:avLst/>
              <a:gdLst/>
              <a:ahLst/>
              <a:cxnLst/>
              <a:rect l="l" t="t" r="r" b="b"/>
              <a:pathLst>
                <a:path w="386079" h="156845">
                  <a:moveTo>
                    <a:pt x="385909" y="15514"/>
                  </a:moveTo>
                  <a:lnTo>
                    <a:pt x="347006" y="42674"/>
                  </a:lnTo>
                  <a:lnTo>
                    <a:pt x="300394" y="64721"/>
                  </a:lnTo>
                  <a:lnTo>
                    <a:pt x="243285" y="88981"/>
                  </a:lnTo>
                  <a:lnTo>
                    <a:pt x="181385" y="112882"/>
                  </a:lnTo>
                  <a:lnTo>
                    <a:pt x="120400" y="133850"/>
                  </a:lnTo>
                  <a:lnTo>
                    <a:pt x="66036" y="149313"/>
                  </a:lnTo>
                  <a:lnTo>
                    <a:pt x="24001" y="156698"/>
                  </a:lnTo>
                  <a:lnTo>
                    <a:pt x="0" y="153431"/>
                  </a:lnTo>
                  <a:lnTo>
                    <a:pt x="4976" y="129339"/>
                  </a:lnTo>
                  <a:lnTo>
                    <a:pt x="54192" y="103977"/>
                  </a:lnTo>
                  <a:lnTo>
                    <a:pt x="110768" y="83930"/>
                  </a:lnTo>
                  <a:lnTo>
                    <a:pt x="137823" y="75785"/>
                  </a:lnTo>
                  <a:lnTo>
                    <a:pt x="379365" y="190"/>
                  </a:lnTo>
                  <a:lnTo>
                    <a:pt x="375789" y="0"/>
                  </a:lnTo>
                  <a:lnTo>
                    <a:pt x="375279" y="1532"/>
                  </a:lnTo>
                  <a:lnTo>
                    <a:pt x="378448" y="6225"/>
                  </a:lnTo>
                  <a:lnTo>
                    <a:pt x="385909" y="15514"/>
                  </a:lnTo>
                  <a:close/>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11811994" y="5784587"/>
              <a:ext cx="431165" cy="129539"/>
            </a:xfrm>
            <a:custGeom>
              <a:avLst/>
              <a:gdLst/>
              <a:ahLst/>
              <a:cxnLst/>
              <a:rect l="l" t="t" r="r" b="b"/>
              <a:pathLst>
                <a:path w="431165" h="129539">
                  <a:moveTo>
                    <a:pt x="431159" y="0"/>
                  </a:moveTo>
                  <a:lnTo>
                    <a:pt x="0" y="75421"/>
                  </a:lnTo>
                  <a:lnTo>
                    <a:pt x="63238" y="129310"/>
                  </a:lnTo>
                  <a:lnTo>
                    <a:pt x="431159" y="0"/>
                  </a:lnTo>
                  <a:close/>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11811994" y="5784587"/>
              <a:ext cx="431165" cy="129539"/>
            </a:xfrm>
            <a:custGeom>
              <a:avLst/>
              <a:gdLst/>
              <a:ahLst/>
              <a:cxnLst/>
              <a:rect l="l" t="t" r="r" b="b"/>
              <a:pathLst>
                <a:path w="431165" h="129539">
                  <a:moveTo>
                    <a:pt x="0" y="75421"/>
                  </a:moveTo>
                  <a:lnTo>
                    <a:pt x="63238" y="129310"/>
                  </a:lnTo>
                  <a:lnTo>
                    <a:pt x="431159"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11920071" y="5736896"/>
              <a:ext cx="139700" cy="107314"/>
            </a:xfrm>
            <a:custGeom>
              <a:avLst/>
              <a:gdLst/>
              <a:ahLst/>
              <a:cxnLst/>
              <a:rect l="l" t="t" r="r" b="b"/>
              <a:pathLst>
                <a:path w="139700" h="107314">
                  <a:moveTo>
                    <a:pt x="0" y="0"/>
                  </a:moveTo>
                  <a:lnTo>
                    <a:pt x="139147" y="106954"/>
                  </a:lnTo>
                </a:path>
              </a:pathLst>
            </a:custGeom>
            <a:solidFill>
              <a:srgbClr val="8C9DB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11920071" y="5736896"/>
              <a:ext cx="139700" cy="107314"/>
            </a:xfrm>
            <a:custGeom>
              <a:avLst/>
              <a:gdLst/>
              <a:ahLst/>
              <a:cxnLst/>
              <a:rect l="l" t="t" r="r" b="b"/>
              <a:pathLst>
                <a:path w="139700" h="107314">
                  <a:moveTo>
                    <a:pt x="139147" y="106954"/>
                  </a:moveTo>
                  <a:lnTo>
                    <a:pt x="0" y="0"/>
                  </a:lnTo>
                </a:path>
              </a:pathLst>
            </a:custGeom>
            <a:ln w="10470">
              <a:solidFill>
                <a:srgbClr val="452D8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object 44"/>
            <p:cNvSpPr/>
            <p:nvPr/>
          </p:nvSpPr>
          <p:spPr>
            <a:xfrm>
              <a:off x="1755728" y="9023992"/>
              <a:ext cx="2454275" cy="0"/>
            </a:xfrm>
            <a:custGeom>
              <a:avLst/>
              <a:gdLst/>
              <a:ahLst/>
              <a:cxnLst/>
              <a:rect l="l" t="t" r="r" b="b"/>
              <a:pathLst>
                <a:path w="2454275">
                  <a:moveTo>
                    <a:pt x="2453967" y="0"/>
                  </a:moveTo>
                  <a:lnTo>
                    <a:pt x="0" y="0"/>
                  </a:lnTo>
                </a:path>
              </a:pathLst>
            </a:custGeom>
            <a:solidFill>
              <a:srgbClr val="FFFFF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5869148" y="8859973"/>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46"/>
            <p:cNvSpPr/>
            <p:nvPr/>
          </p:nvSpPr>
          <p:spPr>
            <a:xfrm>
              <a:off x="5869148" y="8859973"/>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5869148" y="9999715"/>
              <a:ext cx="2454275" cy="0"/>
            </a:xfrm>
            <a:custGeom>
              <a:avLst/>
              <a:gdLst/>
              <a:ahLst/>
              <a:cxnLst/>
              <a:rect l="l" t="t" r="r" b="b"/>
              <a:pathLst>
                <a:path w="2454275">
                  <a:moveTo>
                    <a:pt x="2453967" y="0"/>
                  </a:moveTo>
                  <a:lnTo>
                    <a:pt x="0" y="0"/>
                  </a:lnTo>
                </a:path>
              </a:pathLst>
            </a:custGeom>
            <a:solidFill>
              <a:srgbClr val="452D8C"/>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5869148" y="9999715"/>
              <a:ext cx="2454275" cy="0"/>
            </a:xfrm>
            <a:custGeom>
              <a:avLst/>
              <a:gdLst/>
              <a:ahLst/>
              <a:cxnLst/>
              <a:rect l="l" t="t" r="r" b="b"/>
              <a:pathLst>
                <a:path w="2454275">
                  <a:moveTo>
                    <a:pt x="0" y="0"/>
                  </a:moveTo>
                  <a:lnTo>
                    <a:pt x="2453967" y="0"/>
                  </a:lnTo>
                </a:path>
              </a:pathLst>
            </a:custGeom>
            <a:ln w="15706">
              <a:solidFill>
                <a:srgbClr val="E05929"/>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49" name="object 49">
            <a:extLst>
              <a:ext uri="{C183D7F6-B498-43B3-948B-1728B52AA6E4}">
                <adec:decorative xmlns:adec="http://schemas.microsoft.com/office/drawing/2017/decorative" val="1"/>
              </a:ext>
            </a:extLst>
          </p:cNvPr>
          <p:cNvSpPr txBox="1"/>
          <p:nvPr/>
        </p:nvSpPr>
        <p:spPr>
          <a:xfrm>
            <a:off x="3548329" y="4552480"/>
            <a:ext cx="1502522" cy="731440"/>
          </a:xfrm>
          <a:prstGeom prst="rect">
            <a:avLst/>
          </a:prstGeom>
        </p:spPr>
        <p:txBody>
          <a:bodyPr vert="horz" wrap="square" lIns="0" tIns="8086" rIns="0" bIns="0" rtlCol="0">
            <a:spAutoFit/>
          </a:bodyPr>
          <a:lstStyle/>
          <a:p>
            <a:pPr marL="7701" marR="3081" lvl="0" indent="26184"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73" normalizeH="0" baseline="0" noProof="0">
                <a:ln>
                  <a:noFill/>
                </a:ln>
                <a:solidFill>
                  <a:srgbClr val="452D8C"/>
                </a:solidFill>
                <a:effectLst/>
                <a:uLnTx/>
                <a:uFillTx/>
                <a:latin typeface="Calibri"/>
                <a:ea typeface="+mn-ea"/>
                <a:cs typeface="Calibri"/>
              </a:rPr>
              <a:t>Buil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facilities</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and </a:t>
            </a:r>
            <a:r>
              <a:rPr kumimoji="0" sz="940" b="0" i="0" u="none" strike="noStrike" kern="0" cap="none" spc="64" normalizeH="0" baseline="0" noProof="0">
                <a:ln>
                  <a:noFill/>
                </a:ln>
                <a:solidFill>
                  <a:srgbClr val="452D8C"/>
                </a:solidFill>
                <a:effectLst/>
                <a:uLnTx/>
                <a:uFillTx/>
                <a:latin typeface="Calibri"/>
                <a:ea typeface="+mn-ea"/>
                <a:cs typeface="Calibri"/>
              </a:rPr>
              <a:t>infrastructure</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through </a:t>
            </a:r>
            <a:r>
              <a:rPr kumimoji="0" sz="940" b="0" i="0" u="none" strike="noStrike" kern="0" cap="none" spc="55" normalizeH="0" baseline="0" noProof="0">
                <a:ln>
                  <a:noFill/>
                </a:ln>
                <a:solidFill>
                  <a:srgbClr val="452D8C"/>
                </a:solidFill>
                <a:effectLst/>
                <a:uLnTx/>
                <a:uFillTx/>
                <a:latin typeface="Calibri"/>
                <a:ea typeface="+mn-ea"/>
                <a:cs typeface="Calibri"/>
              </a:rPr>
              <a:t>well-</a:t>
            </a:r>
            <a:r>
              <a:rPr kumimoji="0" sz="940" b="0" i="0" u="none" strike="noStrike" kern="0" cap="none" spc="69" normalizeH="0" baseline="0" noProof="0">
                <a:ln>
                  <a:noFill/>
                </a:ln>
                <a:solidFill>
                  <a:srgbClr val="452D8C"/>
                </a:solidFill>
                <a:effectLst/>
                <a:uLnTx/>
                <a:uFillTx/>
                <a:latin typeface="Calibri"/>
                <a:ea typeface="+mn-ea"/>
                <a:cs typeface="Calibri"/>
              </a:rPr>
              <a:t>coordinated</a:t>
            </a:r>
            <a:r>
              <a:rPr kumimoji="0" sz="940" b="0" i="0" u="none" strike="noStrike" kern="0" cap="none" spc="12"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planning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new</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73" normalizeH="0" baseline="0" noProof="0">
                <a:ln>
                  <a:noFill/>
                </a:ln>
                <a:solidFill>
                  <a:srgbClr val="452D8C"/>
                </a:solidFill>
                <a:effectLst/>
                <a:uLnTx/>
                <a:uFillTx/>
                <a:latin typeface="Calibri"/>
                <a:ea typeface="+mn-ea"/>
                <a:cs typeface="Calibri"/>
              </a:rPr>
              <a:t>service</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ctr" defTabSz="554492" rtl="0" eaLnBrk="1" fontAlgn="auto" latinLnBrk="0" hangingPunct="1">
              <a:lnSpc>
                <a:spcPct val="100000"/>
              </a:lnSpc>
              <a:spcBef>
                <a:spcPts val="24"/>
              </a:spcBef>
              <a:spcAft>
                <a:spcPts val="0"/>
              </a:spcAft>
              <a:buClrTx/>
              <a:buSzTx/>
              <a:buFontTx/>
              <a:buNone/>
              <a:tabLst/>
              <a:defRPr/>
            </a:pPr>
            <a:r>
              <a:rPr kumimoji="0" sz="940" b="0" i="0" u="none" strike="noStrike" kern="0" cap="none" spc="55" normalizeH="0" baseline="0" noProof="0">
                <a:ln>
                  <a:noFill/>
                </a:ln>
                <a:solidFill>
                  <a:srgbClr val="452D8C"/>
                </a:solidFill>
                <a:effectLst/>
                <a:uLnTx/>
                <a:uFillTx/>
                <a:latin typeface="Calibri"/>
                <a:ea typeface="+mn-ea"/>
                <a:cs typeface="Calibri"/>
              </a:rPr>
              <a:t>delivery</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76" normalizeH="0" baseline="0" noProof="0">
                <a:ln>
                  <a:noFill/>
                </a:ln>
                <a:solidFill>
                  <a:srgbClr val="452D8C"/>
                </a:solidFill>
                <a:effectLst/>
                <a:uLnTx/>
                <a:uFillTx/>
                <a:latin typeface="Calibri"/>
                <a:ea typeface="+mn-ea"/>
                <a:cs typeface="Calibri"/>
              </a:rPr>
              <a:t>models</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0" name="object 50">
            <a:extLst>
              <a:ext uri="{C183D7F6-B498-43B3-948B-1728B52AA6E4}">
                <adec:decorative xmlns:adec="http://schemas.microsoft.com/office/drawing/2017/decorative" val="1"/>
              </a:ext>
            </a:extLst>
          </p:cNvPr>
          <p:cNvSpPr txBox="1"/>
          <p:nvPr/>
        </p:nvSpPr>
        <p:spPr>
          <a:xfrm>
            <a:off x="3570641" y="5416155"/>
            <a:ext cx="1457854" cy="586785"/>
          </a:xfrm>
          <a:prstGeom prst="rect">
            <a:avLst/>
          </a:prstGeom>
        </p:spPr>
        <p:txBody>
          <a:bodyPr vert="horz" wrap="square" lIns="0" tIns="8086" rIns="0" bIns="0" rtlCol="0">
            <a:spAutoFit/>
          </a:bodyPr>
          <a:lstStyle/>
          <a:p>
            <a:pPr marL="7701" marR="3081" lvl="0" indent="-385"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55" normalizeH="0" baseline="0" noProof="0">
                <a:ln>
                  <a:noFill/>
                </a:ln>
                <a:solidFill>
                  <a:srgbClr val="452D8C"/>
                </a:solidFill>
                <a:effectLst/>
                <a:uLnTx/>
                <a:uFillTx/>
                <a:latin typeface="Calibri"/>
                <a:ea typeface="+mn-ea"/>
                <a:cs typeface="Calibri"/>
              </a:rPr>
              <a:t>Grow</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revenue</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91" normalizeH="0" baseline="0" noProof="0">
                <a:ln>
                  <a:noFill/>
                </a:ln>
                <a:solidFill>
                  <a:srgbClr val="452D8C"/>
                </a:solidFill>
                <a:effectLst/>
                <a:uLnTx/>
                <a:uFillTx/>
                <a:latin typeface="Calibri"/>
                <a:ea typeface="+mn-ea"/>
                <a:cs typeface="Calibri"/>
              </a:rPr>
              <a:t>across </a:t>
            </a:r>
            <a:r>
              <a:rPr kumimoji="0" sz="940" b="0" i="0" u="none" strike="noStrike" kern="0" cap="none" spc="76" normalizeH="0" baseline="0" noProof="0">
                <a:ln>
                  <a:noFill/>
                </a:ln>
                <a:solidFill>
                  <a:srgbClr val="452D8C"/>
                </a:solidFill>
                <a:effectLst/>
                <a:uLnTx/>
                <a:uFillTx/>
                <a:latin typeface="Calibri"/>
                <a:ea typeface="+mn-ea"/>
                <a:cs typeface="Calibri"/>
              </a:rPr>
              <a:t>existing</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new</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79" normalizeH="0" baseline="0" noProof="0">
                <a:ln>
                  <a:noFill/>
                </a:ln>
                <a:solidFill>
                  <a:srgbClr val="452D8C"/>
                </a:solidFill>
                <a:effectLst/>
                <a:uLnTx/>
                <a:uFillTx/>
                <a:latin typeface="Calibri"/>
                <a:ea typeface="+mn-ea"/>
                <a:cs typeface="Calibri"/>
              </a:rPr>
              <a:t>streams </a:t>
            </a:r>
            <a:r>
              <a:rPr kumimoji="0" sz="940" b="0" i="0" u="none" strike="noStrike" kern="0" cap="none" spc="49" normalizeH="0" baseline="0" noProof="0">
                <a:ln>
                  <a:noFill/>
                </a:ln>
                <a:solidFill>
                  <a:srgbClr val="452D8C"/>
                </a:solidFill>
                <a:effectLst/>
                <a:uLnTx/>
                <a:uFillTx/>
                <a:latin typeface="Calibri"/>
                <a:ea typeface="+mn-ea"/>
                <a:cs typeface="Calibri"/>
              </a:rPr>
              <a:t>to</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maintain</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7" normalizeH="0" baseline="0" noProof="0">
                <a:ln>
                  <a:noFill/>
                </a:ln>
                <a:solidFill>
                  <a:srgbClr val="452D8C"/>
                </a:solidFill>
                <a:effectLst/>
                <a:uLnTx/>
                <a:uFillTx/>
                <a:latin typeface="Calibri"/>
                <a:ea typeface="+mn-ea"/>
                <a:cs typeface="Calibri"/>
              </a:rPr>
              <a:t>financial </a:t>
            </a:r>
            <a:r>
              <a:rPr kumimoji="0" sz="940" b="0" i="0" u="none" strike="noStrike" kern="0" cap="none" spc="61" normalizeH="0" baseline="0" noProof="0">
                <a:ln>
                  <a:noFill/>
                </a:ln>
                <a:solidFill>
                  <a:srgbClr val="452D8C"/>
                </a:solidFill>
                <a:effectLst/>
                <a:uLnTx/>
                <a:uFillTx/>
                <a:latin typeface="Calibri"/>
                <a:ea typeface="+mn-ea"/>
                <a:cs typeface="Calibri"/>
              </a:rPr>
              <a:t>resiliency</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1" name="object 51">
            <a:extLst>
              <a:ext uri="{C183D7F6-B498-43B3-948B-1728B52AA6E4}">
                <adec:decorative xmlns:adec="http://schemas.microsoft.com/office/drawing/2017/decorative" val="1"/>
              </a:ext>
            </a:extLst>
          </p:cNvPr>
          <p:cNvSpPr txBox="1"/>
          <p:nvPr/>
        </p:nvSpPr>
        <p:spPr>
          <a:xfrm>
            <a:off x="3754531" y="6135883"/>
            <a:ext cx="1090888" cy="586785"/>
          </a:xfrm>
          <a:prstGeom prst="rect">
            <a:avLst/>
          </a:prstGeom>
        </p:spPr>
        <p:txBody>
          <a:bodyPr vert="horz" wrap="square" lIns="0" tIns="8086" rIns="0" bIns="0" rtlCol="0">
            <a:spAutoFit/>
          </a:bodyPr>
          <a:lstStyle/>
          <a:p>
            <a:pPr marL="7701" marR="3081" lvl="0" indent="-385"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85" normalizeH="0" baseline="0" noProof="0">
                <a:ln>
                  <a:noFill/>
                </a:ln>
                <a:solidFill>
                  <a:srgbClr val="452D8C"/>
                </a:solidFill>
                <a:effectLst/>
                <a:uLnTx/>
                <a:uFillTx/>
                <a:latin typeface="Calibri"/>
                <a:ea typeface="+mn-ea"/>
                <a:cs typeface="Calibri"/>
              </a:rPr>
              <a:t>Become</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55" normalizeH="0" baseline="0" noProof="0">
                <a:ln>
                  <a:noFill/>
                </a:ln>
                <a:solidFill>
                  <a:srgbClr val="452D8C"/>
                </a:solidFill>
                <a:effectLst/>
                <a:uLnTx/>
                <a:uFillTx/>
                <a:latin typeface="Calibri"/>
                <a:ea typeface="+mn-ea"/>
                <a:cs typeface="Calibri"/>
              </a:rPr>
              <a:t>th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most </a:t>
            </a:r>
            <a:r>
              <a:rPr kumimoji="0" sz="940" b="0" i="0" u="none" strike="noStrike" kern="0" cap="none" spc="52" normalizeH="0" baseline="0" noProof="0">
                <a:ln>
                  <a:noFill/>
                </a:ln>
                <a:solidFill>
                  <a:srgbClr val="452D8C"/>
                </a:solidFill>
                <a:effectLst/>
                <a:uLnTx/>
                <a:uFillTx/>
                <a:latin typeface="Calibri"/>
                <a:ea typeface="+mn-ea"/>
                <a:cs typeface="Calibri"/>
              </a:rPr>
              <a:t>environmentally </a:t>
            </a:r>
            <a:r>
              <a:rPr kumimoji="0" sz="940" b="0" i="0" u="none" strike="noStrike" kern="0" cap="none" spc="79" normalizeH="0" baseline="0" noProof="0">
                <a:ln>
                  <a:noFill/>
                </a:ln>
                <a:solidFill>
                  <a:srgbClr val="452D8C"/>
                </a:solidFill>
                <a:effectLst/>
                <a:uLnTx/>
                <a:uFillTx/>
                <a:latin typeface="Calibri"/>
                <a:ea typeface="+mn-ea"/>
                <a:cs typeface="Calibri"/>
              </a:rPr>
              <a:t>sustainable</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airport </a:t>
            </a:r>
            <a:r>
              <a:rPr kumimoji="0" sz="940" b="0" i="0" u="none" strike="noStrike" kern="0" cap="none" spc="55" normalizeH="0" baseline="0" noProof="0">
                <a:ln>
                  <a:noFill/>
                </a:ln>
                <a:solidFill>
                  <a:srgbClr val="452D8C"/>
                </a:solidFill>
                <a:effectLst/>
                <a:uLnTx/>
                <a:uFillTx/>
                <a:latin typeface="Calibri"/>
                <a:ea typeface="+mn-ea"/>
                <a:cs typeface="Calibri"/>
              </a:rPr>
              <a:t>in</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5" normalizeH="0" baseline="0" noProof="0">
                <a:ln>
                  <a:noFill/>
                </a:ln>
                <a:solidFill>
                  <a:srgbClr val="452D8C"/>
                </a:solidFill>
                <a:effectLst/>
                <a:uLnTx/>
                <a:uFillTx/>
                <a:latin typeface="Calibri"/>
                <a:ea typeface="+mn-ea"/>
                <a:cs typeface="Calibri"/>
              </a:rPr>
              <a:t>th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world</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2" name="object 52">
            <a:extLst>
              <a:ext uri="{C183D7F6-B498-43B3-948B-1728B52AA6E4}">
                <adec:decorative xmlns:adec="http://schemas.microsoft.com/office/drawing/2017/decorative" val="1"/>
              </a:ext>
            </a:extLst>
          </p:cNvPr>
          <p:cNvSpPr txBox="1"/>
          <p:nvPr/>
        </p:nvSpPr>
        <p:spPr>
          <a:xfrm>
            <a:off x="1059799" y="4582082"/>
            <a:ext cx="1601484" cy="731440"/>
          </a:xfrm>
          <a:prstGeom prst="rect">
            <a:avLst/>
          </a:prstGeom>
        </p:spPr>
        <p:txBody>
          <a:bodyPr vert="horz" wrap="square" lIns="0" tIns="8086" rIns="0" bIns="0" rtlCol="0">
            <a:spAutoFit/>
          </a:bodyPr>
          <a:lstStyle/>
          <a:p>
            <a:pPr marL="7701" marR="3081" lvl="0" indent="26184"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64" normalizeH="0" baseline="0" noProof="0">
                <a:ln>
                  <a:noFill/>
                </a:ln>
                <a:solidFill>
                  <a:srgbClr val="452D8C"/>
                </a:solidFill>
                <a:effectLst/>
                <a:uLnTx/>
                <a:uFillTx/>
                <a:latin typeface="Calibri"/>
                <a:ea typeface="+mn-ea"/>
                <a:cs typeface="Calibri"/>
              </a:rPr>
              <a:t>Provide</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88" normalizeH="0" baseline="0" noProof="0">
                <a:ln>
                  <a:noFill/>
                </a:ln>
                <a:solidFill>
                  <a:srgbClr val="452D8C"/>
                </a:solidFill>
                <a:effectLst/>
                <a:uLnTx/>
                <a:uFillTx/>
                <a:latin typeface="Calibri"/>
                <a:ea typeface="+mn-ea"/>
                <a:cs typeface="Calibri"/>
              </a:rPr>
              <a:t>necessary</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tools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growth</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pportunities, </a:t>
            </a:r>
            <a:r>
              <a:rPr kumimoji="0" sz="940" b="0" i="0" u="none" strike="noStrike" kern="0" cap="none" spc="76" normalizeH="0" baseline="0" noProof="0">
                <a:ln>
                  <a:noFill/>
                </a:ln>
                <a:solidFill>
                  <a:srgbClr val="452D8C"/>
                </a:solidFill>
                <a:effectLst/>
                <a:uLnTx/>
                <a:uFillTx/>
                <a:latin typeface="Calibri"/>
                <a:ea typeface="+mn-ea"/>
                <a:cs typeface="Calibri"/>
              </a:rPr>
              <a:t>enabling</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ur</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employees</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33" normalizeH="0" baseline="0" noProof="0">
                <a:ln>
                  <a:noFill/>
                </a:ln>
                <a:solidFill>
                  <a:srgbClr val="452D8C"/>
                </a:solidFill>
                <a:effectLst/>
                <a:uLnTx/>
                <a:uFillTx/>
                <a:latin typeface="Calibri"/>
                <a:ea typeface="+mn-ea"/>
                <a:cs typeface="Calibri"/>
              </a:rPr>
              <a:t>to </a:t>
            </a:r>
            <a:r>
              <a:rPr kumimoji="0" sz="940" b="0" i="0" u="none" strike="noStrike" kern="0" cap="none" spc="73" normalizeH="0" baseline="0" noProof="0">
                <a:ln>
                  <a:noFill/>
                </a:ln>
                <a:solidFill>
                  <a:srgbClr val="452D8C"/>
                </a:solidFill>
                <a:effectLst/>
                <a:uLnTx/>
                <a:uFillTx/>
                <a:latin typeface="Calibri"/>
                <a:ea typeface="+mn-ea"/>
                <a:cs typeface="Calibri"/>
              </a:rPr>
              <a:t>excel</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55" normalizeH="0" baseline="0" noProof="0">
                <a:ln>
                  <a:noFill/>
                </a:ln>
                <a:solidFill>
                  <a:srgbClr val="452D8C"/>
                </a:solidFill>
                <a:effectLst/>
                <a:uLnTx/>
                <a:uFillTx/>
                <a:latin typeface="Calibri"/>
                <a:ea typeface="+mn-ea"/>
                <a:cs typeface="Calibri"/>
              </a:rPr>
              <a:t>in</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their</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roles</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and </a:t>
            </a:r>
            <a:r>
              <a:rPr kumimoji="0" sz="940" b="0" i="0" u="none" strike="noStrike" kern="0" cap="none" spc="64" normalizeH="0" baseline="0" noProof="0">
                <a:ln>
                  <a:noFill/>
                </a:ln>
                <a:solidFill>
                  <a:srgbClr val="452D8C"/>
                </a:solidFill>
                <a:effectLst/>
                <a:uLnTx/>
                <a:uFillTx/>
                <a:latin typeface="Calibri"/>
                <a:ea typeface="+mn-ea"/>
                <a:cs typeface="Calibri"/>
              </a:rPr>
              <a:t>contribut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to</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DEN’s</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109" normalizeH="0" baseline="0" noProof="0">
                <a:ln>
                  <a:noFill/>
                </a:ln>
                <a:solidFill>
                  <a:srgbClr val="452D8C"/>
                </a:solidFill>
                <a:effectLst/>
                <a:uLnTx/>
                <a:uFillTx/>
                <a:latin typeface="Calibri"/>
                <a:ea typeface="+mn-ea"/>
                <a:cs typeface="Calibri"/>
              </a:rPr>
              <a:t>success</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3" name="object 53">
            <a:extLst>
              <a:ext uri="{C183D7F6-B498-43B3-948B-1728B52AA6E4}">
                <adec:decorative xmlns:adec="http://schemas.microsoft.com/office/drawing/2017/decorative" val="1"/>
              </a:ext>
            </a:extLst>
          </p:cNvPr>
          <p:cNvSpPr txBox="1"/>
          <p:nvPr/>
        </p:nvSpPr>
        <p:spPr>
          <a:xfrm>
            <a:off x="1138849" y="5445757"/>
            <a:ext cx="1496361" cy="586785"/>
          </a:xfrm>
          <a:prstGeom prst="rect">
            <a:avLst/>
          </a:prstGeom>
        </p:spPr>
        <p:txBody>
          <a:bodyPr vert="horz" wrap="square" lIns="0" tIns="8086" rIns="0" bIns="0" rtlCol="0">
            <a:spAutoFit/>
          </a:bodyPr>
          <a:lstStyle/>
          <a:p>
            <a:pPr marL="7701" marR="3081" lvl="0" indent="0"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67" normalizeH="0" baseline="0" noProof="0">
                <a:ln>
                  <a:noFill/>
                </a:ln>
                <a:solidFill>
                  <a:srgbClr val="452D8C"/>
                </a:solidFill>
                <a:effectLst/>
                <a:uLnTx/>
                <a:uFillTx/>
                <a:latin typeface="Calibri"/>
                <a:ea typeface="+mn-ea"/>
                <a:cs typeface="Calibri"/>
              </a:rPr>
              <a:t>Recruit,</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train,</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support </a:t>
            </a:r>
            <a:r>
              <a:rPr kumimoji="0" sz="940" b="0" i="0" u="none" strike="noStrike" kern="0" cap="none" spc="76" normalizeH="0" baseline="0" noProof="0">
                <a:ln>
                  <a:noFill/>
                </a:ln>
                <a:solidFill>
                  <a:srgbClr val="452D8C"/>
                </a:solidFill>
                <a:effectLst/>
                <a:uLnTx/>
                <a:uFillTx/>
                <a:latin typeface="Calibri"/>
                <a:ea typeface="+mn-ea"/>
                <a:cs typeface="Calibri"/>
              </a:rPr>
              <a:t>ongoing</a:t>
            </a:r>
            <a:r>
              <a:rPr kumimoji="0" sz="940" b="0" i="0" u="none" strike="noStrike" kern="0" cap="none" spc="12"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learning, </a:t>
            </a:r>
            <a:r>
              <a:rPr kumimoji="0" sz="940" b="0" i="0" u="none" strike="noStrike" kern="0" cap="none" spc="49" normalizeH="0" baseline="0" noProof="0">
                <a:ln>
                  <a:noFill/>
                </a:ln>
                <a:solidFill>
                  <a:srgbClr val="452D8C"/>
                </a:solidFill>
                <a:effectLst/>
                <a:uLnTx/>
                <a:uFillTx/>
                <a:latin typeface="Calibri"/>
                <a:ea typeface="+mn-ea"/>
                <a:cs typeface="Calibri"/>
              </a:rPr>
              <a:t>innovation,</a:t>
            </a:r>
            <a:r>
              <a:rPr kumimoji="0" sz="940" b="0" i="0" u="none" strike="noStrike" kern="0" cap="none" spc="18"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and professional</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growth</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4" name="object 54">
            <a:extLst>
              <a:ext uri="{C183D7F6-B498-43B3-948B-1728B52AA6E4}">
                <adec:decorative xmlns:adec="http://schemas.microsoft.com/office/drawing/2017/decorative" val="1"/>
              </a:ext>
            </a:extLst>
          </p:cNvPr>
          <p:cNvSpPr txBox="1"/>
          <p:nvPr/>
        </p:nvSpPr>
        <p:spPr>
          <a:xfrm>
            <a:off x="1098425" y="6165485"/>
            <a:ext cx="1524471" cy="586785"/>
          </a:xfrm>
          <a:prstGeom prst="rect">
            <a:avLst/>
          </a:prstGeom>
        </p:spPr>
        <p:txBody>
          <a:bodyPr vert="horz" wrap="square" lIns="0" tIns="8086" rIns="0" bIns="0" rtlCol="0">
            <a:spAutoFit/>
          </a:bodyPr>
          <a:lstStyle/>
          <a:p>
            <a:pPr marL="7316" marR="3081" lvl="0" indent="52369"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85" normalizeH="0" baseline="0" noProof="0">
                <a:ln>
                  <a:noFill/>
                </a:ln>
                <a:solidFill>
                  <a:srgbClr val="452D8C"/>
                </a:solidFill>
                <a:effectLst/>
                <a:uLnTx/>
                <a:uFillTx/>
                <a:latin typeface="Calibri"/>
                <a:ea typeface="+mn-ea"/>
                <a:cs typeface="Calibri"/>
              </a:rPr>
              <a:t>Establish</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preserve </a:t>
            </a:r>
            <a:r>
              <a:rPr kumimoji="0" sz="940" b="0" i="0" u="none" strike="noStrike" kern="0" cap="none" spc="73" normalizeH="0" baseline="0" noProof="0">
                <a:ln>
                  <a:noFill/>
                </a:ln>
                <a:solidFill>
                  <a:srgbClr val="452D8C"/>
                </a:solidFill>
                <a:effectLst/>
                <a:uLnTx/>
                <a:uFillTx/>
                <a:latin typeface="Calibri"/>
                <a:ea typeface="+mn-ea"/>
                <a:cs typeface="Calibri"/>
              </a:rPr>
              <a:t>belonging</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73" normalizeH="0" baseline="0" noProof="0">
                <a:ln>
                  <a:noFill/>
                </a:ln>
                <a:solidFill>
                  <a:srgbClr val="452D8C"/>
                </a:solidFill>
                <a:effectLst/>
                <a:uLnTx/>
                <a:uFillTx/>
                <a:latin typeface="Calibri"/>
                <a:ea typeface="+mn-ea"/>
                <a:cs typeface="Calibri"/>
              </a:rPr>
              <a:t>inclusion</a:t>
            </a:r>
            <a:r>
              <a:rPr kumimoji="0" sz="940" b="0" i="0" u="none" strike="noStrike" kern="0" cap="none" spc="9" normalizeH="0" baseline="0" noProof="0">
                <a:ln>
                  <a:noFill/>
                </a:ln>
                <a:solidFill>
                  <a:srgbClr val="452D8C"/>
                </a:solidFill>
                <a:effectLst/>
                <a:uLnTx/>
                <a:uFillTx/>
                <a:latin typeface="Calibri"/>
                <a:ea typeface="+mn-ea"/>
                <a:cs typeface="Calibri"/>
              </a:rPr>
              <a:t> </a:t>
            </a:r>
            <a:r>
              <a:rPr kumimoji="0" sz="940" b="0" i="0" u="none" strike="noStrike" kern="0" cap="none" spc="100" normalizeH="0" baseline="0" noProof="0">
                <a:ln>
                  <a:noFill/>
                </a:ln>
                <a:solidFill>
                  <a:srgbClr val="452D8C"/>
                </a:solidFill>
                <a:effectLst/>
                <a:uLnTx/>
                <a:uFillTx/>
                <a:latin typeface="Calibri"/>
                <a:ea typeface="+mn-ea"/>
                <a:cs typeface="Calibri"/>
              </a:rPr>
              <a:t>as </a:t>
            </a:r>
            <a:r>
              <a:rPr kumimoji="0" sz="940" b="0" i="0" u="none" strike="noStrike" kern="0" cap="none" spc="73" normalizeH="0" baseline="0" noProof="0">
                <a:ln>
                  <a:noFill/>
                </a:ln>
                <a:solidFill>
                  <a:srgbClr val="452D8C"/>
                </a:solidFill>
                <a:effectLst/>
                <a:uLnTx/>
                <a:uFillTx/>
                <a:latin typeface="Calibri"/>
                <a:ea typeface="+mn-ea"/>
                <a:cs typeface="Calibri"/>
              </a:rPr>
              <a:t>cornerstones</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of</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DEN’s employee</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culture</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0" name="object 70">
            <a:extLst>
              <a:ext uri="{C183D7F6-B498-43B3-948B-1728B52AA6E4}">
                <adec:decorative xmlns:adec="http://schemas.microsoft.com/office/drawing/2017/decorative" val="1"/>
              </a:ext>
            </a:extLst>
          </p:cNvPr>
          <p:cNvSpPr txBox="1"/>
          <p:nvPr/>
        </p:nvSpPr>
        <p:spPr>
          <a:xfrm>
            <a:off x="6425914" y="4669457"/>
            <a:ext cx="1504447" cy="586785"/>
          </a:xfrm>
          <a:prstGeom prst="rect">
            <a:avLst/>
          </a:prstGeom>
        </p:spPr>
        <p:txBody>
          <a:bodyPr vert="horz" wrap="square" lIns="0" tIns="8086" rIns="0" bIns="0" rtlCol="0">
            <a:spAutoFit/>
          </a:bodyPr>
          <a:lstStyle/>
          <a:p>
            <a:pPr marL="7701" marR="3081" lvl="0" indent="284562" algn="l"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61" normalizeH="0" baseline="0" noProof="0">
                <a:ln>
                  <a:noFill/>
                </a:ln>
                <a:solidFill>
                  <a:srgbClr val="452D8C"/>
                </a:solidFill>
                <a:effectLst/>
                <a:uLnTx/>
                <a:uFillTx/>
                <a:latin typeface="Calibri"/>
                <a:ea typeface="+mn-ea"/>
                <a:cs typeface="Calibri"/>
              </a:rPr>
              <a:t>Ensure</a:t>
            </a:r>
            <a:r>
              <a:rPr kumimoji="0" sz="940" b="0" i="0" u="none" strike="noStrike" kern="0" cap="none" spc="-39" normalizeH="0" baseline="0" noProof="0">
                <a:ln>
                  <a:noFill/>
                </a:ln>
                <a:solidFill>
                  <a:srgbClr val="452D8C"/>
                </a:solidFill>
                <a:effectLst/>
                <a:uLnTx/>
                <a:uFillTx/>
                <a:latin typeface="Calibri"/>
                <a:ea typeface="+mn-ea"/>
                <a:cs typeface="Calibri"/>
              </a:rPr>
              <a:t> </a:t>
            </a:r>
            <a:r>
              <a:rPr kumimoji="0" sz="940" b="0" i="0" u="none" strike="noStrike" kern="0" cap="none" spc="24" normalizeH="0" baseline="0" noProof="0">
                <a:ln>
                  <a:noFill/>
                </a:ln>
                <a:solidFill>
                  <a:srgbClr val="452D8C"/>
                </a:solidFill>
                <a:effectLst/>
                <a:uLnTx/>
                <a:uFillTx/>
                <a:latin typeface="Calibri"/>
                <a:ea typeface="+mn-ea"/>
                <a:cs typeface="Calibri"/>
              </a:rPr>
              <a:t>longevity, </a:t>
            </a:r>
            <a:r>
              <a:rPr kumimoji="0" sz="940" b="0" i="0" u="none" strike="noStrike" kern="0" cap="none" spc="18" normalizeH="0" baseline="0" noProof="0">
                <a:ln>
                  <a:noFill/>
                </a:ln>
                <a:solidFill>
                  <a:srgbClr val="452D8C"/>
                </a:solidFill>
                <a:effectLst/>
                <a:uLnTx/>
                <a:uFillTx/>
                <a:latin typeface="Calibri"/>
                <a:ea typeface="+mn-ea"/>
                <a:cs typeface="Calibri"/>
              </a:rPr>
              <a:t>reliability,</a:t>
            </a:r>
            <a:r>
              <a:rPr kumimoji="0" sz="940" b="0" i="0" u="none" strike="noStrike" kern="0" cap="none" spc="24"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and</a:t>
            </a:r>
            <a:r>
              <a:rPr kumimoji="0" sz="940" b="0" i="0" u="none" strike="noStrike" kern="0" cap="none" spc="24" normalizeH="0" baseline="0" noProof="0">
                <a:ln>
                  <a:noFill/>
                </a:ln>
                <a:solidFill>
                  <a:srgbClr val="452D8C"/>
                </a:solidFill>
                <a:effectLst/>
                <a:uLnTx/>
                <a:uFillTx/>
                <a:latin typeface="Calibri"/>
                <a:ea typeface="+mn-ea"/>
                <a:cs typeface="Calibri"/>
              </a:rPr>
              <a:t> </a:t>
            </a:r>
            <a:r>
              <a:rPr kumimoji="0" sz="940" b="0" i="0" u="none" strike="noStrike" kern="0" cap="none" spc="42" normalizeH="0" baseline="0" noProof="0">
                <a:ln>
                  <a:noFill/>
                </a:ln>
                <a:solidFill>
                  <a:srgbClr val="452D8C"/>
                </a:solidFill>
                <a:effectLst/>
                <a:uLnTx/>
                <a:uFillTx/>
                <a:latin typeface="Calibri"/>
                <a:ea typeface="+mn-ea"/>
                <a:cs typeface="Calibri"/>
              </a:rPr>
              <a:t>performance</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a:p>
            <a:pPr marL="455916" marR="222182" lvl="0" indent="-229113" algn="l" defTabSz="554492" rtl="0" eaLnBrk="1" fontAlgn="auto" latinLnBrk="0" hangingPunct="1">
              <a:lnSpc>
                <a:spcPct val="100000"/>
              </a:lnSpc>
              <a:spcBef>
                <a:spcPts val="12"/>
              </a:spcBef>
              <a:spcAft>
                <a:spcPts val="0"/>
              </a:spcAft>
              <a:buClrTx/>
              <a:buSzTx/>
              <a:buFontTx/>
              <a:buNone/>
              <a:tabLst/>
              <a:defRPr/>
            </a:pPr>
            <a:r>
              <a:rPr kumimoji="0" sz="940" b="0" i="0" u="none" strike="noStrike" kern="0" cap="none" spc="39" normalizeH="0" baseline="0" noProof="0">
                <a:ln>
                  <a:noFill/>
                </a:ln>
                <a:solidFill>
                  <a:srgbClr val="452D8C"/>
                </a:solidFill>
                <a:effectLst/>
                <a:uLnTx/>
                <a:uFillTx/>
                <a:latin typeface="Calibri"/>
                <a:ea typeface="+mn-ea"/>
                <a:cs typeface="Calibri"/>
              </a:rPr>
              <a:t>of</a:t>
            </a:r>
            <a:r>
              <a:rPr kumimoji="0" sz="940" b="0" i="0" u="none" strike="noStrike" kern="0" cap="none" spc="-39"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existing</a:t>
            </a:r>
            <a:r>
              <a:rPr kumimoji="0" sz="940" b="0" i="0" u="none" strike="noStrike" kern="0" cap="none" spc="-36" normalizeH="0" baseline="0" noProof="0">
                <a:ln>
                  <a:noFill/>
                </a:ln>
                <a:solidFill>
                  <a:srgbClr val="452D8C"/>
                </a:solidFill>
                <a:effectLst/>
                <a:uLnTx/>
                <a:uFillTx/>
                <a:latin typeface="Calibri"/>
                <a:ea typeface="+mn-ea"/>
                <a:cs typeface="Calibri"/>
              </a:rPr>
              <a:t> </a:t>
            </a:r>
            <a:r>
              <a:rPr kumimoji="0" sz="940" b="0" i="0" u="none" strike="noStrike" kern="0" cap="none" spc="42" normalizeH="0" baseline="0" noProof="0">
                <a:ln>
                  <a:noFill/>
                </a:ln>
                <a:solidFill>
                  <a:srgbClr val="452D8C"/>
                </a:solidFill>
                <a:effectLst/>
                <a:uLnTx/>
                <a:uFillTx/>
                <a:latin typeface="Calibri"/>
                <a:ea typeface="+mn-ea"/>
                <a:cs typeface="Calibri"/>
              </a:rPr>
              <a:t>facilities </a:t>
            </a:r>
            <a:r>
              <a:rPr kumimoji="0" sz="940" b="0" i="0" u="none" strike="noStrike" kern="0" cap="none" spc="69" normalizeH="0" baseline="0" noProof="0">
                <a:ln>
                  <a:noFill/>
                </a:ln>
                <a:solidFill>
                  <a:srgbClr val="452D8C"/>
                </a:solidFill>
                <a:effectLst/>
                <a:uLnTx/>
                <a:uFillTx/>
                <a:latin typeface="Calibri"/>
                <a:ea typeface="+mn-ea"/>
                <a:cs typeface="Calibri"/>
              </a:rPr>
              <a:t>and</a:t>
            </a:r>
            <a:r>
              <a:rPr kumimoji="0" sz="940" b="0" i="0" u="none" strike="noStrike" kern="0" cap="none" spc="-36" normalizeH="0" baseline="0" noProof="0">
                <a:ln>
                  <a:noFill/>
                </a:ln>
                <a:solidFill>
                  <a:srgbClr val="452D8C"/>
                </a:solidFill>
                <a:effectLst/>
                <a:uLnTx/>
                <a:uFillTx/>
                <a:latin typeface="Calibri"/>
                <a:ea typeface="+mn-ea"/>
                <a:cs typeface="Calibri"/>
              </a:rPr>
              <a:t> </a:t>
            </a:r>
            <a:r>
              <a:rPr kumimoji="0" sz="940" b="0" i="0" u="none" strike="noStrike" kern="0" cap="none" spc="73" normalizeH="0" baseline="0" noProof="0">
                <a:ln>
                  <a:noFill/>
                </a:ln>
                <a:solidFill>
                  <a:srgbClr val="452D8C"/>
                </a:solidFill>
                <a:effectLst/>
                <a:uLnTx/>
                <a:uFillTx/>
                <a:latin typeface="Calibri"/>
                <a:ea typeface="+mn-ea"/>
                <a:cs typeface="Calibri"/>
              </a:rPr>
              <a:t>assets</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1" name="object 71">
            <a:extLst>
              <a:ext uri="{C183D7F6-B498-43B3-948B-1728B52AA6E4}">
                <adec:decorative xmlns:adec="http://schemas.microsoft.com/office/drawing/2017/decorative" val="1"/>
              </a:ext>
            </a:extLst>
          </p:cNvPr>
          <p:cNvSpPr txBox="1"/>
          <p:nvPr/>
        </p:nvSpPr>
        <p:spPr>
          <a:xfrm>
            <a:off x="6449425" y="5389185"/>
            <a:ext cx="1459780" cy="586785"/>
          </a:xfrm>
          <a:prstGeom prst="rect">
            <a:avLst/>
          </a:prstGeom>
        </p:spPr>
        <p:txBody>
          <a:bodyPr vert="horz" wrap="square" lIns="0" tIns="8086" rIns="0" bIns="0" rtlCol="0">
            <a:spAutoFit/>
          </a:bodyPr>
          <a:lstStyle/>
          <a:p>
            <a:pPr marL="7701" marR="3081" lvl="0" indent="0"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73" normalizeH="0" baseline="0" noProof="0">
                <a:ln>
                  <a:noFill/>
                </a:ln>
                <a:solidFill>
                  <a:srgbClr val="452D8C"/>
                </a:solidFill>
                <a:effectLst/>
                <a:uLnTx/>
                <a:uFillTx/>
                <a:latin typeface="Calibri"/>
                <a:ea typeface="+mn-ea"/>
                <a:cs typeface="Calibri"/>
              </a:rPr>
              <a:t>Consistently</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76" normalizeH="0" baseline="0" noProof="0">
                <a:ln>
                  <a:noFill/>
                </a:ln>
                <a:solidFill>
                  <a:srgbClr val="452D8C"/>
                </a:solidFill>
                <a:effectLst/>
                <a:uLnTx/>
                <a:uFillTx/>
                <a:latin typeface="Calibri"/>
                <a:ea typeface="+mn-ea"/>
                <a:cs typeface="Calibri"/>
              </a:rPr>
              <a:t>surprise</a:t>
            </a:r>
            <a:r>
              <a:rPr kumimoji="0" sz="940" b="0" i="0" u="none" strike="noStrike" kern="0" cap="none" spc="9"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and </a:t>
            </a:r>
            <a:r>
              <a:rPr kumimoji="0" sz="940" b="0" i="0" u="none" strike="noStrike" kern="0" cap="none" spc="67" normalizeH="0" baseline="0" noProof="0">
                <a:ln>
                  <a:noFill/>
                </a:ln>
                <a:solidFill>
                  <a:srgbClr val="452D8C"/>
                </a:solidFill>
                <a:effectLst/>
                <a:uLnTx/>
                <a:uFillTx/>
                <a:latin typeface="Calibri"/>
                <a:ea typeface="+mn-ea"/>
                <a:cs typeface="Calibri"/>
              </a:rPr>
              <a:t>delight</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ur</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82" normalizeH="0" baseline="0" noProof="0">
                <a:ln>
                  <a:noFill/>
                </a:ln>
                <a:solidFill>
                  <a:srgbClr val="452D8C"/>
                </a:solidFill>
                <a:effectLst/>
                <a:uLnTx/>
                <a:uFillTx/>
                <a:latin typeface="Calibri"/>
                <a:ea typeface="+mn-ea"/>
                <a:cs typeface="Calibri"/>
              </a:rPr>
              <a:t>customers</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by </a:t>
            </a:r>
            <a:r>
              <a:rPr kumimoji="0" sz="940" b="0" i="0" u="none" strike="noStrike" kern="0" cap="none" spc="67" normalizeH="0" baseline="0" noProof="0">
                <a:ln>
                  <a:noFill/>
                </a:ln>
                <a:solidFill>
                  <a:srgbClr val="452D8C"/>
                </a:solidFill>
                <a:effectLst/>
                <a:uLnTx/>
                <a:uFillTx/>
                <a:latin typeface="Calibri"/>
                <a:ea typeface="+mn-ea"/>
                <a:cs typeface="Calibri"/>
              </a:rPr>
              <a:t>providing</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82" normalizeH="0" baseline="0" noProof="0">
                <a:ln>
                  <a:noFill/>
                </a:ln>
                <a:solidFill>
                  <a:srgbClr val="452D8C"/>
                </a:solidFill>
                <a:effectLst/>
                <a:uLnTx/>
                <a:uFillTx/>
                <a:latin typeface="Calibri"/>
                <a:ea typeface="+mn-ea"/>
                <a:cs typeface="Calibri"/>
              </a:rPr>
              <a:t>an</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exceptional </a:t>
            </a:r>
            <a:r>
              <a:rPr kumimoji="0" sz="940" b="0" i="0" u="none" strike="noStrike" kern="0" cap="none" spc="69" normalizeH="0" baseline="0" noProof="0">
                <a:ln>
                  <a:noFill/>
                </a:ln>
                <a:solidFill>
                  <a:srgbClr val="452D8C"/>
                </a:solidFill>
                <a:effectLst/>
                <a:uLnTx/>
                <a:uFillTx/>
                <a:latin typeface="Calibri"/>
                <a:ea typeface="+mn-ea"/>
                <a:cs typeface="Calibri"/>
              </a:rPr>
              <a:t>experience</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at</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76" normalizeH="0" baseline="0" noProof="0">
                <a:ln>
                  <a:noFill/>
                </a:ln>
                <a:solidFill>
                  <a:srgbClr val="452D8C"/>
                </a:solidFill>
                <a:effectLst/>
                <a:uLnTx/>
                <a:uFillTx/>
                <a:latin typeface="Calibri"/>
                <a:ea typeface="+mn-ea"/>
                <a:cs typeface="Calibri"/>
              </a:rPr>
              <a:t>DEN</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2" name="object 72">
            <a:extLst>
              <a:ext uri="{C183D7F6-B498-43B3-948B-1728B52AA6E4}">
                <adec:decorative xmlns:adec="http://schemas.microsoft.com/office/drawing/2017/decorative" val="1"/>
              </a:ext>
            </a:extLst>
          </p:cNvPr>
          <p:cNvSpPr txBox="1"/>
          <p:nvPr/>
        </p:nvSpPr>
        <p:spPr>
          <a:xfrm>
            <a:off x="6274771" y="6108915"/>
            <a:ext cx="1809418" cy="586785"/>
          </a:xfrm>
          <a:prstGeom prst="rect">
            <a:avLst/>
          </a:prstGeom>
        </p:spPr>
        <p:txBody>
          <a:bodyPr vert="horz" wrap="square" lIns="0" tIns="8086" rIns="0" bIns="0" rtlCol="0">
            <a:spAutoFit/>
          </a:bodyPr>
          <a:lstStyle/>
          <a:p>
            <a:pPr marL="7701" marR="3081" lvl="0" indent="-385"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76" normalizeH="0" baseline="0" noProof="0">
                <a:ln>
                  <a:noFill/>
                </a:ln>
                <a:solidFill>
                  <a:srgbClr val="452D8C"/>
                </a:solidFill>
                <a:effectLst/>
                <a:uLnTx/>
                <a:uFillTx/>
                <a:latin typeface="Calibri"/>
                <a:ea typeface="+mn-ea"/>
                <a:cs typeface="Calibri"/>
              </a:rPr>
              <a:t>Leverage</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data-</a:t>
            </a:r>
            <a:r>
              <a:rPr kumimoji="0" sz="940" b="0" i="0" u="none" strike="noStrike" kern="0" cap="none" spc="67" normalizeH="0" baseline="0" noProof="0">
                <a:ln>
                  <a:noFill/>
                </a:ln>
                <a:solidFill>
                  <a:srgbClr val="452D8C"/>
                </a:solidFill>
                <a:effectLst/>
                <a:uLnTx/>
                <a:uFillTx/>
                <a:latin typeface="Calibri"/>
                <a:ea typeface="+mn-ea"/>
                <a:cs typeface="Calibri"/>
              </a:rPr>
              <a:t>driven</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79" normalizeH="0" baseline="0" noProof="0">
                <a:ln>
                  <a:noFill/>
                </a:ln>
                <a:solidFill>
                  <a:srgbClr val="452D8C"/>
                </a:solidFill>
                <a:effectLst/>
                <a:uLnTx/>
                <a:uFillTx/>
                <a:latin typeface="Calibri"/>
                <a:ea typeface="+mn-ea"/>
                <a:cs typeface="Calibri"/>
              </a:rPr>
              <a:t>insights </a:t>
            </a:r>
            <a:r>
              <a:rPr kumimoji="0" sz="940" b="0" i="0" u="none" strike="noStrike" kern="0" cap="none" spc="49" normalizeH="0" baseline="0" noProof="0">
                <a:ln>
                  <a:noFill/>
                </a:ln>
                <a:solidFill>
                  <a:srgbClr val="452D8C"/>
                </a:solidFill>
                <a:effectLst/>
                <a:uLnTx/>
                <a:uFillTx/>
                <a:latin typeface="Calibri"/>
                <a:ea typeface="+mn-ea"/>
                <a:cs typeface="Calibri"/>
              </a:rPr>
              <a:t>to</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8" normalizeH="0" baseline="0" noProof="0">
                <a:ln>
                  <a:noFill/>
                </a:ln>
                <a:solidFill>
                  <a:srgbClr val="452D8C"/>
                </a:solidFill>
                <a:effectLst/>
                <a:uLnTx/>
                <a:uFillTx/>
                <a:latin typeface="Calibri"/>
                <a:ea typeface="+mn-ea"/>
                <a:cs typeface="Calibri"/>
              </a:rPr>
              <a:t>inform</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79" normalizeH="0" baseline="0" noProof="0">
                <a:ln>
                  <a:noFill/>
                </a:ln>
                <a:solidFill>
                  <a:srgbClr val="452D8C"/>
                </a:solidFill>
                <a:effectLst/>
                <a:uLnTx/>
                <a:uFillTx/>
                <a:latin typeface="Calibri"/>
                <a:ea typeface="+mn-ea"/>
                <a:cs typeface="Calibri"/>
              </a:rPr>
              <a:t>decision-</a:t>
            </a:r>
            <a:r>
              <a:rPr kumimoji="0" sz="940" b="0" i="0" u="none" strike="noStrike" kern="0" cap="none" spc="88" normalizeH="0" baseline="0" noProof="0">
                <a:ln>
                  <a:noFill/>
                </a:ln>
                <a:solidFill>
                  <a:srgbClr val="452D8C"/>
                </a:solidFill>
                <a:effectLst/>
                <a:uLnTx/>
                <a:uFillTx/>
                <a:latin typeface="Calibri"/>
                <a:ea typeface="+mn-ea"/>
                <a:cs typeface="Calibri"/>
              </a:rPr>
              <a:t>making </a:t>
            </a:r>
            <a:r>
              <a:rPr kumimoji="0" sz="940" b="0" i="0" u="none" strike="noStrike" kern="0" cap="none" spc="79" normalizeH="0" baseline="0" noProof="0">
                <a:ln>
                  <a:noFill/>
                </a:ln>
                <a:solidFill>
                  <a:srgbClr val="452D8C"/>
                </a:solidFill>
                <a:effectLst/>
                <a:uLnTx/>
                <a:uFillTx/>
                <a:latin typeface="Calibri"/>
                <a:ea typeface="+mn-ea"/>
                <a:cs typeface="Calibri"/>
              </a:rPr>
              <a:t>processes,</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7" normalizeH="0" baseline="0" noProof="0">
                <a:ln>
                  <a:noFill/>
                </a:ln>
                <a:solidFill>
                  <a:srgbClr val="452D8C"/>
                </a:solidFill>
                <a:effectLst/>
                <a:uLnTx/>
                <a:uFillTx/>
                <a:latin typeface="Calibri"/>
                <a:ea typeface="+mn-ea"/>
                <a:cs typeface="Calibri"/>
              </a:rPr>
              <a:t>optimize</a:t>
            </a:r>
            <a:r>
              <a:rPr kumimoji="0" sz="940" b="0" i="0" u="none" strike="noStrike" kern="0" cap="none" spc="9"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perations,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5" normalizeH="0" baseline="0" noProof="0">
                <a:ln>
                  <a:noFill/>
                </a:ln>
                <a:solidFill>
                  <a:srgbClr val="452D8C"/>
                </a:solidFill>
                <a:effectLst/>
                <a:uLnTx/>
                <a:uFillTx/>
                <a:latin typeface="Calibri"/>
                <a:ea typeface="+mn-ea"/>
                <a:cs typeface="Calibri"/>
              </a:rPr>
              <a:t>driv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innovation</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3" name="object 73">
            <a:extLst>
              <a:ext uri="{C183D7F6-B498-43B3-948B-1728B52AA6E4}">
                <adec:decorative xmlns:adec="http://schemas.microsoft.com/office/drawing/2017/decorative" val="1"/>
              </a:ext>
            </a:extLst>
          </p:cNvPr>
          <p:cNvSpPr txBox="1"/>
          <p:nvPr/>
        </p:nvSpPr>
        <p:spPr>
          <a:xfrm>
            <a:off x="9039341" y="4616589"/>
            <a:ext cx="1476338" cy="586785"/>
          </a:xfrm>
          <a:prstGeom prst="rect">
            <a:avLst/>
          </a:prstGeom>
        </p:spPr>
        <p:txBody>
          <a:bodyPr vert="horz" wrap="square" lIns="0" tIns="8086" rIns="0" bIns="0" rtlCol="0">
            <a:spAutoFit/>
          </a:bodyPr>
          <a:lstStyle/>
          <a:p>
            <a:pPr marL="20793" marR="16173" lvl="0" indent="-385"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94" normalizeH="0" baseline="0" noProof="0">
                <a:ln>
                  <a:noFill/>
                </a:ln>
                <a:solidFill>
                  <a:srgbClr val="452D8C"/>
                </a:solidFill>
                <a:effectLst/>
                <a:uLnTx/>
                <a:uFillTx/>
                <a:latin typeface="Calibri"/>
                <a:ea typeface="+mn-ea"/>
                <a:cs typeface="Calibri"/>
              </a:rPr>
              <a:t>Exp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ur</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air</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network</a:t>
            </a:r>
            <a:r>
              <a:rPr kumimoji="0" sz="940" b="0" i="0" u="none" strike="noStrike" kern="0" cap="none" spc="30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to</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55" normalizeH="0" baseline="0" noProof="0">
                <a:ln>
                  <a:noFill/>
                </a:ln>
                <a:solidFill>
                  <a:srgbClr val="452D8C"/>
                </a:solidFill>
                <a:effectLst/>
                <a:uLnTx/>
                <a:uFillTx/>
                <a:latin typeface="Calibri"/>
                <a:ea typeface="+mn-ea"/>
                <a:cs typeface="Calibri"/>
              </a:rPr>
              <a:t>th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continent</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of</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1" normalizeH="0" baseline="0" noProof="0">
                <a:ln>
                  <a:noFill/>
                </a:ln>
                <a:solidFill>
                  <a:srgbClr val="452D8C"/>
                </a:solidFill>
                <a:effectLst/>
                <a:uLnTx/>
                <a:uFillTx/>
                <a:latin typeface="Calibri"/>
                <a:ea typeface="+mn-ea"/>
                <a:cs typeface="Calibri"/>
              </a:rPr>
              <a:t>Africa, </a:t>
            </a:r>
            <a:r>
              <a:rPr kumimoji="0" sz="940" b="0" i="0" u="none" strike="noStrike" kern="0" cap="none" spc="85" normalizeH="0" baseline="0" noProof="0">
                <a:ln>
                  <a:noFill/>
                </a:ln>
                <a:solidFill>
                  <a:srgbClr val="452D8C"/>
                </a:solidFill>
                <a:effectLst/>
                <a:uLnTx/>
                <a:uFillTx/>
                <a:latin typeface="Calibri"/>
                <a:ea typeface="+mn-ea"/>
                <a:cs typeface="Calibri"/>
              </a:rPr>
              <a:t>and</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other</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unserved</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ctr" defTabSz="554492" rtl="0" eaLnBrk="1" fontAlgn="auto" latinLnBrk="0" hangingPunct="1">
              <a:lnSpc>
                <a:spcPct val="100000"/>
              </a:lnSpc>
              <a:spcBef>
                <a:spcPts val="18"/>
              </a:spcBef>
              <a:spcAft>
                <a:spcPts val="0"/>
              </a:spcAft>
              <a:buClrTx/>
              <a:buSzTx/>
              <a:buFontTx/>
              <a:buNone/>
              <a:tabLst/>
              <a:defRPr/>
            </a:pPr>
            <a:r>
              <a:rPr kumimoji="0" sz="940" b="0" i="0" u="none" strike="noStrike" kern="0" cap="none" spc="58" normalizeH="0" baseline="0" noProof="0">
                <a:ln>
                  <a:noFill/>
                </a:ln>
                <a:solidFill>
                  <a:srgbClr val="452D8C"/>
                </a:solidFill>
                <a:effectLst/>
                <a:uLnTx/>
                <a:uFillTx/>
                <a:latin typeface="Calibri"/>
                <a:ea typeface="+mn-ea"/>
                <a:cs typeface="Calibri"/>
              </a:rPr>
              <a:t>international</a:t>
            </a:r>
            <a:r>
              <a:rPr kumimoji="0" sz="940" b="0" i="0" u="none" strike="noStrike" kern="0" cap="none" spc="15"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destinations</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4" name="object 74">
            <a:extLst>
              <a:ext uri="{C183D7F6-B498-43B3-948B-1728B52AA6E4}">
                <adec:decorative xmlns:adec="http://schemas.microsoft.com/office/drawing/2017/decorative" val="1"/>
              </a:ext>
            </a:extLst>
          </p:cNvPr>
          <p:cNvSpPr txBox="1"/>
          <p:nvPr/>
        </p:nvSpPr>
        <p:spPr>
          <a:xfrm>
            <a:off x="9070770" y="5336319"/>
            <a:ext cx="1413572" cy="442130"/>
          </a:xfrm>
          <a:prstGeom prst="rect">
            <a:avLst/>
          </a:prstGeom>
        </p:spPr>
        <p:txBody>
          <a:bodyPr vert="horz" wrap="square" lIns="0" tIns="8086" rIns="0" bIns="0" rtlCol="0">
            <a:spAutoFit/>
          </a:bodyPr>
          <a:lstStyle/>
          <a:p>
            <a:pPr marL="7701" marR="3081" lvl="0" indent="0" algn="ctr" defTabSz="554492" rtl="0" eaLnBrk="1" fontAlgn="auto" latinLnBrk="0" hangingPunct="1">
              <a:lnSpc>
                <a:spcPct val="100000"/>
              </a:lnSpc>
              <a:spcBef>
                <a:spcPts val="64"/>
              </a:spcBef>
              <a:spcAft>
                <a:spcPts val="0"/>
              </a:spcAft>
              <a:buClrTx/>
              <a:buSzTx/>
              <a:buFontTx/>
              <a:buNone/>
              <a:tabLst/>
              <a:defRPr/>
            </a:pPr>
            <a:r>
              <a:rPr kumimoji="0" sz="940" b="0" i="0" u="none" strike="noStrike" kern="0" cap="none" spc="76" normalizeH="0" baseline="0" noProof="0">
                <a:ln>
                  <a:noFill/>
                </a:ln>
                <a:solidFill>
                  <a:srgbClr val="452D8C"/>
                </a:solidFill>
                <a:effectLst/>
                <a:uLnTx/>
                <a:uFillTx/>
                <a:latin typeface="Calibri"/>
                <a:ea typeface="+mn-ea"/>
                <a:cs typeface="Calibri"/>
              </a:rPr>
              <a:t>Leverag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our</a:t>
            </a:r>
            <a:r>
              <a:rPr kumimoji="0" sz="940" b="0" i="0" u="none" strike="noStrike" kern="0" cap="none" spc="0" normalizeH="0" baseline="0" noProof="0">
                <a:ln>
                  <a:noFill/>
                </a:ln>
                <a:solidFill>
                  <a:srgbClr val="452D8C"/>
                </a:solidFill>
                <a:effectLst/>
                <a:uLnTx/>
                <a:uFillTx/>
                <a:latin typeface="Calibri"/>
                <a:ea typeface="+mn-ea"/>
                <a:cs typeface="Calibri"/>
              </a:rPr>
              <a:t> </a:t>
            </a:r>
            <a:r>
              <a:rPr kumimoji="0" sz="940" b="0" i="0" u="none" strike="noStrike" kern="0" cap="none" spc="69" normalizeH="0" baseline="0" noProof="0">
                <a:ln>
                  <a:noFill/>
                </a:ln>
                <a:solidFill>
                  <a:srgbClr val="452D8C"/>
                </a:solidFill>
                <a:effectLst/>
                <a:uLnTx/>
                <a:uFillTx/>
                <a:latin typeface="Calibri"/>
                <a:ea typeface="+mn-ea"/>
                <a:cs typeface="Calibri"/>
              </a:rPr>
              <a:t>strong performance</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49" normalizeH="0" baseline="0" noProof="0">
                <a:ln>
                  <a:noFill/>
                </a:ln>
                <a:solidFill>
                  <a:srgbClr val="452D8C"/>
                </a:solidFill>
                <a:effectLst/>
                <a:uLnTx/>
                <a:uFillTx/>
                <a:latin typeface="Calibri"/>
                <a:ea typeface="+mn-ea"/>
                <a:cs typeface="Calibri"/>
              </a:rPr>
              <a:t>to</a:t>
            </a:r>
            <a:r>
              <a:rPr kumimoji="0" sz="940" b="0" i="0" u="none" strike="noStrike" kern="0" cap="none" spc="6" normalizeH="0" baseline="0" noProof="0">
                <a:ln>
                  <a:noFill/>
                </a:ln>
                <a:solidFill>
                  <a:srgbClr val="452D8C"/>
                </a:solidFill>
                <a:effectLst/>
                <a:uLnTx/>
                <a:uFillTx/>
                <a:latin typeface="Calibri"/>
                <a:ea typeface="+mn-ea"/>
                <a:cs typeface="Calibri"/>
              </a:rPr>
              <a:t> </a:t>
            </a:r>
            <a:r>
              <a:rPr kumimoji="0" sz="940" b="0" i="0" u="none" strike="noStrike" kern="0" cap="none" spc="67" normalizeH="0" baseline="0" noProof="0">
                <a:ln>
                  <a:noFill/>
                </a:ln>
                <a:solidFill>
                  <a:srgbClr val="452D8C"/>
                </a:solidFill>
                <a:effectLst/>
                <a:uLnTx/>
                <a:uFillTx/>
                <a:latin typeface="Calibri"/>
                <a:ea typeface="+mn-ea"/>
                <a:cs typeface="Calibri"/>
              </a:rPr>
              <a:t>grow</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36" normalizeH="0" baseline="0" noProof="0">
                <a:ln>
                  <a:noFill/>
                </a:ln>
                <a:solidFill>
                  <a:srgbClr val="452D8C"/>
                </a:solidFill>
                <a:effectLst/>
                <a:uLnTx/>
                <a:uFillTx/>
                <a:latin typeface="Calibri"/>
                <a:ea typeface="+mn-ea"/>
                <a:cs typeface="Calibri"/>
              </a:rPr>
              <a:t>our </a:t>
            </a:r>
            <a:r>
              <a:rPr kumimoji="0" sz="940" b="0" i="0" u="none" strike="noStrike" kern="0" cap="none" spc="82" normalizeH="0" baseline="0" noProof="0">
                <a:ln>
                  <a:noFill/>
                </a:ln>
                <a:solidFill>
                  <a:srgbClr val="452D8C"/>
                </a:solidFill>
                <a:effectLst/>
                <a:uLnTx/>
                <a:uFillTx/>
                <a:latin typeface="Calibri"/>
                <a:ea typeface="+mn-ea"/>
                <a:cs typeface="Calibri"/>
              </a:rPr>
              <a:t>domestic</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64" normalizeH="0" baseline="0" noProof="0">
                <a:ln>
                  <a:noFill/>
                </a:ln>
                <a:solidFill>
                  <a:srgbClr val="452D8C"/>
                </a:solidFill>
                <a:effectLst/>
                <a:uLnTx/>
                <a:uFillTx/>
                <a:latin typeface="Calibri"/>
                <a:ea typeface="+mn-ea"/>
                <a:cs typeface="Calibri"/>
              </a:rPr>
              <a:t>air</a:t>
            </a:r>
            <a:r>
              <a:rPr kumimoji="0" sz="940" b="0" i="0" u="none" strike="noStrike" kern="0" cap="none" spc="-3" normalizeH="0" baseline="0" noProof="0">
                <a:ln>
                  <a:noFill/>
                </a:ln>
                <a:solidFill>
                  <a:srgbClr val="452D8C"/>
                </a:solidFill>
                <a:effectLst/>
                <a:uLnTx/>
                <a:uFillTx/>
                <a:latin typeface="Calibri"/>
                <a:ea typeface="+mn-ea"/>
                <a:cs typeface="Calibri"/>
              </a:rPr>
              <a:t> </a:t>
            </a:r>
            <a:r>
              <a:rPr kumimoji="0" sz="940" b="0" i="0" u="none" strike="noStrike" kern="0" cap="none" spc="52" normalizeH="0" baseline="0" noProof="0">
                <a:ln>
                  <a:noFill/>
                </a:ln>
                <a:solidFill>
                  <a:srgbClr val="452D8C"/>
                </a:solidFill>
                <a:effectLst/>
                <a:uLnTx/>
                <a:uFillTx/>
                <a:latin typeface="Calibri"/>
                <a:ea typeface="+mn-ea"/>
                <a:cs typeface="Calibri"/>
              </a:rPr>
              <a:t>network</a:t>
            </a:r>
            <a:endParaRPr kumimoji="0" sz="94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5" name="object 75">
            <a:extLst>
              <a:ext uri="{C183D7F6-B498-43B3-948B-1728B52AA6E4}">
                <adec:decorative xmlns:adec="http://schemas.microsoft.com/office/drawing/2017/decorative" val="1"/>
              </a:ext>
            </a:extLst>
          </p:cNvPr>
          <p:cNvSpPr txBox="1">
            <a:spLocks noGrp="1"/>
          </p:cNvSpPr>
          <p:nvPr>
            <p:ph type="title"/>
          </p:nvPr>
        </p:nvSpPr>
        <p:spPr>
          <a:xfrm>
            <a:off x="1527523" y="686879"/>
            <a:ext cx="10000222" cy="299420"/>
          </a:xfrm>
          <a:prstGeom prst="rect">
            <a:avLst/>
          </a:prstGeom>
        </p:spPr>
        <p:txBody>
          <a:bodyPr vert="horz" wrap="square" lIns="0" tIns="10012" rIns="0" bIns="0" rtlCol="0">
            <a:spAutoFit/>
          </a:bodyPr>
          <a:lstStyle/>
          <a:p>
            <a:pPr marL="7701" algn="l">
              <a:spcBef>
                <a:spcPts val="79"/>
              </a:spcBef>
              <a:tabLst>
                <a:tab pos="1188693" algn="l"/>
                <a:tab pos="2485203" algn="l"/>
                <a:tab pos="3041235" algn="l"/>
                <a:tab pos="4023534" algn="l"/>
                <a:tab pos="4431702" algn="l"/>
                <a:tab pos="5041643" algn="l"/>
                <a:tab pos="6155248" algn="l"/>
                <a:tab pos="6553404" algn="l"/>
                <a:tab pos="7109052" algn="l"/>
                <a:tab pos="7814104" algn="l"/>
                <a:tab pos="8141793" algn="l"/>
              </a:tabLst>
            </a:pPr>
            <a:r>
              <a:rPr spc="167"/>
              <a:t>MISSION:</a:t>
            </a:r>
            <a:r>
              <a:t>	</a:t>
            </a:r>
            <a:r>
              <a:rPr spc="218"/>
              <a:t>THROUGH</a:t>
            </a:r>
            <a:r>
              <a:t>	</a:t>
            </a:r>
            <a:r>
              <a:rPr spc="218"/>
              <a:t>THE</a:t>
            </a:r>
            <a:r>
              <a:t>	</a:t>
            </a:r>
            <a:r>
              <a:rPr spc="240"/>
              <a:t>POWER</a:t>
            </a:r>
            <a:r>
              <a:t>	</a:t>
            </a:r>
            <a:r>
              <a:rPr spc="209"/>
              <a:t>OF</a:t>
            </a:r>
            <a:r>
              <a:t>	</a:t>
            </a:r>
            <a:r>
              <a:rPr spc="206"/>
              <a:t>OUR</a:t>
            </a:r>
            <a:r>
              <a:t>	</a:t>
            </a:r>
            <a:r>
              <a:rPr spc="255"/>
              <a:t>PEOPLE,</a:t>
            </a:r>
            <a:r>
              <a:t>	</a:t>
            </a:r>
            <a:r>
              <a:rPr spc="255"/>
              <a:t>BE</a:t>
            </a:r>
            <a:r>
              <a:t>	</a:t>
            </a:r>
            <a:r>
              <a:rPr spc="218"/>
              <a:t>THE</a:t>
            </a:r>
            <a:r>
              <a:t>	</a:t>
            </a:r>
            <a:r>
              <a:rPr spc="278"/>
              <a:t>BEST</a:t>
            </a:r>
            <a:r>
              <a:t>	</a:t>
            </a:r>
            <a:r>
              <a:rPr spc="100"/>
              <a:t>IN</a:t>
            </a:r>
            <a:r>
              <a:t>	</a:t>
            </a:r>
            <a:r>
              <a:rPr spc="370"/>
              <a:t>CLASS</a:t>
            </a:r>
          </a:p>
        </p:txBody>
      </p:sp>
      <p:grpSp>
        <p:nvGrpSpPr>
          <p:cNvPr id="76" name="object 76">
            <a:extLst>
              <a:ext uri="{C183D7F6-B498-43B3-948B-1728B52AA6E4}">
                <adec:decorative xmlns:adec="http://schemas.microsoft.com/office/drawing/2017/decorative" val="1"/>
              </a:ext>
            </a:extLst>
          </p:cNvPr>
          <p:cNvGrpSpPr/>
          <p:nvPr/>
        </p:nvGrpSpPr>
        <p:grpSpPr>
          <a:xfrm>
            <a:off x="1491372" y="215215"/>
            <a:ext cx="9977408" cy="1698561"/>
            <a:chOff x="2349119" y="374541"/>
            <a:chExt cx="16453485" cy="2801053"/>
          </a:xfrm>
        </p:grpSpPr>
        <p:sp>
          <p:nvSpPr>
            <p:cNvPr id="77" name="object 77"/>
            <p:cNvSpPr/>
            <p:nvPr/>
          </p:nvSpPr>
          <p:spPr>
            <a:xfrm>
              <a:off x="2349119" y="374541"/>
              <a:ext cx="16453485" cy="600075"/>
            </a:xfrm>
            <a:custGeom>
              <a:avLst/>
              <a:gdLst/>
              <a:ahLst/>
              <a:cxnLst/>
              <a:rect l="l" t="t" r="r" b="b"/>
              <a:pathLst>
                <a:path w="16453485" h="600075">
                  <a:moveTo>
                    <a:pt x="236499" y="11531"/>
                  </a:moveTo>
                  <a:lnTo>
                    <a:pt x="142557" y="11531"/>
                  </a:lnTo>
                  <a:lnTo>
                    <a:pt x="0" y="71691"/>
                  </a:lnTo>
                  <a:lnTo>
                    <a:pt x="0" y="172224"/>
                  </a:lnTo>
                  <a:lnTo>
                    <a:pt x="122783" y="126898"/>
                  </a:lnTo>
                  <a:lnTo>
                    <a:pt x="122783" y="588378"/>
                  </a:lnTo>
                  <a:lnTo>
                    <a:pt x="236499" y="588378"/>
                  </a:lnTo>
                  <a:lnTo>
                    <a:pt x="236499" y="11531"/>
                  </a:lnTo>
                  <a:close/>
                </a:path>
                <a:path w="16453485" h="600075">
                  <a:moveTo>
                    <a:pt x="868895" y="201066"/>
                  </a:moveTo>
                  <a:lnTo>
                    <a:pt x="863854" y="153263"/>
                  </a:lnTo>
                  <a:lnTo>
                    <a:pt x="848969" y="109677"/>
                  </a:lnTo>
                  <a:lnTo>
                    <a:pt x="825042" y="72453"/>
                  </a:lnTo>
                  <a:lnTo>
                    <a:pt x="792657" y="42024"/>
                  </a:lnTo>
                  <a:lnTo>
                    <a:pt x="755167" y="20764"/>
                  </a:lnTo>
                  <a:lnTo>
                    <a:pt x="755167" y="199415"/>
                  </a:lnTo>
                  <a:lnTo>
                    <a:pt x="755167" y="400494"/>
                  </a:lnTo>
                  <a:lnTo>
                    <a:pt x="747979" y="446646"/>
                  </a:lnTo>
                  <a:lnTo>
                    <a:pt x="727354" y="479907"/>
                  </a:lnTo>
                  <a:lnTo>
                    <a:pt x="694677" y="500037"/>
                  </a:lnTo>
                  <a:lnTo>
                    <a:pt x="651332" y="506793"/>
                  </a:lnTo>
                  <a:lnTo>
                    <a:pt x="607999" y="500037"/>
                  </a:lnTo>
                  <a:lnTo>
                    <a:pt x="575310" y="479907"/>
                  </a:lnTo>
                  <a:lnTo>
                    <a:pt x="554685" y="446646"/>
                  </a:lnTo>
                  <a:lnTo>
                    <a:pt x="547497" y="400494"/>
                  </a:lnTo>
                  <a:lnTo>
                    <a:pt x="547497" y="199415"/>
                  </a:lnTo>
                  <a:lnTo>
                    <a:pt x="554685" y="153263"/>
                  </a:lnTo>
                  <a:lnTo>
                    <a:pt x="575310" y="120002"/>
                  </a:lnTo>
                  <a:lnTo>
                    <a:pt x="607999" y="99872"/>
                  </a:lnTo>
                  <a:lnTo>
                    <a:pt x="651332" y="93116"/>
                  </a:lnTo>
                  <a:lnTo>
                    <a:pt x="694677" y="99872"/>
                  </a:lnTo>
                  <a:lnTo>
                    <a:pt x="727354" y="120002"/>
                  </a:lnTo>
                  <a:lnTo>
                    <a:pt x="747979" y="153263"/>
                  </a:lnTo>
                  <a:lnTo>
                    <a:pt x="755167" y="199415"/>
                  </a:lnTo>
                  <a:lnTo>
                    <a:pt x="755167" y="20764"/>
                  </a:lnTo>
                  <a:lnTo>
                    <a:pt x="752487" y="19240"/>
                  </a:lnTo>
                  <a:lnTo>
                    <a:pt x="705167" y="4953"/>
                  </a:lnTo>
                  <a:lnTo>
                    <a:pt x="651332" y="0"/>
                  </a:lnTo>
                  <a:lnTo>
                    <a:pt x="597509" y="4953"/>
                  </a:lnTo>
                  <a:lnTo>
                    <a:pt x="550176" y="19240"/>
                  </a:lnTo>
                  <a:lnTo>
                    <a:pt x="510006" y="42024"/>
                  </a:lnTo>
                  <a:lnTo>
                    <a:pt x="477634" y="72453"/>
                  </a:lnTo>
                  <a:lnTo>
                    <a:pt x="453707" y="109677"/>
                  </a:lnTo>
                  <a:lnTo>
                    <a:pt x="438873" y="152831"/>
                  </a:lnTo>
                  <a:lnTo>
                    <a:pt x="433781" y="201066"/>
                  </a:lnTo>
                  <a:lnTo>
                    <a:pt x="433781" y="398843"/>
                  </a:lnTo>
                  <a:lnTo>
                    <a:pt x="438823" y="446646"/>
                  </a:lnTo>
                  <a:lnTo>
                    <a:pt x="453707" y="490245"/>
                  </a:lnTo>
                  <a:lnTo>
                    <a:pt x="477634" y="527456"/>
                  </a:lnTo>
                  <a:lnTo>
                    <a:pt x="510006" y="557885"/>
                  </a:lnTo>
                  <a:lnTo>
                    <a:pt x="550176" y="580669"/>
                  </a:lnTo>
                  <a:lnTo>
                    <a:pt x="597509" y="594969"/>
                  </a:lnTo>
                  <a:lnTo>
                    <a:pt x="651332" y="599922"/>
                  </a:lnTo>
                  <a:lnTo>
                    <a:pt x="705167" y="594969"/>
                  </a:lnTo>
                  <a:lnTo>
                    <a:pt x="752487" y="580669"/>
                  </a:lnTo>
                  <a:lnTo>
                    <a:pt x="792657" y="557885"/>
                  </a:lnTo>
                  <a:lnTo>
                    <a:pt x="825042" y="527456"/>
                  </a:lnTo>
                  <a:lnTo>
                    <a:pt x="838327" y="506793"/>
                  </a:lnTo>
                  <a:lnTo>
                    <a:pt x="848969" y="490245"/>
                  </a:lnTo>
                  <a:lnTo>
                    <a:pt x="863803" y="447090"/>
                  </a:lnTo>
                  <a:lnTo>
                    <a:pt x="868895" y="398843"/>
                  </a:lnTo>
                  <a:lnTo>
                    <a:pt x="868895" y="201066"/>
                  </a:lnTo>
                  <a:close/>
                </a:path>
                <a:path w="16453485" h="600075">
                  <a:moveTo>
                    <a:pt x="1487843" y="201066"/>
                  </a:moveTo>
                  <a:lnTo>
                    <a:pt x="1482801" y="153263"/>
                  </a:lnTo>
                  <a:lnTo>
                    <a:pt x="1467916" y="109677"/>
                  </a:lnTo>
                  <a:lnTo>
                    <a:pt x="1443990" y="72453"/>
                  </a:lnTo>
                  <a:lnTo>
                    <a:pt x="1411617" y="42024"/>
                  </a:lnTo>
                  <a:lnTo>
                    <a:pt x="1374114" y="20764"/>
                  </a:lnTo>
                  <a:lnTo>
                    <a:pt x="1374114" y="199415"/>
                  </a:lnTo>
                  <a:lnTo>
                    <a:pt x="1374114" y="400494"/>
                  </a:lnTo>
                  <a:lnTo>
                    <a:pt x="1366939" y="446646"/>
                  </a:lnTo>
                  <a:lnTo>
                    <a:pt x="1346301" y="479907"/>
                  </a:lnTo>
                  <a:lnTo>
                    <a:pt x="1313624" y="500037"/>
                  </a:lnTo>
                  <a:lnTo>
                    <a:pt x="1270279" y="506793"/>
                  </a:lnTo>
                  <a:lnTo>
                    <a:pt x="1226947" y="500037"/>
                  </a:lnTo>
                  <a:lnTo>
                    <a:pt x="1194269" y="479907"/>
                  </a:lnTo>
                  <a:lnTo>
                    <a:pt x="1173632" y="446646"/>
                  </a:lnTo>
                  <a:lnTo>
                    <a:pt x="1166456" y="400494"/>
                  </a:lnTo>
                  <a:lnTo>
                    <a:pt x="1166456" y="199415"/>
                  </a:lnTo>
                  <a:lnTo>
                    <a:pt x="1173632" y="153263"/>
                  </a:lnTo>
                  <a:lnTo>
                    <a:pt x="1194269" y="120002"/>
                  </a:lnTo>
                  <a:lnTo>
                    <a:pt x="1226947" y="99872"/>
                  </a:lnTo>
                  <a:lnTo>
                    <a:pt x="1270279" y="93116"/>
                  </a:lnTo>
                  <a:lnTo>
                    <a:pt x="1313624" y="99872"/>
                  </a:lnTo>
                  <a:lnTo>
                    <a:pt x="1346301" y="120002"/>
                  </a:lnTo>
                  <a:lnTo>
                    <a:pt x="1366939" y="153263"/>
                  </a:lnTo>
                  <a:lnTo>
                    <a:pt x="1374114" y="199415"/>
                  </a:lnTo>
                  <a:lnTo>
                    <a:pt x="1374114" y="20764"/>
                  </a:lnTo>
                  <a:lnTo>
                    <a:pt x="1371434" y="19240"/>
                  </a:lnTo>
                  <a:lnTo>
                    <a:pt x="1324114" y="4953"/>
                  </a:lnTo>
                  <a:lnTo>
                    <a:pt x="1270279" y="0"/>
                  </a:lnTo>
                  <a:lnTo>
                    <a:pt x="1216456" y="4953"/>
                  </a:lnTo>
                  <a:lnTo>
                    <a:pt x="1169136" y="19240"/>
                  </a:lnTo>
                  <a:lnTo>
                    <a:pt x="1128953" y="42024"/>
                  </a:lnTo>
                  <a:lnTo>
                    <a:pt x="1096581" y="72453"/>
                  </a:lnTo>
                  <a:lnTo>
                    <a:pt x="1072654" y="109677"/>
                  </a:lnTo>
                  <a:lnTo>
                    <a:pt x="1057821" y="152831"/>
                  </a:lnTo>
                  <a:lnTo>
                    <a:pt x="1052728" y="201066"/>
                  </a:lnTo>
                  <a:lnTo>
                    <a:pt x="1052728" y="398843"/>
                  </a:lnTo>
                  <a:lnTo>
                    <a:pt x="1057770" y="446646"/>
                  </a:lnTo>
                  <a:lnTo>
                    <a:pt x="1072654" y="490245"/>
                  </a:lnTo>
                  <a:lnTo>
                    <a:pt x="1096581" y="527456"/>
                  </a:lnTo>
                  <a:lnTo>
                    <a:pt x="1128953" y="557885"/>
                  </a:lnTo>
                  <a:lnTo>
                    <a:pt x="1169136" y="580669"/>
                  </a:lnTo>
                  <a:lnTo>
                    <a:pt x="1216456" y="594969"/>
                  </a:lnTo>
                  <a:lnTo>
                    <a:pt x="1270279" y="599922"/>
                  </a:lnTo>
                  <a:lnTo>
                    <a:pt x="1324114" y="594969"/>
                  </a:lnTo>
                  <a:lnTo>
                    <a:pt x="1371434" y="580669"/>
                  </a:lnTo>
                  <a:lnTo>
                    <a:pt x="1411617" y="557885"/>
                  </a:lnTo>
                  <a:lnTo>
                    <a:pt x="1443990" y="527456"/>
                  </a:lnTo>
                  <a:lnTo>
                    <a:pt x="1457274" y="506793"/>
                  </a:lnTo>
                  <a:lnTo>
                    <a:pt x="1467916" y="490245"/>
                  </a:lnTo>
                  <a:lnTo>
                    <a:pt x="1482750" y="447090"/>
                  </a:lnTo>
                  <a:lnTo>
                    <a:pt x="1487843" y="398843"/>
                  </a:lnTo>
                  <a:lnTo>
                    <a:pt x="1487843" y="201066"/>
                  </a:lnTo>
                  <a:close/>
                </a:path>
                <a:path w="16453485" h="600075">
                  <a:moveTo>
                    <a:pt x="2515438" y="11531"/>
                  </a:moveTo>
                  <a:lnTo>
                    <a:pt x="2409139" y="11531"/>
                  </a:lnTo>
                  <a:lnTo>
                    <a:pt x="2245969" y="341160"/>
                  </a:lnTo>
                  <a:lnTo>
                    <a:pt x="2082800" y="11531"/>
                  </a:lnTo>
                  <a:lnTo>
                    <a:pt x="1976488" y="11531"/>
                  </a:lnTo>
                  <a:lnTo>
                    <a:pt x="1976488" y="588378"/>
                  </a:lnTo>
                  <a:lnTo>
                    <a:pt x="2086927" y="588378"/>
                  </a:lnTo>
                  <a:lnTo>
                    <a:pt x="2086927" y="234035"/>
                  </a:lnTo>
                  <a:lnTo>
                    <a:pt x="2194877" y="448284"/>
                  </a:lnTo>
                  <a:lnTo>
                    <a:pt x="2297061" y="448284"/>
                  </a:lnTo>
                  <a:lnTo>
                    <a:pt x="2405011" y="234035"/>
                  </a:lnTo>
                  <a:lnTo>
                    <a:pt x="2405011" y="588378"/>
                  </a:lnTo>
                  <a:lnTo>
                    <a:pt x="2515438" y="588378"/>
                  </a:lnTo>
                  <a:lnTo>
                    <a:pt x="2515438" y="11531"/>
                  </a:lnTo>
                  <a:close/>
                </a:path>
                <a:path w="16453485" h="600075">
                  <a:moveTo>
                    <a:pt x="2842412" y="11531"/>
                  </a:moveTo>
                  <a:lnTo>
                    <a:pt x="2727045" y="11531"/>
                  </a:lnTo>
                  <a:lnTo>
                    <a:pt x="2727045" y="588378"/>
                  </a:lnTo>
                  <a:lnTo>
                    <a:pt x="2842412" y="588378"/>
                  </a:lnTo>
                  <a:lnTo>
                    <a:pt x="2842412" y="11531"/>
                  </a:lnTo>
                  <a:close/>
                </a:path>
                <a:path w="16453485" h="600075">
                  <a:moveTo>
                    <a:pt x="3432937" y="492861"/>
                  </a:moveTo>
                  <a:lnTo>
                    <a:pt x="3167583" y="492861"/>
                  </a:lnTo>
                  <a:lnTo>
                    <a:pt x="3167583" y="11531"/>
                  </a:lnTo>
                  <a:lnTo>
                    <a:pt x="3052216" y="11531"/>
                  </a:lnTo>
                  <a:lnTo>
                    <a:pt x="3052216" y="492861"/>
                  </a:lnTo>
                  <a:lnTo>
                    <a:pt x="3052216" y="588111"/>
                  </a:lnTo>
                  <a:lnTo>
                    <a:pt x="3432937" y="588111"/>
                  </a:lnTo>
                  <a:lnTo>
                    <a:pt x="3432937" y="492861"/>
                  </a:lnTo>
                  <a:close/>
                </a:path>
                <a:path w="16453485" h="600075">
                  <a:moveTo>
                    <a:pt x="3989413" y="492861"/>
                  </a:moveTo>
                  <a:lnTo>
                    <a:pt x="3724059" y="492861"/>
                  </a:lnTo>
                  <a:lnTo>
                    <a:pt x="3724059" y="11531"/>
                  </a:lnTo>
                  <a:lnTo>
                    <a:pt x="3608692" y="11531"/>
                  </a:lnTo>
                  <a:lnTo>
                    <a:pt x="3608692" y="492861"/>
                  </a:lnTo>
                  <a:lnTo>
                    <a:pt x="3608692" y="588111"/>
                  </a:lnTo>
                  <a:lnTo>
                    <a:pt x="3989413" y="588111"/>
                  </a:lnTo>
                  <a:lnTo>
                    <a:pt x="3989413" y="492861"/>
                  </a:lnTo>
                  <a:close/>
                </a:path>
                <a:path w="16453485" h="600075">
                  <a:moveTo>
                    <a:pt x="4282351" y="11531"/>
                  </a:moveTo>
                  <a:lnTo>
                    <a:pt x="4166984" y="11531"/>
                  </a:lnTo>
                  <a:lnTo>
                    <a:pt x="4166984" y="588378"/>
                  </a:lnTo>
                  <a:lnTo>
                    <a:pt x="4282351" y="588378"/>
                  </a:lnTo>
                  <a:lnTo>
                    <a:pt x="4282351" y="11531"/>
                  </a:lnTo>
                  <a:close/>
                </a:path>
                <a:path w="16453485" h="600075">
                  <a:moveTo>
                    <a:pt x="4989550" y="257924"/>
                  </a:moveTo>
                  <a:lnTo>
                    <a:pt x="4986325" y="210451"/>
                  </a:lnTo>
                  <a:lnTo>
                    <a:pt x="4976673" y="166217"/>
                  </a:lnTo>
                  <a:lnTo>
                    <a:pt x="4960620" y="125857"/>
                  </a:lnTo>
                  <a:lnTo>
                    <a:pt x="4938217" y="90004"/>
                  </a:lnTo>
                  <a:lnTo>
                    <a:pt x="4909515" y="59270"/>
                  </a:lnTo>
                  <a:lnTo>
                    <a:pt x="4874552" y="34264"/>
                  </a:lnTo>
                  <a:lnTo>
                    <a:pt x="4874184" y="34099"/>
                  </a:lnTo>
                  <a:lnTo>
                    <a:pt x="4874184" y="252158"/>
                  </a:lnTo>
                  <a:lnTo>
                    <a:pt x="4874184" y="347751"/>
                  </a:lnTo>
                  <a:lnTo>
                    <a:pt x="4868697" y="399161"/>
                  </a:lnTo>
                  <a:lnTo>
                    <a:pt x="4852060" y="442379"/>
                  </a:lnTo>
                  <a:lnTo>
                    <a:pt x="4823993" y="475551"/>
                  </a:lnTo>
                  <a:lnTo>
                    <a:pt x="4784204" y="496824"/>
                  </a:lnTo>
                  <a:lnTo>
                    <a:pt x="4732439" y="504329"/>
                  </a:lnTo>
                  <a:lnTo>
                    <a:pt x="4680674" y="496824"/>
                  </a:lnTo>
                  <a:lnTo>
                    <a:pt x="4640897" y="475551"/>
                  </a:lnTo>
                  <a:lnTo>
                    <a:pt x="4612830" y="442379"/>
                  </a:lnTo>
                  <a:lnTo>
                    <a:pt x="4596181" y="399161"/>
                  </a:lnTo>
                  <a:lnTo>
                    <a:pt x="4590707" y="347751"/>
                  </a:lnTo>
                  <a:lnTo>
                    <a:pt x="4590707" y="252158"/>
                  </a:lnTo>
                  <a:lnTo>
                    <a:pt x="4596181" y="200748"/>
                  </a:lnTo>
                  <a:lnTo>
                    <a:pt x="4612830" y="157530"/>
                  </a:lnTo>
                  <a:lnTo>
                    <a:pt x="4640897" y="124358"/>
                  </a:lnTo>
                  <a:lnTo>
                    <a:pt x="4680674" y="103085"/>
                  </a:lnTo>
                  <a:lnTo>
                    <a:pt x="4732439" y="95580"/>
                  </a:lnTo>
                  <a:lnTo>
                    <a:pt x="4784204" y="103085"/>
                  </a:lnTo>
                  <a:lnTo>
                    <a:pt x="4823993" y="124358"/>
                  </a:lnTo>
                  <a:lnTo>
                    <a:pt x="4852060" y="157530"/>
                  </a:lnTo>
                  <a:lnTo>
                    <a:pt x="4868697" y="200748"/>
                  </a:lnTo>
                  <a:lnTo>
                    <a:pt x="4874184" y="252158"/>
                  </a:lnTo>
                  <a:lnTo>
                    <a:pt x="4874184" y="34099"/>
                  </a:lnTo>
                  <a:lnTo>
                    <a:pt x="4833353" y="15646"/>
                  </a:lnTo>
                  <a:lnTo>
                    <a:pt x="4785969" y="4013"/>
                  </a:lnTo>
                  <a:lnTo>
                    <a:pt x="4732439" y="0"/>
                  </a:lnTo>
                  <a:lnTo>
                    <a:pt x="4679124" y="4013"/>
                  </a:lnTo>
                  <a:lnTo>
                    <a:pt x="4631868" y="15646"/>
                  </a:lnTo>
                  <a:lnTo>
                    <a:pt x="4590694" y="34264"/>
                  </a:lnTo>
                  <a:lnTo>
                    <a:pt x="4555706" y="59270"/>
                  </a:lnTo>
                  <a:lnTo>
                    <a:pt x="4526927" y="90004"/>
                  </a:lnTo>
                  <a:lnTo>
                    <a:pt x="4504448" y="125857"/>
                  </a:lnTo>
                  <a:lnTo>
                    <a:pt x="4488307" y="166217"/>
                  </a:lnTo>
                  <a:lnTo>
                    <a:pt x="4478579" y="210451"/>
                  </a:lnTo>
                  <a:lnTo>
                    <a:pt x="4475327" y="257924"/>
                  </a:lnTo>
                  <a:lnTo>
                    <a:pt x="4475327" y="341985"/>
                  </a:lnTo>
                  <a:lnTo>
                    <a:pt x="4478579" y="389458"/>
                  </a:lnTo>
                  <a:lnTo>
                    <a:pt x="4488307" y="433692"/>
                  </a:lnTo>
                  <a:lnTo>
                    <a:pt x="4504448" y="474052"/>
                  </a:lnTo>
                  <a:lnTo>
                    <a:pt x="4526927" y="509905"/>
                  </a:lnTo>
                  <a:lnTo>
                    <a:pt x="4555706" y="540651"/>
                  </a:lnTo>
                  <a:lnTo>
                    <a:pt x="4590694" y="565645"/>
                  </a:lnTo>
                  <a:lnTo>
                    <a:pt x="4631868" y="584276"/>
                  </a:lnTo>
                  <a:lnTo>
                    <a:pt x="4679124" y="595909"/>
                  </a:lnTo>
                  <a:lnTo>
                    <a:pt x="4732439" y="599922"/>
                  </a:lnTo>
                  <a:lnTo>
                    <a:pt x="4785969" y="595909"/>
                  </a:lnTo>
                  <a:lnTo>
                    <a:pt x="4833353" y="584276"/>
                  </a:lnTo>
                  <a:lnTo>
                    <a:pt x="4874552" y="565645"/>
                  </a:lnTo>
                  <a:lnTo>
                    <a:pt x="4909515" y="540651"/>
                  </a:lnTo>
                  <a:lnTo>
                    <a:pt x="4938217" y="509905"/>
                  </a:lnTo>
                  <a:lnTo>
                    <a:pt x="4960620" y="474052"/>
                  </a:lnTo>
                  <a:lnTo>
                    <a:pt x="4976673" y="433692"/>
                  </a:lnTo>
                  <a:lnTo>
                    <a:pt x="4986325" y="389458"/>
                  </a:lnTo>
                  <a:lnTo>
                    <a:pt x="4989550" y="341985"/>
                  </a:lnTo>
                  <a:lnTo>
                    <a:pt x="4989550" y="257924"/>
                  </a:lnTo>
                  <a:close/>
                </a:path>
                <a:path w="16453485" h="600075">
                  <a:moveTo>
                    <a:pt x="5654980" y="11531"/>
                  </a:moveTo>
                  <a:lnTo>
                    <a:pt x="5542077" y="11531"/>
                  </a:lnTo>
                  <a:lnTo>
                    <a:pt x="5542077" y="395554"/>
                  </a:lnTo>
                  <a:lnTo>
                    <a:pt x="5290731" y="11531"/>
                  </a:lnTo>
                  <a:lnTo>
                    <a:pt x="5181143" y="11531"/>
                  </a:lnTo>
                  <a:lnTo>
                    <a:pt x="5181143" y="588378"/>
                  </a:lnTo>
                  <a:lnTo>
                    <a:pt x="5294033" y="588378"/>
                  </a:lnTo>
                  <a:lnTo>
                    <a:pt x="5294033" y="204355"/>
                  </a:lnTo>
                  <a:lnTo>
                    <a:pt x="5545366" y="588378"/>
                  </a:lnTo>
                  <a:lnTo>
                    <a:pt x="5654980" y="588378"/>
                  </a:lnTo>
                  <a:lnTo>
                    <a:pt x="5654980" y="11531"/>
                  </a:lnTo>
                  <a:close/>
                </a:path>
                <a:path w="16453485" h="600075">
                  <a:moveTo>
                    <a:pt x="6647116" y="588378"/>
                  </a:moveTo>
                  <a:lnTo>
                    <a:pt x="6603682" y="467233"/>
                  </a:lnTo>
                  <a:lnTo>
                    <a:pt x="6570878" y="375767"/>
                  </a:lnTo>
                  <a:lnTo>
                    <a:pt x="6477508" y="115366"/>
                  </a:lnTo>
                  <a:lnTo>
                    <a:pt x="6464173" y="78181"/>
                  </a:lnTo>
                  <a:lnTo>
                    <a:pt x="6464173" y="375767"/>
                  </a:lnTo>
                  <a:lnTo>
                    <a:pt x="6298539" y="375767"/>
                  </a:lnTo>
                  <a:lnTo>
                    <a:pt x="6381763" y="115366"/>
                  </a:lnTo>
                  <a:lnTo>
                    <a:pt x="6464173" y="375767"/>
                  </a:lnTo>
                  <a:lnTo>
                    <a:pt x="6464173" y="78181"/>
                  </a:lnTo>
                  <a:lnTo>
                    <a:pt x="6440284" y="11531"/>
                  </a:lnTo>
                  <a:lnTo>
                    <a:pt x="6323266" y="11531"/>
                  </a:lnTo>
                  <a:lnTo>
                    <a:pt x="6116409" y="588378"/>
                  </a:lnTo>
                  <a:lnTo>
                    <a:pt x="6230963" y="588378"/>
                  </a:lnTo>
                  <a:lnTo>
                    <a:pt x="6269698" y="467233"/>
                  </a:lnTo>
                  <a:lnTo>
                    <a:pt x="6493853" y="467233"/>
                  </a:lnTo>
                  <a:lnTo>
                    <a:pt x="6532575" y="588378"/>
                  </a:lnTo>
                  <a:lnTo>
                    <a:pt x="6647116" y="588378"/>
                  </a:lnTo>
                  <a:close/>
                </a:path>
                <a:path w="16453485" h="600075">
                  <a:moveTo>
                    <a:pt x="7290549" y="11531"/>
                  </a:moveTo>
                  <a:lnTo>
                    <a:pt x="7177646" y="11531"/>
                  </a:lnTo>
                  <a:lnTo>
                    <a:pt x="7177646" y="395554"/>
                  </a:lnTo>
                  <a:lnTo>
                    <a:pt x="6926300" y="11531"/>
                  </a:lnTo>
                  <a:lnTo>
                    <a:pt x="6816699" y="11531"/>
                  </a:lnTo>
                  <a:lnTo>
                    <a:pt x="6816699" y="588378"/>
                  </a:lnTo>
                  <a:lnTo>
                    <a:pt x="6929602" y="588378"/>
                  </a:lnTo>
                  <a:lnTo>
                    <a:pt x="6929602" y="204355"/>
                  </a:lnTo>
                  <a:lnTo>
                    <a:pt x="7180935" y="588378"/>
                  </a:lnTo>
                  <a:lnTo>
                    <a:pt x="7290549" y="588378"/>
                  </a:lnTo>
                  <a:lnTo>
                    <a:pt x="7290549" y="11531"/>
                  </a:lnTo>
                  <a:close/>
                </a:path>
                <a:path w="16453485" h="600075">
                  <a:moveTo>
                    <a:pt x="7974012" y="11531"/>
                  </a:moveTo>
                  <a:lnTo>
                    <a:pt x="7861109" y="11531"/>
                  </a:lnTo>
                  <a:lnTo>
                    <a:pt x="7861109" y="395554"/>
                  </a:lnTo>
                  <a:lnTo>
                    <a:pt x="7609764" y="11531"/>
                  </a:lnTo>
                  <a:lnTo>
                    <a:pt x="7500175" y="11531"/>
                  </a:lnTo>
                  <a:lnTo>
                    <a:pt x="7500175" y="588378"/>
                  </a:lnTo>
                  <a:lnTo>
                    <a:pt x="7613066" y="588378"/>
                  </a:lnTo>
                  <a:lnTo>
                    <a:pt x="7613066" y="204355"/>
                  </a:lnTo>
                  <a:lnTo>
                    <a:pt x="7864411" y="588378"/>
                  </a:lnTo>
                  <a:lnTo>
                    <a:pt x="7974012" y="588378"/>
                  </a:lnTo>
                  <a:lnTo>
                    <a:pt x="7974012" y="11531"/>
                  </a:lnTo>
                  <a:close/>
                </a:path>
                <a:path w="16453485" h="600075">
                  <a:moveTo>
                    <a:pt x="8654758" y="11531"/>
                  </a:moveTo>
                  <a:lnTo>
                    <a:pt x="8539391" y="11531"/>
                  </a:lnTo>
                  <a:lnTo>
                    <a:pt x="8539391" y="385660"/>
                  </a:lnTo>
                  <a:lnTo>
                    <a:pt x="8530768" y="435838"/>
                  </a:lnTo>
                  <a:lnTo>
                    <a:pt x="8506219" y="473113"/>
                  </a:lnTo>
                  <a:lnTo>
                    <a:pt x="8467776" y="496328"/>
                  </a:lnTo>
                  <a:lnTo>
                    <a:pt x="8417433" y="504317"/>
                  </a:lnTo>
                  <a:lnTo>
                    <a:pt x="8366963" y="496328"/>
                  </a:lnTo>
                  <a:lnTo>
                    <a:pt x="8328228" y="473113"/>
                  </a:lnTo>
                  <a:lnTo>
                    <a:pt x="8303400" y="435838"/>
                  </a:lnTo>
                  <a:lnTo>
                    <a:pt x="8294649" y="385660"/>
                  </a:lnTo>
                  <a:lnTo>
                    <a:pt x="8294649" y="11531"/>
                  </a:lnTo>
                  <a:lnTo>
                    <a:pt x="8180095" y="11531"/>
                  </a:lnTo>
                  <a:lnTo>
                    <a:pt x="8180095" y="380707"/>
                  </a:lnTo>
                  <a:lnTo>
                    <a:pt x="8184172" y="427520"/>
                  </a:lnTo>
                  <a:lnTo>
                    <a:pt x="8196199" y="469900"/>
                  </a:lnTo>
                  <a:lnTo>
                    <a:pt x="8215858" y="507288"/>
                  </a:lnTo>
                  <a:lnTo>
                    <a:pt x="8242821" y="539140"/>
                  </a:lnTo>
                  <a:lnTo>
                    <a:pt x="8276780" y="564896"/>
                  </a:lnTo>
                  <a:lnTo>
                    <a:pt x="8317420" y="583984"/>
                  </a:lnTo>
                  <a:lnTo>
                    <a:pt x="8364410" y="595845"/>
                  </a:lnTo>
                  <a:lnTo>
                    <a:pt x="8417433" y="599922"/>
                  </a:lnTo>
                  <a:lnTo>
                    <a:pt x="8470455" y="595845"/>
                  </a:lnTo>
                  <a:lnTo>
                    <a:pt x="8517433" y="583984"/>
                  </a:lnTo>
                  <a:lnTo>
                    <a:pt x="8558073" y="564896"/>
                  </a:lnTo>
                  <a:lnTo>
                    <a:pt x="8592033" y="539140"/>
                  </a:lnTo>
                  <a:lnTo>
                    <a:pt x="8618995" y="507288"/>
                  </a:lnTo>
                  <a:lnTo>
                    <a:pt x="8638654" y="469900"/>
                  </a:lnTo>
                  <a:lnTo>
                    <a:pt x="8650681" y="427520"/>
                  </a:lnTo>
                  <a:lnTo>
                    <a:pt x="8654758" y="380707"/>
                  </a:lnTo>
                  <a:lnTo>
                    <a:pt x="8654758" y="11531"/>
                  </a:lnTo>
                  <a:close/>
                </a:path>
                <a:path w="16453485" h="600075">
                  <a:moveTo>
                    <a:pt x="9324137" y="588378"/>
                  </a:moveTo>
                  <a:lnTo>
                    <a:pt x="9280703" y="467233"/>
                  </a:lnTo>
                  <a:lnTo>
                    <a:pt x="9247899" y="375767"/>
                  </a:lnTo>
                  <a:lnTo>
                    <a:pt x="9154528" y="115366"/>
                  </a:lnTo>
                  <a:lnTo>
                    <a:pt x="9141193" y="78193"/>
                  </a:lnTo>
                  <a:lnTo>
                    <a:pt x="9141193" y="375767"/>
                  </a:lnTo>
                  <a:lnTo>
                    <a:pt x="8975547" y="375767"/>
                  </a:lnTo>
                  <a:lnTo>
                    <a:pt x="9058783" y="115366"/>
                  </a:lnTo>
                  <a:lnTo>
                    <a:pt x="9141193" y="375767"/>
                  </a:lnTo>
                  <a:lnTo>
                    <a:pt x="9141193" y="78193"/>
                  </a:lnTo>
                  <a:lnTo>
                    <a:pt x="9117292" y="11531"/>
                  </a:lnTo>
                  <a:lnTo>
                    <a:pt x="9000274" y="11531"/>
                  </a:lnTo>
                  <a:lnTo>
                    <a:pt x="8793442" y="588378"/>
                  </a:lnTo>
                  <a:lnTo>
                    <a:pt x="8907983" y="588378"/>
                  </a:lnTo>
                  <a:lnTo>
                    <a:pt x="8946718" y="467233"/>
                  </a:lnTo>
                  <a:lnTo>
                    <a:pt x="9170860" y="467233"/>
                  </a:lnTo>
                  <a:lnTo>
                    <a:pt x="9209595" y="588378"/>
                  </a:lnTo>
                  <a:lnTo>
                    <a:pt x="9324137" y="588378"/>
                  </a:lnTo>
                  <a:close/>
                </a:path>
                <a:path w="16453485" h="600075">
                  <a:moveTo>
                    <a:pt x="9874428" y="492861"/>
                  </a:moveTo>
                  <a:lnTo>
                    <a:pt x="9609087" y="492861"/>
                  </a:lnTo>
                  <a:lnTo>
                    <a:pt x="9609087" y="11531"/>
                  </a:lnTo>
                  <a:lnTo>
                    <a:pt x="9493720" y="11531"/>
                  </a:lnTo>
                  <a:lnTo>
                    <a:pt x="9493720" y="492861"/>
                  </a:lnTo>
                  <a:lnTo>
                    <a:pt x="9493720" y="588111"/>
                  </a:lnTo>
                  <a:lnTo>
                    <a:pt x="9874428" y="588111"/>
                  </a:lnTo>
                  <a:lnTo>
                    <a:pt x="9874428" y="492861"/>
                  </a:lnTo>
                  <a:close/>
                </a:path>
                <a:path w="16453485" h="600075">
                  <a:moveTo>
                    <a:pt x="10804779" y="205181"/>
                  </a:moveTo>
                  <a:lnTo>
                    <a:pt x="10799864" y="158127"/>
                  </a:lnTo>
                  <a:lnTo>
                    <a:pt x="10785500" y="116344"/>
                  </a:lnTo>
                  <a:lnTo>
                    <a:pt x="10762221" y="80530"/>
                  </a:lnTo>
                  <a:lnTo>
                    <a:pt x="10730548" y="51422"/>
                  </a:lnTo>
                  <a:lnTo>
                    <a:pt x="10691012" y="29743"/>
                  </a:lnTo>
                  <a:lnTo>
                    <a:pt x="10689412" y="29286"/>
                  </a:lnTo>
                  <a:lnTo>
                    <a:pt x="10689412" y="205181"/>
                  </a:lnTo>
                  <a:lnTo>
                    <a:pt x="10683113" y="245135"/>
                  </a:lnTo>
                  <a:lnTo>
                    <a:pt x="10663758" y="277596"/>
                  </a:lnTo>
                  <a:lnTo>
                    <a:pt x="10630662" y="299402"/>
                  </a:lnTo>
                  <a:lnTo>
                    <a:pt x="10583101" y="307378"/>
                  </a:lnTo>
                  <a:lnTo>
                    <a:pt x="10466083" y="307378"/>
                  </a:lnTo>
                  <a:lnTo>
                    <a:pt x="10466083" y="106299"/>
                  </a:lnTo>
                  <a:lnTo>
                    <a:pt x="10583101" y="106299"/>
                  </a:lnTo>
                  <a:lnTo>
                    <a:pt x="10630662" y="113753"/>
                  </a:lnTo>
                  <a:lnTo>
                    <a:pt x="10663758" y="134416"/>
                  </a:lnTo>
                  <a:lnTo>
                    <a:pt x="10683113" y="165747"/>
                  </a:lnTo>
                  <a:lnTo>
                    <a:pt x="10689412" y="205181"/>
                  </a:lnTo>
                  <a:lnTo>
                    <a:pt x="10689412" y="29286"/>
                  </a:lnTo>
                  <a:lnTo>
                    <a:pt x="10644162" y="16205"/>
                  </a:lnTo>
                  <a:lnTo>
                    <a:pt x="10590517" y="11531"/>
                  </a:lnTo>
                  <a:lnTo>
                    <a:pt x="10350716" y="11531"/>
                  </a:lnTo>
                  <a:lnTo>
                    <a:pt x="10350716" y="588378"/>
                  </a:lnTo>
                  <a:lnTo>
                    <a:pt x="10466083" y="588378"/>
                  </a:lnTo>
                  <a:lnTo>
                    <a:pt x="10466083" y="402132"/>
                  </a:lnTo>
                  <a:lnTo>
                    <a:pt x="10590517" y="402132"/>
                  </a:lnTo>
                  <a:lnTo>
                    <a:pt x="10643121" y="397281"/>
                  </a:lnTo>
                  <a:lnTo>
                    <a:pt x="10689577" y="383273"/>
                  </a:lnTo>
                  <a:lnTo>
                    <a:pt x="10729163" y="360946"/>
                  </a:lnTo>
                  <a:lnTo>
                    <a:pt x="10761180" y="331139"/>
                  </a:lnTo>
                  <a:lnTo>
                    <a:pt x="10776661" y="307378"/>
                  </a:lnTo>
                  <a:lnTo>
                    <a:pt x="10784929" y="294690"/>
                  </a:lnTo>
                  <a:lnTo>
                    <a:pt x="10799699" y="252425"/>
                  </a:lnTo>
                  <a:lnTo>
                    <a:pt x="10804779" y="205181"/>
                  </a:lnTo>
                  <a:close/>
                </a:path>
                <a:path w="16453485" h="600075">
                  <a:moveTo>
                    <a:pt x="11420107" y="588378"/>
                  </a:moveTo>
                  <a:lnTo>
                    <a:pt x="11376660" y="467233"/>
                  </a:lnTo>
                  <a:lnTo>
                    <a:pt x="11343869" y="375767"/>
                  </a:lnTo>
                  <a:lnTo>
                    <a:pt x="11250486" y="115366"/>
                  </a:lnTo>
                  <a:lnTo>
                    <a:pt x="11237163" y="78206"/>
                  </a:lnTo>
                  <a:lnTo>
                    <a:pt x="11237163" y="375767"/>
                  </a:lnTo>
                  <a:lnTo>
                    <a:pt x="11071517" y="375767"/>
                  </a:lnTo>
                  <a:lnTo>
                    <a:pt x="11154753" y="115366"/>
                  </a:lnTo>
                  <a:lnTo>
                    <a:pt x="11237163" y="375767"/>
                  </a:lnTo>
                  <a:lnTo>
                    <a:pt x="11237163" y="78206"/>
                  </a:lnTo>
                  <a:lnTo>
                    <a:pt x="11213262" y="11531"/>
                  </a:lnTo>
                  <a:lnTo>
                    <a:pt x="11096244" y="11531"/>
                  </a:lnTo>
                  <a:lnTo>
                    <a:pt x="10889399" y="588378"/>
                  </a:lnTo>
                  <a:lnTo>
                    <a:pt x="11003953" y="588378"/>
                  </a:lnTo>
                  <a:lnTo>
                    <a:pt x="11042675" y="467233"/>
                  </a:lnTo>
                  <a:lnTo>
                    <a:pt x="11266830" y="467233"/>
                  </a:lnTo>
                  <a:lnTo>
                    <a:pt x="11305553" y="588378"/>
                  </a:lnTo>
                  <a:lnTo>
                    <a:pt x="11420107" y="588378"/>
                  </a:lnTo>
                  <a:close/>
                </a:path>
                <a:path w="16453485" h="600075">
                  <a:moveTo>
                    <a:pt x="12012511" y="417804"/>
                  </a:moveTo>
                  <a:lnTo>
                    <a:pt x="12007545" y="374192"/>
                  </a:lnTo>
                  <a:lnTo>
                    <a:pt x="11992572" y="337299"/>
                  </a:lnTo>
                  <a:lnTo>
                    <a:pt x="11967477" y="307136"/>
                  </a:lnTo>
                  <a:lnTo>
                    <a:pt x="11932133" y="283705"/>
                  </a:lnTo>
                  <a:lnTo>
                    <a:pt x="11886425" y="266992"/>
                  </a:lnTo>
                  <a:lnTo>
                    <a:pt x="11728209" y="224955"/>
                  </a:lnTo>
                  <a:lnTo>
                    <a:pt x="11706924" y="216712"/>
                  </a:lnTo>
                  <a:lnTo>
                    <a:pt x="11691430" y="204050"/>
                  </a:lnTo>
                  <a:lnTo>
                    <a:pt x="11681968" y="186613"/>
                  </a:lnTo>
                  <a:lnTo>
                    <a:pt x="11678768" y="163982"/>
                  </a:lnTo>
                  <a:lnTo>
                    <a:pt x="11685892" y="131064"/>
                  </a:lnTo>
                  <a:lnTo>
                    <a:pt x="11706162" y="107645"/>
                  </a:lnTo>
                  <a:lnTo>
                    <a:pt x="11737861" y="93649"/>
                  </a:lnTo>
                  <a:lnTo>
                    <a:pt x="11779301" y="89001"/>
                  </a:lnTo>
                  <a:lnTo>
                    <a:pt x="11825161" y="95554"/>
                  </a:lnTo>
                  <a:lnTo>
                    <a:pt x="11856974" y="113614"/>
                  </a:lnTo>
                  <a:lnTo>
                    <a:pt x="11875478" y="140792"/>
                  </a:lnTo>
                  <a:lnTo>
                    <a:pt x="11881485" y="174701"/>
                  </a:lnTo>
                  <a:lnTo>
                    <a:pt x="11881485" y="186232"/>
                  </a:lnTo>
                  <a:lnTo>
                    <a:pt x="11987784" y="186232"/>
                  </a:lnTo>
                  <a:lnTo>
                    <a:pt x="11987784" y="172224"/>
                  </a:lnTo>
                  <a:lnTo>
                    <a:pt x="11982945" y="130771"/>
                  </a:lnTo>
                  <a:lnTo>
                    <a:pt x="11968798" y="93751"/>
                  </a:lnTo>
                  <a:lnTo>
                    <a:pt x="11945950" y="61887"/>
                  </a:lnTo>
                  <a:lnTo>
                    <a:pt x="11914975" y="35864"/>
                  </a:lnTo>
                  <a:lnTo>
                    <a:pt x="11876494" y="16408"/>
                  </a:lnTo>
                  <a:lnTo>
                    <a:pt x="11831066" y="4216"/>
                  </a:lnTo>
                  <a:lnTo>
                    <a:pt x="11779301" y="0"/>
                  </a:lnTo>
                  <a:lnTo>
                    <a:pt x="11726824" y="3911"/>
                  </a:lnTo>
                  <a:lnTo>
                    <a:pt x="11680736" y="15443"/>
                  </a:lnTo>
                  <a:lnTo>
                    <a:pt x="11641620" y="34175"/>
                  </a:lnTo>
                  <a:lnTo>
                    <a:pt x="11610137" y="59766"/>
                  </a:lnTo>
                  <a:lnTo>
                    <a:pt x="11586870" y="91833"/>
                  </a:lnTo>
                  <a:lnTo>
                    <a:pt x="11572456" y="129984"/>
                  </a:lnTo>
                  <a:lnTo>
                    <a:pt x="11567516" y="173863"/>
                  </a:lnTo>
                  <a:lnTo>
                    <a:pt x="11572494" y="220472"/>
                  </a:lnTo>
                  <a:lnTo>
                    <a:pt x="11587607" y="257352"/>
                  </a:lnTo>
                  <a:lnTo>
                    <a:pt x="11613083" y="285838"/>
                  </a:lnTo>
                  <a:lnTo>
                    <a:pt x="11649151" y="307276"/>
                  </a:lnTo>
                  <a:lnTo>
                    <a:pt x="11696065" y="323037"/>
                  </a:lnTo>
                  <a:lnTo>
                    <a:pt x="11846878" y="361759"/>
                  </a:lnTo>
                  <a:lnTo>
                    <a:pt x="11871706" y="371589"/>
                  </a:lnTo>
                  <a:lnTo>
                    <a:pt x="11888597" y="385965"/>
                  </a:lnTo>
                  <a:lnTo>
                    <a:pt x="11898211" y="404520"/>
                  </a:lnTo>
                  <a:lnTo>
                    <a:pt x="11901259" y="426872"/>
                  </a:lnTo>
                  <a:lnTo>
                    <a:pt x="11893245" y="462597"/>
                  </a:lnTo>
                  <a:lnTo>
                    <a:pt x="11870461" y="488975"/>
                  </a:lnTo>
                  <a:lnTo>
                    <a:pt x="11834863" y="505320"/>
                  </a:lnTo>
                  <a:lnTo>
                    <a:pt x="11788369" y="510921"/>
                  </a:lnTo>
                  <a:lnTo>
                    <a:pt x="11737010" y="504037"/>
                  </a:lnTo>
                  <a:lnTo>
                    <a:pt x="11699570" y="484860"/>
                  </a:lnTo>
                  <a:lnTo>
                    <a:pt x="11676659" y="455637"/>
                  </a:lnTo>
                  <a:lnTo>
                    <a:pt x="11668874" y="418617"/>
                  </a:lnTo>
                  <a:lnTo>
                    <a:pt x="11668874" y="406260"/>
                  </a:lnTo>
                  <a:lnTo>
                    <a:pt x="11558448" y="406260"/>
                  </a:lnTo>
                  <a:lnTo>
                    <a:pt x="11558448" y="421093"/>
                  </a:lnTo>
                  <a:lnTo>
                    <a:pt x="11563820" y="466547"/>
                  </a:lnTo>
                  <a:lnTo>
                    <a:pt x="11579428" y="505917"/>
                  </a:lnTo>
                  <a:lnTo>
                    <a:pt x="11604511" y="538873"/>
                  </a:lnTo>
                  <a:lnTo>
                    <a:pt x="11638293" y="565086"/>
                  </a:lnTo>
                  <a:lnTo>
                    <a:pt x="11680012" y="584212"/>
                  </a:lnTo>
                  <a:lnTo>
                    <a:pt x="11728920" y="595934"/>
                  </a:lnTo>
                  <a:lnTo>
                    <a:pt x="11784241" y="599922"/>
                  </a:lnTo>
                  <a:lnTo>
                    <a:pt x="11837886" y="595579"/>
                  </a:lnTo>
                  <a:lnTo>
                    <a:pt x="11886438" y="582980"/>
                  </a:lnTo>
                  <a:lnTo>
                    <a:pt x="11928754" y="562749"/>
                  </a:lnTo>
                  <a:lnTo>
                    <a:pt x="11963667" y="535495"/>
                  </a:lnTo>
                  <a:lnTo>
                    <a:pt x="11990032" y="501840"/>
                  </a:lnTo>
                  <a:lnTo>
                    <a:pt x="12006694" y="462394"/>
                  </a:lnTo>
                  <a:lnTo>
                    <a:pt x="12012511" y="417804"/>
                  </a:lnTo>
                  <a:close/>
                </a:path>
                <a:path w="16453485" h="600075">
                  <a:moveTo>
                    <a:pt x="12637224" y="417804"/>
                  </a:moveTo>
                  <a:lnTo>
                    <a:pt x="12632258" y="374192"/>
                  </a:lnTo>
                  <a:lnTo>
                    <a:pt x="12617298" y="337299"/>
                  </a:lnTo>
                  <a:lnTo>
                    <a:pt x="12592190" y="307136"/>
                  </a:lnTo>
                  <a:lnTo>
                    <a:pt x="12556846" y="283705"/>
                  </a:lnTo>
                  <a:lnTo>
                    <a:pt x="12511138" y="266992"/>
                  </a:lnTo>
                  <a:lnTo>
                    <a:pt x="12352922" y="224955"/>
                  </a:lnTo>
                  <a:lnTo>
                    <a:pt x="12331637" y="216712"/>
                  </a:lnTo>
                  <a:lnTo>
                    <a:pt x="12316143" y="204050"/>
                  </a:lnTo>
                  <a:lnTo>
                    <a:pt x="12306681" y="186613"/>
                  </a:lnTo>
                  <a:lnTo>
                    <a:pt x="12303468" y="163982"/>
                  </a:lnTo>
                  <a:lnTo>
                    <a:pt x="12310605" y="131064"/>
                  </a:lnTo>
                  <a:lnTo>
                    <a:pt x="12330875" y="107645"/>
                  </a:lnTo>
                  <a:lnTo>
                    <a:pt x="12362586" y="93649"/>
                  </a:lnTo>
                  <a:lnTo>
                    <a:pt x="12404014" y="89001"/>
                  </a:lnTo>
                  <a:lnTo>
                    <a:pt x="12449886" y="95554"/>
                  </a:lnTo>
                  <a:lnTo>
                    <a:pt x="12481687" y="113614"/>
                  </a:lnTo>
                  <a:lnTo>
                    <a:pt x="12500204" y="140792"/>
                  </a:lnTo>
                  <a:lnTo>
                    <a:pt x="12506198" y="174701"/>
                  </a:lnTo>
                  <a:lnTo>
                    <a:pt x="12506198" y="186232"/>
                  </a:lnTo>
                  <a:lnTo>
                    <a:pt x="12612510" y="186232"/>
                  </a:lnTo>
                  <a:lnTo>
                    <a:pt x="12612510" y="172224"/>
                  </a:lnTo>
                  <a:lnTo>
                    <a:pt x="12607658" y="130771"/>
                  </a:lnTo>
                  <a:lnTo>
                    <a:pt x="12593511" y="93751"/>
                  </a:lnTo>
                  <a:lnTo>
                    <a:pt x="12570663" y="61887"/>
                  </a:lnTo>
                  <a:lnTo>
                    <a:pt x="12539701" y="35864"/>
                  </a:lnTo>
                  <a:lnTo>
                    <a:pt x="12501207" y="16408"/>
                  </a:lnTo>
                  <a:lnTo>
                    <a:pt x="12455779" y="4216"/>
                  </a:lnTo>
                  <a:lnTo>
                    <a:pt x="12404014" y="0"/>
                  </a:lnTo>
                  <a:lnTo>
                    <a:pt x="12351550" y="3911"/>
                  </a:lnTo>
                  <a:lnTo>
                    <a:pt x="12305449" y="15443"/>
                  </a:lnTo>
                  <a:lnTo>
                    <a:pt x="12266346" y="34175"/>
                  </a:lnTo>
                  <a:lnTo>
                    <a:pt x="12234850" y="59766"/>
                  </a:lnTo>
                  <a:lnTo>
                    <a:pt x="12211583" y="91833"/>
                  </a:lnTo>
                  <a:lnTo>
                    <a:pt x="12197169" y="129984"/>
                  </a:lnTo>
                  <a:lnTo>
                    <a:pt x="12192229" y="173863"/>
                  </a:lnTo>
                  <a:lnTo>
                    <a:pt x="12197220" y="220472"/>
                  </a:lnTo>
                  <a:lnTo>
                    <a:pt x="12212320" y="257352"/>
                  </a:lnTo>
                  <a:lnTo>
                    <a:pt x="12237796" y="285838"/>
                  </a:lnTo>
                  <a:lnTo>
                    <a:pt x="12273864" y="307276"/>
                  </a:lnTo>
                  <a:lnTo>
                    <a:pt x="12320778" y="323037"/>
                  </a:lnTo>
                  <a:lnTo>
                    <a:pt x="12471591" y="361759"/>
                  </a:lnTo>
                  <a:lnTo>
                    <a:pt x="12496432" y="371589"/>
                  </a:lnTo>
                  <a:lnTo>
                    <a:pt x="12513310" y="385965"/>
                  </a:lnTo>
                  <a:lnTo>
                    <a:pt x="12522924" y="404520"/>
                  </a:lnTo>
                  <a:lnTo>
                    <a:pt x="12525985" y="426872"/>
                  </a:lnTo>
                  <a:lnTo>
                    <a:pt x="12517958" y="462597"/>
                  </a:lnTo>
                  <a:lnTo>
                    <a:pt x="12495187" y="488975"/>
                  </a:lnTo>
                  <a:lnTo>
                    <a:pt x="12459576" y="505320"/>
                  </a:lnTo>
                  <a:lnTo>
                    <a:pt x="12413082" y="510921"/>
                  </a:lnTo>
                  <a:lnTo>
                    <a:pt x="12361736" y="504037"/>
                  </a:lnTo>
                  <a:lnTo>
                    <a:pt x="12324283" y="484860"/>
                  </a:lnTo>
                  <a:lnTo>
                    <a:pt x="12301372" y="455637"/>
                  </a:lnTo>
                  <a:lnTo>
                    <a:pt x="12293600" y="418617"/>
                  </a:lnTo>
                  <a:lnTo>
                    <a:pt x="12293600" y="406260"/>
                  </a:lnTo>
                  <a:lnTo>
                    <a:pt x="12183174" y="406260"/>
                  </a:lnTo>
                  <a:lnTo>
                    <a:pt x="12183174" y="421093"/>
                  </a:lnTo>
                  <a:lnTo>
                    <a:pt x="12188546" y="466547"/>
                  </a:lnTo>
                  <a:lnTo>
                    <a:pt x="12204154" y="505917"/>
                  </a:lnTo>
                  <a:lnTo>
                    <a:pt x="12229224" y="538873"/>
                  </a:lnTo>
                  <a:lnTo>
                    <a:pt x="12263006" y="565086"/>
                  </a:lnTo>
                  <a:lnTo>
                    <a:pt x="12304738" y="584212"/>
                  </a:lnTo>
                  <a:lnTo>
                    <a:pt x="12353646" y="595934"/>
                  </a:lnTo>
                  <a:lnTo>
                    <a:pt x="12408954" y="599922"/>
                  </a:lnTo>
                  <a:lnTo>
                    <a:pt x="12462599" y="595579"/>
                  </a:lnTo>
                  <a:lnTo>
                    <a:pt x="12511151" y="582980"/>
                  </a:lnTo>
                  <a:lnTo>
                    <a:pt x="12553467" y="562749"/>
                  </a:lnTo>
                  <a:lnTo>
                    <a:pt x="12588380" y="535495"/>
                  </a:lnTo>
                  <a:lnTo>
                    <a:pt x="12614745" y="501840"/>
                  </a:lnTo>
                  <a:lnTo>
                    <a:pt x="12631420" y="462394"/>
                  </a:lnTo>
                  <a:lnTo>
                    <a:pt x="12637224" y="417804"/>
                  </a:lnTo>
                  <a:close/>
                </a:path>
                <a:path w="16453485" h="600075">
                  <a:moveTo>
                    <a:pt x="13224294" y="492861"/>
                  </a:moveTo>
                  <a:lnTo>
                    <a:pt x="12935039" y="492861"/>
                  </a:lnTo>
                  <a:lnTo>
                    <a:pt x="12935039" y="344271"/>
                  </a:lnTo>
                  <a:lnTo>
                    <a:pt x="13198742" y="344271"/>
                  </a:lnTo>
                  <a:lnTo>
                    <a:pt x="13198742" y="247751"/>
                  </a:lnTo>
                  <a:lnTo>
                    <a:pt x="12935039" y="247751"/>
                  </a:lnTo>
                  <a:lnTo>
                    <a:pt x="12935039" y="106781"/>
                  </a:lnTo>
                  <a:lnTo>
                    <a:pt x="13223456" y="106781"/>
                  </a:lnTo>
                  <a:lnTo>
                    <a:pt x="13223456" y="11531"/>
                  </a:lnTo>
                  <a:lnTo>
                    <a:pt x="12819672" y="11531"/>
                  </a:lnTo>
                  <a:lnTo>
                    <a:pt x="12819672" y="106781"/>
                  </a:lnTo>
                  <a:lnTo>
                    <a:pt x="12819672" y="247751"/>
                  </a:lnTo>
                  <a:lnTo>
                    <a:pt x="12819672" y="344271"/>
                  </a:lnTo>
                  <a:lnTo>
                    <a:pt x="12819672" y="492861"/>
                  </a:lnTo>
                  <a:lnTo>
                    <a:pt x="12819672" y="588111"/>
                  </a:lnTo>
                  <a:lnTo>
                    <a:pt x="13224294" y="588111"/>
                  </a:lnTo>
                  <a:lnTo>
                    <a:pt x="13224294" y="492861"/>
                  </a:lnTo>
                  <a:close/>
                </a:path>
                <a:path w="16453485" h="600075">
                  <a:moveTo>
                    <a:pt x="13888822" y="11531"/>
                  </a:moveTo>
                  <a:lnTo>
                    <a:pt x="13775919" y="11531"/>
                  </a:lnTo>
                  <a:lnTo>
                    <a:pt x="13775919" y="395554"/>
                  </a:lnTo>
                  <a:lnTo>
                    <a:pt x="13524573" y="11531"/>
                  </a:lnTo>
                  <a:lnTo>
                    <a:pt x="13414972" y="11531"/>
                  </a:lnTo>
                  <a:lnTo>
                    <a:pt x="13414972" y="588378"/>
                  </a:lnTo>
                  <a:lnTo>
                    <a:pt x="13527875" y="588378"/>
                  </a:lnTo>
                  <a:lnTo>
                    <a:pt x="13527875" y="204355"/>
                  </a:lnTo>
                  <a:lnTo>
                    <a:pt x="13779208" y="588378"/>
                  </a:lnTo>
                  <a:lnTo>
                    <a:pt x="13888822" y="588378"/>
                  </a:lnTo>
                  <a:lnTo>
                    <a:pt x="13888822" y="11531"/>
                  </a:lnTo>
                  <a:close/>
                </a:path>
                <a:path w="16453485" h="600075">
                  <a:moveTo>
                    <a:pt x="14577301" y="290068"/>
                  </a:moveTo>
                  <a:lnTo>
                    <a:pt x="14335024" y="290068"/>
                  </a:lnTo>
                  <a:lnTo>
                    <a:pt x="14335024" y="384009"/>
                  </a:lnTo>
                  <a:lnTo>
                    <a:pt x="14464411" y="384009"/>
                  </a:lnTo>
                  <a:lnTo>
                    <a:pt x="14464411" y="392252"/>
                  </a:lnTo>
                  <a:lnTo>
                    <a:pt x="14455877" y="437045"/>
                  </a:lnTo>
                  <a:lnTo>
                    <a:pt x="14430820" y="473735"/>
                  </a:lnTo>
                  <a:lnTo>
                    <a:pt x="14390015" y="498513"/>
                  </a:lnTo>
                  <a:lnTo>
                    <a:pt x="14334211" y="507619"/>
                  </a:lnTo>
                  <a:lnTo>
                    <a:pt x="14281430" y="499821"/>
                  </a:lnTo>
                  <a:lnTo>
                    <a:pt x="14242110" y="477672"/>
                  </a:lnTo>
                  <a:lnTo>
                    <a:pt x="14215237" y="443014"/>
                  </a:lnTo>
                  <a:lnTo>
                    <a:pt x="14199845" y="397713"/>
                  </a:lnTo>
                  <a:lnTo>
                    <a:pt x="14194943" y="343636"/>
                  </a:lnTo>
                  <a:lnTo>
                    <a:pt x="14194943" y="252984"/>
                  </a:lnTo>
                  <a:lnTo>
                    <a:pt x="14200315" y="199504"/>
                  </a:lnTo>
                  <a:lnTo>
                    <a:pt x="14216609" y="155638"/>
                  </a:lnTo>
                  <a:lnTo>
                    <a:pt x="14244066" y="122694"/>
                  </a:lnTo>
                  <a:lnTo>
                    <a:pt x="14282915" y="101968"/>
                  </a:lnTo>
                  <a:lnTo>
                    <a:pt x="14333385" y="94767"/>
                  </a:lnTo>
                  <a:lnTo>
                    <a:pt x="14387881" y="103949"/>
                  </a:lnTo>
                  <a:lnTo>
                    <a:pt x="14427632" y="128651"/>
                  </a:lnTo>
                  <a:lnTo>
                    <a:pt x="14452397" y="164642"/>
                  </a:lnTo>
                  <a:lnTo>
                    <a:pt x="14461935" y="207657"/>
                  </a:lnTo>
                  <a:lnTo>
                    <a:pt x="14571536" y="207657"/>
                  </a:lnTo>
                  <a:lnTo>
                    <a:pt x="14566329" y="164426"/>
                  </a:lnTo>
                  <a:lnTo>
                    <a:pt x="14553387" y="124802"/>
                  </a:lnTo>
                  <a:lnTo>
                    <a:pt x="14533017" y="89446"/>
                  </a:lnTo>
                  <a:lnTo>
                    <a:pt x="14505508" y="59016"/>
                  </a:lnTo>
                  <a:lnTo>
                    <a:pt x="14471155" y="34201"/>
                  </a:lnTo>
                  <a:lnTo>
                    <a:pt x="14430274" y="15646"/>
                  </a:lnTo>
                  <a:lnTo>
                    <a:pt x="14383144" y="4025"/>
                  </a:lnTo>
                  <a:lnTo>
                    <a:pt x="14330083" y="0"/>
                  </a:lnTo>
                  <a:lnTo>
                    <a:pt x="14280071" y="3708"/>
                  </a:lnTo>
                  <a:lnTo>
                    <a:pt x="14235100" y="14592"/>
                  </a:lnTo>
                  <a:lnTo>
                    <a:pt x="14195400" y="32232"/>
                  </a:lnTo>
                  <a:lnTo>
                    <a:pt x="14161186" y="56210"/>
                  </a:lnTo>
                  <a:lnTo>
                    <a:pt x="14132700" y="86131"/>
                  </a:lnTo>
                  <a:lnTo>
                    <a:pt x="14110145" y="121589"/>
                  </a:lnTo>
                  <a:lnTo>
                    <a:pt x="14093762" y="162179"/>
                  </a:lnTo>
                  <a:lnTo>
                    <a:pt x="14083767" y="207479"/>
                  </a:lnTo>
                  <a:lnTo>
                    <a:pt x="14080389" y="257098"/>
                  </a:lnTo>
                  <a:lnTo>
                    <a:pt x="14080389" y="341160"/>
                  </a:lnTo>
                  <a:lnTo>
                    <a:pt x="14083398" y="387794"/>
                  </a:lnTo>
                  <a:lnTo>
                    <a:pt x="14092466" y="431647"/>
                  </a:lnTo>
                  <a:lnTo>
                    <a:pt x="14107681" y="471970"/>
                  </a:lnTo>
                  <a:lnTo>
                    <a:pt x="14129118" y="508076"/>
                  </a:lnTo>
                  <a:lnTo>
                    <a:pt x="14156868" y="539216"/>
                  </a:lnTo>
                  <a:lnTo>
                    <a:pt x="14190993" y="564705"/>
                  </a:lnTo>
                  <a:lnTo>
                    <a:pt x="14231607" y="583793"/>
                  </a:lnTo>
                  <a:lnTo>
                    <a:pt x="14278763" y="595769"/>
                  </a:lnTo>
                  <a:lnTo>
                    <a:pt x="14332560" y="599922"/>
                  </a:lnTo>
                  <a:lnTo>
                    <a:pt x="14385658" y="595503"/>
                  </a:lnTo>
                  <a:lnTo>
                    <a:pt x="14433372" y="582688"/>
                  </a:lnTo>
                  <a:lnTo>
                    <a:pt x="14475181" y="562114"/>
                  </a:lnTo>
                  <a:lnTo>
                    <a:pt x="14510550" y="534403"/>
                  </a:lnTo>
                  <a:lnTo>
                    <a:pt x="14538973" y="500214"/>
                  </a:lnTo>
                  <a:lnTo>
                    <a:pt x="14559928" y="460159"/>
                  </a:lnTo>
                  <a:lnTo>
                    <a:pt x="14572869" y="414896"/>
                  </a:lnTo>
                  <a:lnTo>
                    <a:pt x="14577301" y="365048"/>
                  </a:lnTo>
                  <a:lnTo>
                    <a:pt x="14577301" y="290068"/>
                  </a:lnTo>
                  <a:close/>
                </a:path>
                <a:path w="16453485" h="600075">
                  <a:moveTo>
                    <a:pt x="15172119" y="492861"/>
                  </a:moveTo>
                  <a:lnTo>
                    <a:pt x="14882864" y="492861"/>
                  </a:lnTo>
                  <a:lnTo>
                    <a:pt x="14882864" y="344271"/>
                  </a:lnTo>
                  <a:lnTo>
                    <a:pt x="15146566" y="344271"/>
                  </a:lnTo>
                  <a:lnTo>
                    <a:pt x="15146566" y="247751"/>
                  </a:lnTo>
                  <a:lnTo>
                    <a:pt x="14882864" y="247751"/>
                  </a:lnTo>
                  <a:lnTo>
                    <a:pt x="14882864" y="106781"/>
                  </a:lnTo>
                  <a:lnTo>
                    <a:pt x="15171281" y="106781"/>
                  </a:lnTo>
                  <a:lnTo>
                    <a:pt x="15171281" y="11531"/>
                  </a:lnTo>
                  <a:lnTo>
                    <a:pt x="14767497" y="11531"/>
                  </a:lnTo>
                  <a:lnTo>
                    <a:pt x="14767497" y="106781"/>
                  </a:lnTo>
                  <a:lnTo>
                    <a:pt x="14767497" y="247751"/>
                  </a:lnTo>
                  <a:lnTo>
                    <a:pt x="14767497" y="344271"/>
                  </a:lnTo>
                  <a:lnTo>
                    <a:pt x="14767497" y="492861"/>
                  </a:lnTo>
                  <a:lnTo>
                    <a:pt x="14767497" y="588111"/>
                  </a:lnTo>
                  <a:lnTo>
                    <a:pt x="15172119" y="588111"/>
                  </a:lnTo>
                  <a:lnTo>
                    <a:pt x="15172119" y="492861"/>
                  </a:lnTo>
                  <a:close/>
                </a:path>
                <a:path w="16453485" h="600075">
                  <a:moveTo>
                    <a:pt x="15838285" y="588378"/>
                  </a:moveTo>
                  <a:lnTo>
                    <a:pt x="15728734" y="403783"/>
                  </a:lnTo>
                  <a:lnTo>
                    <a:pt x="15717977" y="385648"/>
                  </a:lnTo>
                  <a:lnTo>
                    <a:pt x="15757017" y="363270"/>
                  </a:lnTo>
                  <a:lnTo>
                    <a:pt x="15788615" y="333324"/>
                  </a:lnTo>
                  <a:lnTo>
                    <a:pt x="15803156" y="310667"/>
                  </a:lnTo>
                  <a:lnTo>
                    <a:pt x="15812072" y="296773"/>
                  </a:lnTo>
                  <a:lnTo>
                    <a:pt x="15826664" y="254571"/>
                  </a:lnTo>
                  <a:lnTo>
                    <a:pt x="15831693" y="207657"/>
                  </a:lnTo>
                  <a:lnTo>
                    <a:pt x="15827274" y="161505"/>
                  </a:lnTo>
                  <a:lnTo>
                    <a:pt x="15814142" y="119761"/>
                  </a:lnTo>
                  <a:lnTo>
                    <a:pt x="15792450" y="83413"/>
                  </a:lnTo>
                  <a:lnTo>
                    <a:pt x="15762339" y="53428"/>
                  </a:lnTo>
                  <a:lnTo>
                    <a:pt x="15723997" y="30810"/>
                  </a:lnTo>
                  <a:lnTo>
                    <a:pt x="15716326" y="28448"/>
                  </a:lnTo>
                  <a:lnTo>
                    <a:pt x="15716326" y="206832"/>
                  </a:lnTo>
                  <a:lnTo>
                    <a:pt x="15709545" y="248437"/>
                  </a:lnTo>
                  <a:lnTo>
                    <a:pt x="15689339" y="281305"/>
                  </a:lnTo>
                  <a:lnTo>
                    <a:pt x="15655836" y="302907"/>
                  </a:lnTo>
                  <a:lnTo>
                    <a:pt x="15609189" y="310667"/>
                  </a:lnTo>
                  <a:lnTo>
                    <a:pt x="15478163" y="310667"/>
                  </a:lnTo>
                  <a:lnTo>
                    <a:pt x="15478163" y="105473"/>
                  </a:lnTo>
                  <a:lnTo>
                    <a:pt x="15609189" y="105473"/>
                  </a:lnTo>
                  <a:lnTo>
                    <a:pt x="15655481" y="112623"/>
                  </a:lnTo>
                  <a:lnTo>
                    <a:pt x="15689021" y="132981"/>
                  </a:lnTo>
                  <a:lnTo>
                    <a:pt x="15709430" y="164922"/>
                  </a:lnTo>
                  <a:lnTo>
                    <a:pt x="15716326" y="206832"/>
                  </a:lnTo>
                  <a:lnTo>
                    <a:pt x="15716326" y="28448"/>
                  </a:lnTo>
                  <a:lnTo>
                    <a:pt x="15677566" y="16510"/>
                  </a:lnTo>
                  <a:lnTo>
                    <a:pt x="15623197" y="11531"/>
                  </a:lnTo>
                  <a:lnTo>
                    <a:pt x="15362797" y="11531"/>
                  </a:lnTo>
                  <a:lnTo>
                    <a:pt x="15362797" y="588378"/>
                  </a:lnTo>
                  <a:lnTo>
                    <a:pt x="15478163" y="588378"/>
                  </a:lnTo>
                  <a:lnTo>
                    <a:pt x="15478163" y="403783"/>
                  </a:lnTo>
                  <a:lnTo>
                    <a:pt x="15599309" y="403783"/>
                  </a:lnTo>
                  <a:lnTo>
                    <a:pt x="15704782" y="588378"/>
                  </a:lnTo>
                  <a:lnTo>
                    <a:pt x="15838285" y="588378"/>
                  </a:lnTo>
                  <a:close/>
                </a:path>
                <a:path w="16453485" h="600075">
                  <a:moveTo>
                    <a:pt x="16452939" y="417804"/>
                  </a:moveTo>
                  <a:lnTo>
                    <a:pt x="16447986" y="374192"/>
                  </a:lnTo>
                  <a:lnTo>
                    <a:pt x="16433013" y="337299"/>
                  </a:lnTo>
                  <a:lnTo>
                    <a:pt x="16407918" y="307136"/>
                  </a:lnTo>
                  <a:lnTo>
                    <a:pt x="16372574" y="283705"/>
                  </a:lnTo>
                  <a:lnTo>
                    <a:pt x="16326866" y="266992"/>
                  </a:lnTo>
                  <a:lnTo>
                    <a:pt x="16168637" y="224955"/>
                  </a:lnTo>
                  <a:lnTo>
                    <a:pt x="16147352" y="216712"/>
                  </a:lnTo>
                  <a:lnTo>
                    <a:pt x="16131870" y="204050"/>
                  </a:lnTo>
                  <a:lnTo>
                    <a:pt x="16122396" y="186613"/>
                  </a:lnTo>
                  <a:lnTo>
                    <a:pt x="16119196" y="163982"/>
                  </a:lnTo>
                  <a:lnTo>
                    <a:pt x="16126333" y="131064"/>
                  </a:lnTo>
                  <a:lnTo>
                    <a:pt x="16146602" y="107645"/>
                  </a:lnTo>
                  <a:lnTo>
                    <a:pt x="16178302" y="93649"/>
                  </a:lnTo>
                  <a:lnTo>
                    <a:pt x="16219729" y="89001"/>
                  </a:lnTo>
                  <a:lnTo>
                    <a:pt x="16265601" y="95554"/>
                  </a:lnTo>
                  <a:lnTo>
                    <a:pt x="16297402" y="113614"/>
                  </a:lnTo>
                  <a:lnTo>
                    <a:pt x="16315919" y="140792"/>
                  </a:lnTo>
                  <a:lnTo>
                    <a:pt x="16321913" y="174701"/>
                  </a:lnTo>
                  <a:lnTo>
                    <a:pt x="16321913" y="186232"/>
                  </a:lnTo>
                  <a:lnTo>
                    <a:pt x="16428225" y="186232"/>
                  </a:lnTo>
                  <a:lnTo>
                    <a:pt x="16428225" y="172224"/>
                  </a:lnTo>
                  <a:lnTo>
                    <a:pt x="16423374" y="130771"/>
                  </a:lnTo>
                  <a:lnTo>
                    <a:pt x="16409238" y="93751"/>
                  </a:lnTo>
                  <a:lnTo>
                    <a:pt x="16386378" y="61887"/>
                  </a:lnTo>
                  <a:lnTo>
                    <a:pt x="16355416" y="35864"/>
                  </a:lnTo>
                  <a:lnTo>
                    <a:pt x="16316922" y="16408"/>
                  </a:lnTo>
                  <a:lnTo>
                    <a:pt x="16271494" y="4216"/>
                  </a:lnTo>
                  <a:lnTo>
                    <a:pt x="16219729" y="0"/>
                  </a:lnTo>
                  <a:lnTo>
                    <a:pt x="16167265" y="3911"/>
                  </a:lnTo>
                  <a:lnTo>
                    <a:pt x="16121164" y="15443"/>
                  </a:lnTo>
                  <a:lnTo>
                    <a:pt x="16082061" y="34175"/>
                  </a:lnTo>
                  <a:lnTo>
                    <a:pt x="16050565" y="59766"/>
                  </a:lnTo>
                  <a:lnTo>
                    <a:pt x="16027299" y="91833"/>
                  </a:lnTo>
                  <a:lnTo>
                    <a:pt x="16012884" y="129984"/>
                  </a:lnTo>
                  <a:lnTo>
                    <a:pt x="16007944" y="173863"/>
                  </a:lnTo>
                  <a:lnTo>
                    <a:pt x="16012935" y="220472"/>
                  </a:lnTo>
                  <a:lnTo>
                    <a:pt x="16028048" y="257352"/>
                  </a:lnTo>
                  <a:lnTo>
                    <a:pt x="16053511" y="285838"/>
                  </a:lnTo>
                  <a:lnTo>
                    <a:pt x="16089592" y="307276"/>
                  </a:lnTo>
                  <a:lnTo>
                    <a:pt x="16136493" y="323037"/>
                  </a:lnTo>
                  <a:lnTo>
                    <a:pt x="16287306" y="361759"/>
                  </a:lnTo>
                  <a:lnTo>
                    <a:pt x="16312147" y="371589"/>
                  </a:lnTo>
                  <a:lnTo>
                    <a:pt x="16329025" y="385965"/>
                  </a:lnTo>
                  <a:lnTo>
                    <a:pt x="16338639" y="404520"/>
                  </a:lnTo>
                  <a:lnTo>
                    <a:pt x="16341700" y="426872"/>
                  </a:lnTo>
                  <a:lnTo>
                    <a:pt x="16333673" y="462597"/>
                  </a:lnTo>
                  <a:lnTo>
                    <a:pt x="16310902" y="488975"/>
                  </a:lnTo>
                  <a:lnTo>
                    <a:pt x="16275292" y="505320"/>
                  </a:lnTo>
                  <a:lnTo>
                    <a:pt x="16228797" y="510921"/>
                  </a:lnTo>
                  <a:lnTo>
                    <a:pt x="16177451" y="504037"/>
                  </a:lnTo>
                  <a:lnTo>
                    <a:pt x="16140011" y="484860"/>
                  </a:lnTo>
                  <a:lnTo>
                    <a:pt x="16117088" y="455637"/>
                  </a:lnTo>
                  <a:lnTo>
                    <a:pt x="16109315" y="418617"/>
                  </a:lnTo>
                  <a:lnTo>
                    <a:pt x="16109315" y="406260"/>
                  </a:lnTo>
                  <a:lnTo>
                    <a:pt x="15998889" y="406260"/>
                  </a:lnTo>
                  <a:lnTo>
                    <a:pt x="15998889" y="421093"/>
                  </a:lnTo>
                  <a:lnTo>
                    <a:pt x="16004261" y="466547"/>
                  </a:lnTo>
                  <a:lnTo>
                    <a:pt x="16019869" y="505917"/>
                  </a:lnTo>
                  <a:lnTo>
                    <a:pt x="16044939" y="538873"/>
                  </a:lnTo>
                  <a:lnTo>
                    <a:pt x="16078721" y="565086"/>
                  </a:lnTo>
                  <a:lnTo>
                    <a:pt x="16120453" y="584212"/>
                  </a:lnTo>
                  <a:lnTo>
                    <a:pt x="16169361" y="595934"/>
                  </a:lnTo>
                  <a:lnTo>
                    <a:pt x="16224669" y="599922"/>
                  </a:lnTo>
                  <a:lnTo>
                    <a:pt x="16278314" y="595579"/>
                  </a:lnTo>
                  <a:lnTo>
                    <a:pt x="16326879" y="582980"/>
                  </a:lnTo>
                  <a:lnTo>
                    <a:pt x="16369183" y="562749"/>
                  </a:lnTo>
                  <a:lnTo>
                    <a:pt x="16404095" y="535495"/>
                  </a:lnTo>
                  <a:lnTo>
                    <a:pt x="16430473" y="501840"/>
                  </a:lnTo>
                  <a:lnTo>
                    <a:pt x="16447135" y="462394"/>
                  </a:lnTo>
                  <a:lnTo>
                    <a:pt x="16452939" y="417804"/>
                  </a:lnTo>
                  <a:close/>
                </a:path>
              </a:pathLst>
            </a:custGeom>
            <a:solidFill>
              <a:srgbClr val="FFFFF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8" name="object 78"/>
            <p:cNvPicPr/>
            <p:nvPr/>
          </p:nvPicPr>
          <p:blipFill>
            <a:blip r:embed="rId4" cstate="email">
              <a:extLst>
                <a:ext uri="{28A0092B-C50C-407E-A947-70E740481C1C}">
                  <a14:useLocalDpi xmlns:a14="http://schemas.microsoft.com/office/drawing/2010/main"/>
                </a:ext>
              </a:extLst>
            </a:blip>
            <a:stretch>
              <a:fillRect/>
            </a:stretch>
          </p:blipFill>
          <p:spPr>
            <a:xfrm>
              <a:off x="4296125" y="1833661"/>
              <a:ext cx="13107846" cy="1341933"/>
            </a:xfrm>
            <a:prstGeom prst="rect">
              <a:avLst/>
            </a:prstGeom>
          </p:spPr>
        </p:pic>
      </p:grpSp>
      <p:sp>
        <p:nvSpPr>
          <p:cNvPr id="79" name="object 79">
            <a:extLst>
              <a:ext uri="{C183D7F6-B498-43B3-948B-1728B52AA6E4}">
                <adec:decorative xmlns:adec="http://schemas.microsoft.com/office/drawing/2017/decorative" val="1"/>
              </a:ext>
            </a:extLst>
          </p:cNvPr>
          <p:cNvSpPr txBox="1"/>
          <p:nvPr/>
        </p:nvSpPr>
        <p:spPr>
          <a:xfrm>
            <a:off x="2644052" y="1150267"/>
            <a:ext cx="7770603" cy="547798"/>
          </a:xfrm>
          <a:prstGeom prst="rect">
            <a:avLst/>
          </a:prstGeom>
          <a:solidFill>
            <a:srgbClr val="E05929"/>
          </a:solidFill>
        </p:spPr>
        <p:txBody>
          <a:bodyPr vert="horz" wrap="square" lIns="0" tIns="31960" rIns="0" bIns="0" rtlCol="0">
            <a:spAutoFit/>
          </a:bodyPr>
          <a:lstStyle/>
          <a:p>
            <a:pPr marL="652683" marR="229883" lvl="0" indent="-418565" algn="l" defTabSz="554492" rtl="0" eaLnBrk="1" fontAlgn="auto" latinLnBrk="0" hangingPunct="1">
              <a:lnSpc>
                <a:spcPct val="118900"/>
              </a:lnSpc>
              <a:spcBef>
                <a:spcPts val="252"/>
              </a:spcBef>
              <a:spcAft>
                <a:spcPts val="0"/>
              </a:spcAft>
              <a:buClrTx/>
              <a:buSzTx/>
              <a:buFontTx/>
              <a:buNone/>
              <a:tabLst>
                <a:tab pos="3066650" algn="l"/>
                <a:tab pos="3211434" algn="l"/>
                <a:tab pos="3236463" algn="l"/>
                <a:tab pos="3380862" algn="l"/>
              </a:tabLst>
              <a:defRPr/>
            </a:pPr>
            <a:r>
              <a:rPr kumimoji="0" sz="1455" b="0" i="0" u="none" strike="noStrike" kern="0" cap="none" spc="146" normalizeH="0" baseline="0" noProof="0">
                <a:ln>
                  <a:noFill/>
                </a:ln>
                <a:solidFill>
                  <a:srgbClr val="FFFFFF"/>
                </a:solidFill>
                <a:effectLst/>
                <a:uLnTx/>
                <a:uFillTx/>
                <a:latin typeface="Calibri"/>
                <a:ea typeface="+mn-ea"/>
                <a:cs typeface="Calibri"/>
              </a:rPr>
              <a:t>SUSTAINABILITY</a:t>
            </a:r>
            <a:r>
              <a:rPr kumimoji="0" sz="1455" b="0" i="0" u="none" strike="noStrike" kern="0" cap="none" spc="6" normalizeH="0" baseline="0" noProof="0">
                <a:ln>
                  <a:noFill/>
                </a:ln>
                <a:solidFill>
                  <a:srgbClr val="FFFFFF"/>
                </a:solidFill>
                <a:effectLst/>
                <a:uLnTx/>
                <a:uFillTx/>
                <a:latin typeface="Calibri"/>
                <a:ea typeface="+mn-ea"/>
                <a:cs typeface="Calibri"/>
              </a:rPr>
              <a:t> </a:t>
            </a:r>
            <a:r>
              <a:rPr kumimoji="0" sz="1455" b="0" i="0" u="none" strike="noStrike" kern="0" cap="none" spc="0" normalizeH="0" baseline="0" noProof="0">
                <a:ln>
                  <a:noFill/>
                </a:ln>
                <a:solidFill>
                  <a:srgbClr val="FFFFFF"/>
                </a:solidFill>
                <a:effectLst/>
                <a:uLnTx/>
                <a:uFillTx/>
                <a:latin typeface="Calibri"/>
                <a:ea typeface="+mn-ea"/>
                <a:cs typeface="Calibri"/>
              </a:rPr>
              <a:t>&amp;</a:t>
            </a:r>
            <a:r>
              <a:rPr kumimoji="0" sz="1455" b="0" i="0" u="none" strike="noStrike" kern="0" cap="none" spc="9" normalizeH="0" baseline="0" noProof="0">
                <a:ln>
                  <a:noFill/>
                </a:ln>
                <a:solidFill>
                  <a:srgbClr val="FFFFFF"/>
                </a:solidFill>
                <a:effectLst/>
                <a:uLnTx/>
                <a:uFillTx/>
                <a:latin typeface="Calibri"/>
                <a:ea typeface="+mn-ea"/>
                <a:cs typeface="Calibri"/>
              </a:rPr>
              <a:t> </a:t>
            </a:r>
            <a:r>
              <a:rPr kumimoji="0" sz="1455" b="0" i="0" u="none" strike="noStrike" kern="0" cap="none" spc="161" normalizeH="0" baseline="0" noProof="0">
                <a:ln>
                  <a:noFill/>
                </a:ln>
                <a:solidFill>
                  <a:srgbClr val="FFFFFF"/>
                </a:solidFill>
                <a:effectLst/>
                <a:uLnTx/>
                <a:uFillTx/>
                <a:latin typeface="Calibri"/>
                <a:ea typeface="+mn-ea"/>
                <a:cs typeface="Calibri"/>
              </a:rPr>
              <a:t>RESILIENCY</a:t>
            </a:r>
            <a:r>
              <a:rPr kumimoji="0" sz="1455" b="0" i="0" u="none" strike="noStrike" kern="0" cap="none" spc="0" normalizeH="0" baseline="0" noProof="0">
                <a:ln>
                  <a:noFill/>
                </a:ln>
                <a:solidFill>
                  <a:srgbClr val="FFFFFF"/>
                </a:solidFill>
                <a:effectLst/>
                <a:uLnTx/>
                <a:uFillTx/>
                <a:latin typeface="Calibri"/>
                <a:ea typeface="+mn-ea"/>
                <a:cs typeface="Calibri"/>
              </a:rPr>
              <a:t>	</a:t>
            </a:r>
            <a:r>
              <a:rPr kumimoji="0" sz="1455" b="0" i="0" u="none" strike="noStrike" kern="0" cap="none" spc="-212" normalizeH="0" baseline="0" noProof="0">
                <a:ln>
                  <a:noFill/>
                </a:ln>
                <a:solidFill>
                  <a:srgbClr val="FFFFFF"/>
                </a:solidFill>
                <a:effectLst/>
                <a:uLnTx/>
                <a:uFillTx/>
                <a:latin typeface="Calibri"/>
                <a:ea typeface="+mn-ea"/>
                <a:cs typeface="Calibri"/>
              </a:rPr>
              <a:t>|</a:t>
            </a:r>
            <a:r>
              <a:rPr kumimoji="0" sz="1455" b="0" i="0" u="none" strike="noStrike" kern="0" cap="none" spc="0" normalizeH="0" baseline="0" noProof="0">
                <a:ln>
                  <a:noFill/>
                </a:ln>
                <a:solidFill>
                  <a:srgbClr val="FFFFFF"/>
                </a:solidFill>
                <a:effectLst/>
                <a:uLnTx/>
                <a:uFillTx/>
                <a:latin typeface="Calibri"/>
                <a:ea typeface="+mn-ea"/>
                <a:cs typeface="Calibri"/>
              </a:rPr>
              <a:t>	</a:t>
            </a:r>
            <a:r>
              <a:rPr kumimoji="0" sz="1455" b="0" i="0" u="none" strike="noStrike" kern="0" cap="none" spc="97" normalizeH="0" baseline="0" noProof="0">
                <a:ln>
                  <a:noFill/>
                </a:ln>
                <a:solidFill>
                  <a:srgbClr val="FFFFFF"/>
                </a:solidFill>
                <a:effectLst/>
                <a:uLnTx/>
                <a:uFillTx/>
                <a:latin typeface="Calibri"/>
                <a:ea typeface="+mn-ea"/>
                <a:cs typeface="Calibri"/>
              </a:rPr>
              <a:t>EQUITY,</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30" normalizeH="0" baseline="0" noProof="0">
                <a:ln>
                  <a:noFill/>
                </a:ln>
                <a:solidFill>
                  <a:srgbClr val="FFFFFF"/>
                </a:solidFill>
                <a:effectLst/>
                <a:uLnTx/>
                <a:uFillTx/>
                <a:latin typeface="Calibri"/>
                <a:ea typeface="+mn-ea"/>
                <a:cs typeface="Calibri"/>
              </a:rPr>
              <a:t>DIVERSITY,</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36" normalizeH="0" baseline="0" noProof="0">
                <a:ln>
                  <a:noFill/>
                </a:ln>
                <a:solidFill>
                  <a:srgbClr val="FFFFFF"/>
                </a:solidFill>
                <a:effectLst/>
                <a:uLnTx/>
                <a:uFillTx/>
                <a:latin typeface="Calibri"/>
                <a:ea typeface="+mn-ea"/>
                <a:cs typeface="Calibri"/>
              </a:rPr>
              <a:t>INCLUSION</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0" normalizeH="0" baseline="0" noProof="0">
                <a:ln>
                  <a:noFill/>
                </a:ln>
                <a:solidFill>
                  <a:srgbClr val="FFFFFF"/>
                </a:solidFill>
                <a:effectLst/>
                <a:uLnTx/>
                <a:uFillTx/>
                <a:latin typeface="Calibri"/>
                <a:ea typeface="+mn-ea"/>
                <a:cs typeface="Calibri"/>
              </a:rPr>
              <a:t>&amp;</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67" normalizeH="0" baseline="0" noProof="0">
                <a:ln>
                  <a:noFill/>
                </a:ln>
                <a:solidFill>
                  <a:srgbClr val="FFFFFF"/>
                </a:solidFill>
                <a:effectLst/>
                <a:uLnTx/>
                <a:uFillTx/>
                <a:latin typeface="Calibri"/>
                <a:ea typeface="+mn-ea"/>
                <a:cs typeface="Calibri"/>
              </a:rPr>
              <a:t>ACCESSIBILITY </a:t>
            </a:r>
            <a:r>
              <a:rPr kumimoji="0" sz="1455" b="0" i="0" u="none" strike="noStrike" kern="0" cap="none" spc="139" normalizeH="0" baseline="0" noProof="0">
                <a:ln>
                  <a:noFill/>
                </a:ln>
                <a:solidFill>
                  <a:srgbClr val="FFFFFF"/>
                </a:solidFill>
                <a:effectLst/>
                <a:uLnTx/>
                <a:uFillTx/>
                <a:latin typeface="Calibri"/>
                <a:ea typeface="+mn-ea"/>
                <a:cs typeface="Calibri"/>
              </a:rPr>
              <a:t>OPERATIONAL</a:t>
            </a:r>
            <a:r>
              <a:rPr kumimoji="0" sz="1455" b="0" i="0" u="none" strike="noStrike" kern="0" cap="none" spc="24" normalizeH="0" baseline="0" noProof="0">
                <a:ln>
                  <a:noFill/>
                </a:ln>
                <a:solidFill>
                  <a:srgbClr val="FFFFFF"/>
                </a:solidFill>
                <a:effectLst/>
                <a:uLnTx/>
                <a:uFillTx/>
                <a:latin typeface="Calibri"/>
                <a:ea typeface="+mn-ea"/>
                <a:cs typeface="Calibri"/>
              </a:rPr>
              <a:t> </a:t>
            </a:r>
            <a:r>
              <a:rPr kumimoji="0" sz="1455" b="0" i="0" u="none" strike="noStrike" kern="0" cap="none" spc="182" normalizeH="0" baseline="0" noProof="0">
                <a:ln>
                  <a:noFill/>
                </a:ln>
                <a:solidFill>
                  <a:srgbClr val="FFFFFF"/>
                </a:solidFill>
                <a:effectLst/>
                <a:uLnTx/>
                <a:uFillTx/>
                <a:latin typeface="Calibri"/>
                <a:ea typeface="+mn-ea"/>
                <a:cs typeface="Calibri"/>
              </a:rPr>
              <a:t>EXCELLENCE</a:t>
            </a:r>
            <a:r>
              <a:rPr kumimoji="0" sz="1455" b="0" i="0" u="none" strike="noStrike" kern="0" cap="none" spc="0" normalizeH="0" baseline="0" noProof="0">
                <a:ln>
                  <a:noFill/>
                </a:ln>
                <a:solidFill>
                  <a:srgbClr val="FFFFFF"/>
                </a:solidFill>
                <a:effectLst/>
                <a:uLnTx/>
                <a:uFillTx/>
                <a:latin typeface="Calibri"/>
                <a:ea typeface="+mn-ea"/>
                <a:cs typeface="Calibri"/>
              </a:rPr>
              <a:t>		</a:t>
            </a:r>
            <a:r>
              <a:rPr kumimoji="0" sz="1455" b="0" i="0" u="none" strike="noStrike" kern="0" cap="none" spc="-212" normalizeH="0" baseline="0" noProof="0">
                <a:ln>
                  <a:noFill/>
                </a:ln>
                <a:solidFill>
                  <a:srgbClr val="FFFFFF"/>
                </a:solidFill>
                <a:effectLst/>
                <a:uLnTx/>
                <a:uFillTx/>
                <a:latin typeface="Calibri"/>
                <a:ea typeface="+mn-ea"/>
                <a:cs typeface="Calibri"/>
              </a:rPr>
              <a:t>|</a:t>
            </a:r>
            <a:r>
              <a:rPr kumimoji="0" sz="1455" b="0" i="0" u="none" strike="noStrike" kern="0" cap="none" spc="0" normalizeH="0" baseline="0" noProof="0">
                <a:ln>
                  <a:noFill/>
                </a:ln>
                <a:solidFill>
                  <a:srgbClr val="FFFFFF"/>
                </a:solidFill>
                <a:effectLst/>
                <a:uLnTx/>
                <a:uFillTx/>
                <a:latin typeface="Calibri"/>
                <a:ea typeface="+mn-ea"/>
                <a:cs typeface="Calibri"/>
              </a:rPr>
              <a:t>	</a:t>
            </a:r>
            <a:r>
              <a:rPr kumimoji="0" sz="1455" b="0" i="0" u="none" strike="noStrike" kern="0" cap="none" spc="136" normalizeH="0" baseline="0" noProof="0">
                <a:ln>
                  <a:noFill/>
                </a:ln>
                <a:solidFill>
                  <a:srgbClr val="FFFFFF"/>
                </a:solidFill>
                <a:effectLst/>
                <a:uLnTx/>
                <a:uFillTx/>
                <a:latin typeface="Calibri"/>
                <a:ea typeface="+mn-ea"/>
                <a:cs typeface="Calibri"/>
              </a:rPr>
              <a:t>ENHANCING</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54" normalizeH="0" baseline="0" noProof="0">
                <a:ln>
                  <a:noFill/>
                </a:ln>
                <a:solidFill>
                  <a:srgbClr val="FFFFFF"/>
                </a:solidFill>
                <a:effectLst/>
                <a:uLnTx/>
                <a:uFillTx/>
                <a:latin typeface="Calibri"/>
                <a:ea typeface="+mn-ea"/>
                <a:cs typeface="Calibri"/>
              </a:rPr>
              <a:t>THE</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46" normalizeH="0" baseline="0" noProof="0">
                <a:ln>
                  <a:noFill/>
                </a:ln>
                <a:solidFill>
                  <a:srgbClr val="FFFFFF"/>
                </a:solidFill>
                <a:effectLst/>
                <a:uLnTx/>
                <a:uFillTx/>
                <a:latin typeface="Calibri"/>
                <a:ea typeface="+mn-ea"/>
                <a:cs typeface="Calibri"/>
              </a:rPr>
              <a:t>CUSTOMER</a:t>
            </a:r>
            <a:r>
              <a:rPr kumimoji="0" sz="1455" b="0" i="0" u="none" strike="noStrike" kern="0" cap="none" spc="-3" normalizeH="0" baseline="0" noProof="0">
                <a:ln>
                  <a:noFill/>
                </a:ln>
                <a:solidFill>
                  <a:srgbClr val="FFFFFF"/>
                </a:solidFill>
                <a:effectLst/>
                <a:uLnTx/>
                <a:uFillTx/>
                <a:latin typeface="Calibri"/>
                <a:ea typeface="+mn-ea"/>
                <a:cs typeface="Calibri"/>
              </a:rPr>
              <a:t> </a:t>
            </a:r>
            <a:r>
              <a:rPr kumimoji="0" sz="1455" b="0" i="0" u="none" strike="noStrike" kern="0" cap="none" spc="167" normalizeH="0" baseline="0" noProof="0">
                <a:ln>
                  <a:noFill/>
                </a:ln>
                <a:solidFill>
                  <a:srgbClr val="FFFFFF"/>
                </a:solidFill>
                <a:effectLst/>
                <a:uLnTx/>
                <a:uFillTx/>
                <a:latin typeface="Calibri"/>
                <a:ea typeface="+mn-ea"/>
                <a:cs typeface="Calibri"/>
              </a:rPr>
              <a:t>EXPERIENCE</a:t>
            </a:r>
            <a:endParaRPr kumimoji="0" sz="145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 name="object 2">
            <a:extLst>
              <a:ext uri="{C183D7F6-B498-43B3-948B-1728B52AA6E4}">
                <adec:decorative xmlns:adec="http://schemas.microsoft.com/office/drawing/2017/decorative" val="1"/>
              </a:ext>
            </a:extLst>
          </p:cNvPr>
          <p:cNvSpPr txBox="1"/>
          <p:nvPr/>
        </p:nvSpPr>
        <p:spPr>
          <a:xfrm>
            <a:off x="1797125" y="2560439"/>
            <a:ext cx="1287271" cy="444974"/>
          </a:xfrm>
          <a:prstGeom prst="rect">
            <a:avLst/>
          </a:prstGeom>
        </p:spPr>
        <p:txBody>
          <a:bodyPr vert="horz" wrap="square" lIns="0" tIns="34271" rIns="0" bIns="0" rtlCol="0">
            <a:spAutoFit/>
          </a:bodyPr>
          <a:lstStyle/>
          <a:p>
            <a:pPr marL="7701" marR="3081" lvl="0" indent="0" algn="l" defTabSz="554492" rtl="0" eaLnBrk="1" fontAlgn="auto" latinLnBrk="0" hangingPunct="1">
              <a:lnSpc>
                <a:spcPts val="1577"/>
              </a:lnSpc>
              <a:spcBef>
                <a:spcPts val="270"/>
              </a:spcBef>
              <a:spcAft>
                <a:spcPts val="0"/>
              </a:spcAft>
              <a:buClrTx/>
              <a:buSzTx/>
              <a:buFontTx/>
              <a:buNone/>
              <a:tabLst/>
              <a:defRPr/>
            </a:pPr>
            <a:r>
              <a:rPr kumimoji="0" sz="1455" b="1" i="0" u="none" strike="noStrike" kern="0" cap="none" spc="103" normalizeH="0" baseline="0" noProof="0">
                <a:ln>
                  <a:noFill/>
                </a:ln>
                <a:solidFill>
                  <a:srgbClr val="452D8C"/>
                </a:solidFill>
                <a:effectLst/>
                <a:uLnTx/>
                <a:uFillTx/>
                <a:latin typeface="Calibri"/>
                <a:ea typeface="+mn-ea"/>
                <a:cs typeface="Calibri"/>
              </a:rPr>
              <a:t>EMPOWERING </a:t>
            </a:r>
            <a:r>
              <a:rPr kumimoji="0" sz="1455" b="1" i="0" u="none" strike="noStrike" kern="0" cap="none" spc="127" normalizeH="0" baseline="0" noProof="0">
                <a:ln>
                  <a:noFill/>
                </a:ln>
                <a:solidFill>
                  <a:srgbClr val="452D8C"/>
                </a:solidFill>
                <a:effectLst/>
                <a:uLnTx/>
                <a:uFillTx/>
                <a:latin typeface="Calibri"/>
                <a:ea typeface="+mn-ea"/>
                <a:cs typeface="Calibri"/>
              </a:rPr>
              <a:t>OUR</a:t>
            </a:r>
            <a:r>
              <a:rPr kumimoji="0" sz="1455" b="1" i="0" u="none" strike="noStrike" kern="0" cap="none" spc="0" normalizeH="0" baseline="0" noProof="0">
                <a:ln>
                  <a:noFill/>
                </a:ln>
                <a:solidFill>
                  <a:srgbClr val="452D8C"/>
                </a:solidFill>
                <a:effectLst/>
                <a:uLnTx/>
                <a:uFillTx/>
                <a:latin typeface="Calibri"/>
                <a:ea typeface="+mn-ea"/>
                <a:cs typeface="Calibri"/>
              </a:rPr>
              <a:t> </a:t>
            </a:r>
            <a:r>
              <a:rPr kumimoji="0" sz="1455" b="1" i="0" u="none" strike="noStrike" kern="0" cap="none" spc="164" normalizeH="0" baseline="0" noProof="0">
                <a:ln>
                  <a:noFill/>
                </a:ln>
                <a:solidFill>
                  <a:srgbClr val="452D8C"/>
                </a:solidFill>
                <a:effectLst/>
                <a:uLnTx/>
                <a:uFillTx/>
                <a:latin typeface="Calibri"/>
                <a:ea typeface="+mn-ea"/>
                <a:cs typeface="Calibri"/>
              </a:rPr>
              <a:t>PEOPLE</a:t>
            </a:r>
            <a:endParaRPr kumimoji="0" sz="1455"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80" name="object 80">
            <a:extLst>
              <a:ext uri="{C183D7F6-B498-43B3-948B-1728B52AA6E4}">
                <adec:decorative xmlns:adec="http://schemas.microsoft.com/office/drawing/2017/decorative" val="1"/>
              </a:ext>
            </a:extLst>
          </p:cNvPr>
          <p:cNvGrpSpPr/>
          <p:nvPr/>
        </p:nvGrpSpPr>
        <p:grpSpPr>
          <a:xfrm>
            <a:off x="469690" y="3"/>
            <a:ext cx="10504977" cy="4452638"/>
            <a:chOff x="773849" y="5"/>
            <a:chExt cx="17323522" cy="7342695"/>
          </a:xfrm>
        </p:grpSpPr>
        <p:pic>
          <p:nvPicPr>
            <p:cNvPr id="81" name="object 81"/>
            <p:cNvPicPr/>
            <p:nvPr/>
          </p:nvPicPr>
          <p:blipFill>
            <a:blip r:embed="rId5" cstate="email">
              <a:extLst>
                <a:ext uri="{28A0092B-C50C-407E-A947-70E740481C1C}">
                  <a14:useLocalDpi xmlns:a14="http://schemas.microsoft.com/office/drawing/2010/main"/>
                </a:ext>
              </a:extLst>
            </a:blip>
            <a:stretch>
              <a:fillRect/>
            </a:stretch>
          </p:blipFill>
          <p:spPr>
            <a:xfrm>
              <a:off x="1357994" y="143790"/>
              <a:ext cx="172073" cy="182743"/>
            </a:xfrm>
            <a:prstGeom prst="rect">
              <a:avLst/>
            </a:prstGeom>
          </p:spPr>
        </p:pic>
        <p:sp>
          <p:nvSpPr>
            <p:cNvPr id="82" name="object 82"/>
            <p:cNvSpPr/>
            <p:nvPr/>
          </p:nvSpPr>
          <p:spPr>
            <a:xfrm>
              <a:off x="773849" y="5"/>
              <a:ext cx="756920" cy="745490"/>
            </a:xfrm>
            <a:custGeom>
              <a:avLst/>
              <a:gdLst/>
              <a:ahLst/>
              <a:cxnLst/>
              <a:rect l="l" t="t" r="r" b="b"/>
              <a:pathLst>
                <a:path w="756919" h="745490">
                  <a:moveTo>
                    <a:pt x="246037" y="608444"/>
                  </a:moveTo>
                  <a:lnTo>
                    <a:pt x="239852" y="562394"/>
                  </a:lnTo>
                  <a:lnTo>
                    <a:pt x="225958" y="534517"/>
                  </a:lnTo>
                  <a:lnTo>
                    <a:pt x="221437" y="525424"/>
                  </a:lnTo>
                  <a:lnTo>
                    <a:pt x="191071" y="498195"/>
                  </a:lnTo>
                  <a:lnTo>
                    <a:pt x="171348" y="490308"/>
                  </a:lnTo>
                  <a:lnTo>
                    <a:pt x="171348" y="609206"/>
                  </a:lnTo>
                  <a:lnTo>
                    <a:pt x="167068" y="641223"/>
                  </a:lnTo>
                  <a:lnTo>
                    <a:pt x="154216" y="665467"/>
                  </a:lnTo>
                  <a:lnTo>
                    <a:pt x="132689" y="680847"/>
                  </a:lnTo>
                  <a:lnTo>
                    <a:pt x="102425" y="686219"/>
                  </a:lnTo>
                  <a:lnTo>
                    <a:pt x="74320" y="686219"/>
                  </a:lnTo>
                  <a:lnTo>
                    <a:pt x="74320" y="534517"/>
                  </a:lnTo>
                  <a:lnTo>
                    <a:pt x="102425" y="534517"/>
                  </a:lnTo>
                  <a:lnTo>
                    <a:pt x="131876" y="539800"/>
                  </a:lnTo>
                  <a:lnTo>
                    <a:pt x="153492" y="554824"/>
                  </a:lnTo>
                  <a:lnTo>
                    <a:pt x="166801" y="578370"/>
                  </a:lnTo>
                  <a:lnTo>
                    <a:pt x="171234" y="608444"/>
                  </a:lnTo>
                  <a:lnTo>
                    <a:pt x="171348" y="609206"/>
                  </a:lnTo>
                  <a:lnTo>
                    <a:pt x="171348" y="490308"/>
                  </a:lnTo>
                  <a:lnTo>
                    <a:pt x="148996" y="481368"/>
                  </a:lnTo>
                  <a:lnTo>
                    <a:pt x="95491" y="475615"/>
                  </a:lnTo>
                  <a:lnTo>
                    <a:pt x="0" y="475615"/>
                  </a:lnTo>
                  <a:lnTo>
                    <a:pt x="0" y="745134"/>
                  </a:lnTo>
                  <a:lnTo>
                    <a:pt x="95491" y="745134"/>
                  </a:lnTo>
                  <a:lnTo>
                    <a:pt x="150482" y="739228"/>
                  </a:lnTo>
                  <a:lnTo>
                    <a:pt x="192735" y="721969"/>
                  </a:lnTo>
                  <a:lnTo>
                    <a:pt x="222542" y="693991"/>
                  </a:lnTo>
                  <a:lnTo>
                    <a:pt x="226148" y="686219"/>
                  </a:lnTo>
                  <a:lnTo>
                    <a:pt x="240220" y="655929"/>
                  </a:lnTo>
                  <a:lnTo>
                    <a:pt x="245948" y="609206"/>
                  </a:lnTo>
                  <a:lnTo>
                    <a:pt x="246037" y="608444"/>
                  </a:lnTo>
                  <a:close/>
                </a:path>
                <a:path w="756919" h="745490">
                  <a:moveTo>
                    <a:pt x="270713" y="429475"/>
                  </a:moveTo>
                  <a:lnTo>
                    <a:pt x="225539" y="413969"/>
                  </a:lnTo>
                  <a:lnTo>
                    <a:pt x="180213" y="402043"/>
                  </a:lnTo>
                  <a:lnTo>
                    <a:pt x="135953" y="393230"/>
                  </a:lnTo>
                  <a:lnTo>
                    <a:pt x="93967" y="387057"/>
                  </a:lnTo>
                  <a:lnTo>
                    <a:pt x="45224" y="382231"/>
                  </a:lnTo>
                  <a:lnTo>
                    <a:pt x="0" y="379730"/>
                  </a:lnTo>
                  <a:lnTo>
                    <a:pt x="0" y="429475"/>
                  </a:lnTo>
                  <a:lnTo>
                    <a:pt x="270713" y="429475"/>
                  </a:lnTo>
                  <a:close/>
                </a:path>
                <a:path w="756919" h="745490">
                  <a:moveTo>
                    <a:pt x="480136" y="681355"/>
                  </a:moveTo>
                  <a:lnTo>
                    <a:pt x="349999" y="681355"/>
                  </a:lnTo>
                  <a:lnTo>
                    <a:pt x="349999" y="635635"/>
                  </a:lnTo>
                  <a:lnTo>
                    <a:pt x="463969" y="635635"/>
                  </a:lnTo>
                  <a:lnTo>
                    <a:pt x="463969" y="581025"/>
                  </a:lnTo>
                  <a:lnTo>
                    <a:pt x="349999" y="581025"/>
                  </a:lnTo>
                  <a:lnTo>
                    <a:pt x="349999" y="539115"/>
                  </a:lnTo>
                  <a:lnTo>
                    <a:pt x="478980" y="539115"/>
                  </a:lnTo>
                  <a:lnTo>
                    <a:pt x="478980" y="475615"/>
                  </a:lnTo>
                  <a:lnTo>
                    <a:pt x="275691" y="475615"/>
                  </a:lnTo>
                  <a:lnTo>
                    <a:pt x="275691" y="539115"/>
                  </a:lnTo>
                  <a:lnTo>
                    <a:pt x="275691" y="581025"/>
                  </a:lnTo>
                  <a:lnTo>
                    <a:pt x="275691" y="635635"/>
                  </a:lnTo>
                  <a:lnTo>
                    <a:pt x="275691" y="681355"/>
                  </a:lnTo>
                  <a:lnTo>
                    <a:pt x="275691" y="744855"/>
                  </a:lnTo>
                  <a:lnTo>
                    <a:pt x="480136" y="744855"/>
                  </a:lnTo>
                  <a:lnTo>
                    <a:pt x="480136" y="681355"/>
                  </a:lnTo>
                  <a:close/>
                </a:path>
                <a:path w="756919" h="745490">
                  <a:moveTo>
                    <a:pt x="756208" y="475615"/>
                  </a:moveTo>
                  <a:lnTo>
                    <a:pt x="686142" y="475615"/>
                  </a:lnTo>
                  <a:lnTo>
                    <a:pt x="686142" y="628853"/>
                  </a:lnTo>
                  <a:lnTo>
                    <a:pt x="585254" y="475615"/>
                  </a:lnTo>
                  <a:lnTo>
                    <a:pt x="514794" y="475615"/>
                  </a:lnTo>
                  <a:lnTo>
                    <a:pt x="514794" y="745134"/>
                  </a:lnTo>
                  <a:lnTo>
                    <a:pt x="584873" y="745134"/>
                  </a:lnTo>
                  <a:lnTo>
                    <a:pt x="584873" y="592658"/>
                  </a:lnTo>
                  <a:lnTo>
                    <a:pt x="686142" y="745134"/>
                  </a:lnTo>
                  <a:lnTo>
                    <a:pt x="756208" y="745134"/>
                  </a:lnTo>
                  <a:lnTo>
                    <a:pt x="756208" y="475615"/>
                  </a:lnTo>
                  <a:close/>
                </a:path>
                <a:path w="756919" h="745490">
                  <a:moveTo>
                    <a:pt x="756208" y="294005"/>
                  </a:moveTo>
                  <a:lnTo>
                    <a:pt x="714921" y="319659"/>
                  </a:lnTo>
                  <a:lnTo>
                    <a:pt x="667804" y="338937"/>
                  </a:lnTo>
                  <a:lnTo>
                    <a:pt x="597433" y="352996"/>
                  </a:lnTo>
                  <a:lnTo>
                    <a:pt x="559727" y="354761"/>
                  </a:lnTo>
                  <a:lnTo>
                    <a:pt x="522008" y="352996"/>
                  </a:lnTo>
                  <a:lnTo>
                    <a:pt x="451650" y="338937"/>
                  </a:lnTo>
                  <a:lnTo>
                    <a:pt x="394677" y="314388"/>
                  </a:lnTo>
                  <a:lnTo>
                    <a:pt x="349719" y="283375"/>
                  </a:lnTo>
                  <a:lnTo>
                    <a:pt x="304863" y="236715"/>
                  </a:lnTo>
                  <a:lnTo>
                    <a:pt x="275590" y="190652"/>
                  </a:lnTo>
                  <a:lnTo>
                    <a:pt x="269519" y="177546"/>
                  </a:lnTo>
                  <a:lnTo>
                    <a:pt x="256070" y="169748"/>
                  </a:lnTo>
                  <a:lnTo>
                    <a:pt x="263245" y="215798"/>
                  </a:lnTo>
                  <a:lnTo>
                    <a:pt x="287921" y="288645"/>
                  </a:lnTo>
                  <a:lnTo>
                    <a:pt x="320179" y="352044"/>
                  </a:lnTo>
                  <a:lnTo>
                    <a:pt x="343179" y="389115"/>
                  </a:lnTo>
                  <a:lnTo>
                    <a:pt x="371500" y="429475"/>
                  </a:lnTo>
                  <a:lnTo>
                    <a:pt x="756208" y="429475"/>
                  </a:lnTo>
                  <a:lnTo>
                    <a:pt x="756208" y="294005"/>
                  </a:lnTo>
                  <a:close/>
                </a:path>
                <a:path w="756919" h="745490">
                  <a:moveTo>
                    <a:pt x="756767" y="0"/>
                  </a:moveTo>
                  <a:lnTo>
                    <a:pt x="571" y="0"/>
                  </a:lnTo>
                  <a:lnTo>
                    <a:pt x="0" y="339432"/>
                  </a:lnTo>
                  <a:lnTo>
                    <a:pt x="55041" y="318566"/>
                  </a:lnTo>
                  <a:lnTo>
                    <a:pt x="94475" y="298297"/>
                  </a:lnTo>
                  <a:lnTo>
                    <a:pt x="134302" y="271907"/>
                  </a:lnTo>
                  <a:lnTo>
                    <a:pt x="172631" y="238633"/>
                  </a:lnTo>
                  <a:lnTo>
                    <a:pt x="207619" y="197700"/>
                  </a:lnTo>
                  <a:lnTo>
                    <a:pt x="237388" y="148323"/>
                  </a:lnTo>
                  <a:lnTo>
                    <a:pt x="242036" y="138887"/>
                  </a:lnTo>
                  <a:lnTo>
                    <a:pt x="285419" y="164033"/>
                  </a:lnTo>
                  <a:lnTo>
                    <a:pt x="317601" y="220941"/>
                  </a:lnTo>
                  <a:lnTo>
                    <a:pt x="344195" y="251675"/>
                  </a:lnTo>
                  <a:lnTo>
                    <a:pt x="354622" y="250507"/>
                  </a:lnTo>
                  <a:lnTo>
                    <a:pt x="413207" y="231686"/>
                  </a:lnTo>
                  <a:lnTo>
                    <a:pt x="451345" y="208102"/>
                  </a:lnTo>
                  <a:lnTo>
                    <a:pt x="484873" y="177101"/>
                  </a:lnTo>
                  <a:lnTo>
                    <a:pt x="513664" y="138811"/>
                  </a:lnTo>
                  <a:lnTo>
                    <a:pt x="537641" y="93357"/>
                  </a:lnTo>
                  <a:lnTo>
                    <a:pt x="540219" y="87477"/>
                  </a:lnTo>
                  <a:lnTo>
                    <a:pt x="585698" y="87477"/>
                  </a:lnTo>
                  <a:lnTo>
                    <a:pt x="602907" y="137401"/>
                  </a:lnTo>
                  <a:lnTo>
                    <a:pt x="646341" y="197446"/>
                  </a:lnTo>
                  <a:lnTo>
                    <a:pt x="678014" y="221615"/>
                  </a:lnTo>
                  <a:lnTo>
                    <a:pt x="714667" y="238772"/>
                  </a:lnTo>
                  <a:lnTo>
                    <a:pt x="756208" y="248843"/>
                  </a:lnTo>
                  <a:lnTo>
                    <a:pt x="756767" y="0"/>
                  </a:lnTo>
                  <a:close/>
                </a:path>
              </a:pathLst>
            </a:custGeom>
            <a:solidFill>
              <a:srgbClr val="FFFFF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83" name="object 83"/>
            <p:cNvPicPr/>
            <p:nvPr/>
          </p:nvPicPr>
          <p:blipFill>
            <a:blip r:embed="rId6" cstate="email">
              <a:extLst>
                <a:ext uri="{28A0092B-C50C-407E-A947-70E740481C1C}">
                  <a14:useLocalDpi xmlns:a14="http://schemas.microsoft.com/office/drawing/2010/main"/>
                </a:ext>
              </a:extLst>
            </a:blip>
            <a:stretch>
              <a:fillRect/>
            </a:stretch>
          </p:blipFill>
          <p:spPr>
            <a:xfrm>
              <a:off x="15189338" y="5299381"/>
              <a:ext cx="2908033" cy="2043319"/>
            </a:xfrm>
            <a:prstGeom prst="rect">
              <a:avLst/>
            </a:prstGeom>
          </p:spPr>
        </p:pic>
      </p:gr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2F1051-6600-A60C-503C-3CC5B0F63047}"/>
              </a:ext>
            </a:extLst>
          </p:cNvPr>
          <p:cNvSpPr>
            <a:spLocks noGrp="1"/>
          </p:cNvSpPr>
          <p:nvPr>
            <p:ph type="ctrTitle"/>
          </p:nvPr>
        </p:nvSpPr>
        <p:spPr/>
        <p:txBody>
          <a:bodyPr/>
          <a:lstStyle/>
          <a:p>
            <a:r>
              <a:rPr lang="en-US" sz="6000"/>
              <a:t>Meet the </a:t>
            </a:r>
            <a:br>
              <a:rPr lang="en-US" sz="6000"/>
            </a:br>
            <a:r>
              <a:rPr lang="en-US" sz="6000"/>
              <a:t>Primes</a:t>
            </a:r>
          </a:p>
        </p:txBody>
      </p:sp>
      <p:sp>
        <p:nvSpPr>
          <p:cNvPr id="6" name="Subtitle 5">
            <a:extLst>
              <a:ext uri="{FF2B5EF4-FFF2-40B4-BE49-F238E27FC236}">
                <a16:creationId xmlns:a16="http://schemas.microsoft.com/office/drawing/2014/main" id="{8BE4D748-C200-8B6A-12FB-FE75825084F2}"/>
              </a:ext>
            </a:extLst>
          </p:cNvPr>
          <p:cNvSpPr>
            <a:spLocks noGrp="1"/>
          </p:cNvSpPr>
          <p:nvPr>
            <p:ph type="subTitle" idx="1"/>
          </p:nvPr>
        </p:nvSpPr>
        <p:spPr/>
        <p:txBody>
          <a:bodyPr/>
          <a:lstStyle/>
          <a:p>
            <a:r>
              <a:rPr lang="en-US"/>
              <a:t>December 2025</a:t>
            </a:r>
          </a:p>
        </p:txBody>
      </p:sp>
      <p:pic>
        <p:nvPicPr>
          <p:cNvPr id="3" name="Picture Placeholder 2" descr="Denver International Airport airplane on the runway with mountains and air traffic control tower in background.">
            <a:extLst>
              <a:ext uri="{FF2B5EF4-FFF2-40B4-BE49-F238E27FC236}">
                <a16:creationId xmlns:a16="http://schemas.microsoft.com/office/drawing/2014/main" id="{01BFDBF5-AC88-A8DA-818E-204B3B57F8B6}"/>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6368919" y="0"/>
            <a:ext cx="5826499" cy="6520727"/>
          </a:xfrm>
        </p:spPr>
      </p:pic>
    </p:spTree>
    <p:extLst>
      <p:ext uri="{BB962C8B-B14F-4D97-AF65-F5344CB8AC3E}">
        <p14:creationId xmlns:p14="http://schemas.microsoft.com/office/powerpoint/2010/main" val="7902601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C887538-74F5-3152-F99A-07F516C0D523}"/>
              </a:ext>
              <a:ext uri="{C183D7F6-B498-43B3-948B-1728B52AA6E4}">
                <adec:decorative xmlns:adec="http://schemas.microsoft.com/office/drawing/2017/decorative" val="0"/>
              </a:ext>
            </a:extLst>
          </p:cNvPr>
          <p:cNvSpPr>
            <a:spLocks noGrp="1"/>
          </p:cNvSpPr>
          <p:nvPr>
            <p:ph type="title" idx="4294967295"/>
          </p:nvPr>
        </p:nvSpPr>
        <p:spPr>
          <a:xfrm>
            <a:off x="404814" y="108096"/>
            <a:ext cx="6908799" cy="13047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 marR="0" lvl="0" indent="0" algn="l" defTabSz="914400" rtl="0" eaLnBrk="1" fontAlgn="auto" latinLnBrk="0" hangingPunct="1">
              <a:lnSpc>
                <a:spcPct val="110000"/>
              </a:lnSpc>
              <a:spcBef>
                <a:spcPts val="0"/>
              </a:spcBef>
              <a:spcAft>
                <a:spcPts val="0"/>
              </a:spcAft>
              <a:buClrTx/>
              <a:buSzTx/>
              <a:buFont typeface="Segoe UI" panose="020B0502040204020203" pitchFamily="34" charset="0"/>
              <a:buNone/>
              <a:tabLst/>
              <a:defRPr/>
            </a:pPr>
            <a:r>
              <a:rPr kumimoji="0" lang="en-US" sz="32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Diversity and Inclusion</a:t>
            </a:r>
          </a:p>
        </p:txBody>
      </p:sp>
      <p:sp>
        <p:nvSpPr>
          <p:cNvPr id="27" name="Content Placeholder 5">
            <a:extLst>
              <a:ext uri="{FF2B5EF4-FFF2-40B4-BE49-F238E27FC236}">
                <a16:creationId xmlns:a16="http://schemas.microsoft.com/office/drawing/2014/main" id="{4E83F882-7FEC-F997-8DB6-F561B90EA7CE}"/>
              </a:ext>
              <a:ext uri="{C183D7F6-B498-43B3-948B-1728B52AA6E4}">
                <adec:decorative xmlns:adec="http://schemas.microsoft.com/office/drawing/2017/decorative" val="0"/>
              </a:ext>
            </a:extLst>
          </p:cNvPr>
          <p:cNvSpPr txBox="1">
            <a:spLocks/>
          </p:cNvSpPr>
          <p:nvPr/>
        </p:nvSpPr>
        <p:spPr>
          <a:xfrm>
            <a:off x="8056908" y="1121764"/>
            <a:ext cx="3631440" cy="423471"/>
          </a:xfrm>
          <a:prstGeom prst="rect">
            <a:avLst/>
          </a:prstGeom>
        </p:spPr>
        <p:txBody>
          <a:bodyPr/>
          <a:lstStyle>
            <a:lvl1pPr marL="228600" indent="-228600" algn="l" defTabSz="914400" rtl="0" eaLnBrk="1" latinLnBrk="0" hangingPunct="1">
              <a:lnSpc>
                <a:spcPct val="90000"/>
              </a:lnSpc>
              <a:spcBef>
                <a:spcPts val="1000"/>
              </a:spcBef>
              <a:buFont typeface="Segoe UI" panose="020B0502040204020203" pitchFamily="34" charset="0"/>
              <a:buChar char="–"/>
              <a:defRPr sz="17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400" b="1">
                <a:solidFill>
                  <a:schemeClr val="bg1"/>
                </a:solidFill>
              </a:rPr>
              <a:t>Robust DEI Program</a:t>
            </a:r>
          </a:p>
        </p:txBody>
      </p:sp>
      <p:sp>
        <p:nvSpPr>
          <p:cNvPr id="24" name="Content Placeholder 5">
            <a:extLst>
              <a:ext uri="{FF2B5EF4-FFF2-40B4-BE49-F238E27FC236}">
                <a16:creationId xmlns:a16="http://schemas.microsoft.com/office/drawing/2014/main" id="{40443DAA-DF2C-5F0A-49CA-50D834AAC4B9}"/>
              </a:ext>
              <a:ext uri="{C183D7F6-B498-43B3-948B-1728B52AA6E4}">
                <adec:decorative xmlns:adec="http://schemas.microsoft.com/office/drawing/2017/decorative" val="1"/>
              </a:ext>
            </a:extLst>
          </p:cNvPr>
          <p:cNvSpPr txBox="1">
            <a:spLocks/>
          </p:cNvSpPr>
          <p:nvPr/>
        </p:nvSpPr>
        <p:spPr>
          <a:xfrm>
            <a:off x="8091632" y="3649803"/>
            <a:ext cx="3596716" cy="629892"/>
          </a:xfrm>
          <a:prstGeom prst="rect">
            <a:avLst/>
          </a:prstGeom>
        </p:spPr>
        <p:txBody>
          <a:bodyPr/>
          <a:lstStyle>
            <a:lvl1pPr marL="228600" indent="-228600" algn="l" defTabSz="914400" rtl="0" eaLnBrk="1" latinLnBrk="0" hangingPunct="1">
              <a:lnSpc>
                <a:spcPct val="90000"/>
              </a:lnSpc>
              <a:spcBef>
                <a:spcPts val="1000"/>
              </a:spcBef>
              <a:buFont typeface="Segoe UI" panose="020B0502040204020203" pitchFamily="34" charset="0"/>
              <a:buChar char="–"/>
              <a:defRPr sz="17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000" b="1">
                <a:solidFill>
                  <a:schemeClr val="bg1"/>
                </a:solidFill>
              </a:rPr>
              <a:t>Focus on supplier diversity &amp; strategic partnerships </a:t>
            </a:r>
          </a:p>
        </p:txBody>
      </p:sp>
      <p:sp>
        <p:nvSpPr>
          <p:cNvPr id="25" name="Content Placeholder 5">
            <a:extLst>
              <a:ext uri="{FF2B5EF4-FFF2-40B4-BE49-F238E27FC236}">
                <a16:creationId xmlns:a16="http://schemas.microsoft.com/office/drawing/2014/main" id="{07F897FB-4113-7D6A-B911-E1672149938A}"/>
              </a:ext>
              <a:ext uri="{C183D7F6-B498-43B3-948B-1728B52AA6E4}">
                <adec:decorative xmlns:adec="http://schemas.microsoft.com/office/drawing/2017/decorative" val="1"/>
              </a:ext>
            </a:extLst>
          </p:cNvPr>
          <p:cNvSpPr txBox="1">
            <a:spLocks/>
          </p:cNvSpPr>
          <p:nvPr/>
        </p:nvSpPr>
        <p:spPr>
          <a:xfrm>
            <a:off x="8671367" y="4941331"/>
            <a:ext cx="3596716" cy="567921"/>
          </a:xfrm>
          <a:prstGeom prst="rect">
            <a:avLst/>
          </a:prstGeom>
        </p:spPr>
        <p:txBody>
          <a:bodyPr/>
          <a:lstStyle>
            <a:lvl1pPr marL="228600" indent="-228600" algn="l" defTabSz="914400" rtl="0" eaLnBrk="1" latinLnBrk="0" hangingPunct="1">
              <a:lnSpc>
                <a:spcPct val="90000"/>
              </a:lnSpc>
              <a:spcBef>
                <a:spcPts val="1000"/>
              </a:spcBef>
              <a:buFont typeface="Segoe UI" panose="020B0502040204020203" pitchFamily="34" charset="0"/>
              <a:buChar char="–"/>
              <a:defRPr sz="17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2400" b="1">
                <a:solidFill>
                  <a:schemeClr val="bg1"/>
                </a:solidFill>
              </a:rPr>
              <a:t>$55M </a:t>
            </a:r>
            <a:r>
              <a:rPr lang="en-US" sz="2000">
                <a:solidFill>
                  <a:schemeClr val="bg1"/>
                </a:solidFill>
              </a:rPr>
              <a:t>in fees for our </a:t>
            </a:r>
          </a:p>
          <a:p>
            <a:pPr marL="0" indent="0">
              <a:lnSpc>
                <a:spcPct val="100000"/>
              </a:lnSpc>
              <a:spcBef>
                <a:spcPts val="0"/>
              </a:spcBef>
              <a:buNone/>
            </a:pPr>
            <a:r>
              <a:rPr lang="en-US" sz="2400" b="1">
                <a:solidFill>
                  <a:schemeClr val="bg1"/>
                </a:solidFill>
              </a:rPr>
              <a:t>120</a:t>
            </a:r>
            <a:r>
              <a:rPr lang="en-US" sz="2400">
                <a:solidFill>
                  <a:schemeClr val="bg1"/>
                </a:solidFill>
              </a:rPr>
              <a:t> </a:t>
            </a:r>
            <a:r>
              <a:rPr lang="en-US" sz="2000">
                <a:solidFill>
                  <a:schemeClr val="bg1"/>
                </a:solidFill>
              </a:rPr>
              <a:t>MBE/SBE partners</a:t>
            </a:r>
          </a:p>
          <a:p>
            <a:pPr marL="0" indent="0">
              <a:lnSpc>
                <a:spcPct val="100000"/>
              </a:lnSpc>
              <a:spcBef>
                <a:spcPts val="0"/>
              </a:spcBef>
              <a:buNone/>
            </a:pPr>
            <a:endParaRPr lang="en-US" sz="2000">
              <a:solidFill>
                <a:schemeClr val="bg1"/>
              </a:solidFill>
            </a:endParaRPr>
          </a:p>
          <a:p>
            <a:pPr marL="0" indent="0">
              <a:lnSpc>
                <a:spcPct val="100000"/>
              </a:lnSpc>
              <a:spcBef>
                <a:spcPts val="0"/>
              </a:spcBef>
              <a:buNone/>
            </a:pPr>
            <a:endParaRPr lang="en-US" sz="2000">
              <a:solidFill>
                <a:schemeClr val="bg1"/>
              </a:solidFill>
            </a:endParaRPr>
          </a:p>
          <a:p>
            <a:pPr marL="0" indent="0">
              <a:lnSpc>
                <a:spcPct val="100000"/>
              </a:lnSpc>
              <a:spcBef>
                <a:spcPts val="0"/>
              </a:spcBef>
              <a:buNone/>
            </a:pPr>
            <a:endParaRPr lang="en-US" sz="2000">
              <a:solidFill>
                <a:schemeClr val="bg1"/>
              </a:solidFill>
            </a:endParaRPr>
          </a:p>
          <a:p>
            <a:pPr marL="0" indent="0">
              <a:lnSpc>
                <a:spcPct val="100000"/>
              </a:lnSpc>
              <a:spcBef>
                <a:spcPts val="0"/>
              </a:spcBef>
              <a:buNone/>
            </a:pPr>
            <a:endParaRPr lang="en-US" sz="2000">
              <a:solidFill>
                <a:schemeClr val="bg1"/>
              </a:solidFill>
            </a:endParaRPr>
          </a:p>
          <a:p>
            <a:pPr marL="0" indent="0">
              <a:lnSpc>
                <a:spcPct val="100000"/>
              </a:lnSpc>
              <a:spcBef>
                <a:spcPts val="0"/>
              </a:spcBef>
              <a:buNone/>
            </a:pPr>
            <a:endParaRPr lang="en-US" sz="2000">
              <a:solidFill>
                <a:schemeClr val="bg1"/>
              </a:solidFill>
            </a:endParaRPr>
          </a:p>
        </p:txBody>
      </p:sp>
      <p:pic>
        <p:nvPicPr>
          <p:cNvPr id="26" name="Graphic 25">
            <a:extLst>
              <a:ext uri="{FF2B5EF4-FFF2-40B4-BE49-F238E27FC236}">
                <a16:creationId xmlns:a16="http://schemas.microsoft.com/office/drawing/2014/main" id="{70C732D9-D25A-77E3-BCBA-A118F99EFE7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5520" y="4976628"/>
            <a:ext cx="467240" cy="704453"/>
          </a:xfrm>
          <a:prstGeom prst="rect">
            <a:avLst/>
          </a:prstGeom>
        </p:spPr>
      </p:pic>
      <p:pic>
        <p:nvPicPr>
          <p:cNvPr id="10" name="Graphic 9">
            <a:extLst>
              <a:ext uri="{FF2B5EF4-FFF2-40B4-BE49-F238E27FC236}">
                <a16:creationId xmlns:a16="http://schemas.microsoft.com/office/drawing/2014/main" id="{A3373A75-D7EE-3B54-017F-8C9EE25AE38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8125" y="2065008"/>
            <a:ext cx="2968749" cy="1065022"/>
          </a:xfrm>
          <a:prstGeom prst="rect">
            <a:avLst/>
          </a:prstGeom>
        </p:spPr>
      </p:pic>
      <p:grpSp>
        <p:nvGrpSpPr>
          <p:cNvPr id="7" name="Group 6" descr="Future State event in RS&amp;H’s Denver office">
            <a:extLst>
              <a:ext uri="{FF2B5EF4-FFF2-40B4-BE49-F238E27FC236}">
                <a16:creationId xmlns:a16="http://schemas.microsoft.com/office/drawing/2014/main" id="{BE207761-2D47-7F1A-5268-A43F6B81AD4E}"/>
              </a:ext>
            </a:extLst>
          </p:cNvPr>
          <p:cNvGrpSpPr/>
          <p:nvPr/>
        </p:nvGrpSpPr>
        <p:grpSpPr>
          <a:xfrm>
            <a:off x="503651" y="1368369"/>
            <a:ext cx="6908799" cy="4724977"/>
            <a:chOff x="503652" y="1545235"/>
            <a:chExt cx="6650188" cy="4548111"/>
          </a:xfrm>
        </p:grpSpPr>
        <p:pic>
          <p:nvPicPr>
            <p:cNvPr id="29" name="Picture 28">
              <a:extLst>
                <a:ext uri="{FF2B5EF4-FFF2-40B4-BE49-F238E27FC236}">
                  <a16:creationId xmlns:a16="http://schemas.microsoft.com/office/drawing/2014/main" id="{89A65D5A-2EDB-2B3C-237C-DA952FBF002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03652" y="1545235"/>
              <a:ext cx="3250539" cy="2190691"/>
            </a:xfrm>
            <a:prstGeom prst="rect">
              <a:avLst/>
            </a:prstGeom>
          </p:spPr>
        </p:pic>
        <p:pic>
          <p:nvPicPr>
            <p:cNvPr id="30" name="Picture 29">
              <a:extLst>
                <a:ext uri="{FF2B5EF4-FFF2-40B4-BE49-F238E27FC236}">
                  <a16:creationId xmlns:a16="http://schemas.microsoft.com/office/drawing/2014/main" id="{F096781D-4740-625C-0504-A110104710BF}"/>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3903301" y="1545235"/>
              <a:ext cx="3250539" cy="2190691"/>
            </a:xfrm>
            <a:prstGeom prst="rect">
              <a:avLst/>
            </a:prstGeom>
          </p:spPr>
        </p:pic>
        <p:pic>
          <p:nvPicPr>
            <p:cNvPr id="31" name="Picture 30">
              <a:extLst>
                <a:ext uri="{FF2B5EF4-FFF2-40B4-BE49-F238E27FC236}">
                  <a16:creationId xmlns:a16="http://schemas.microsoft.com/office/drawing/2014/main" id="{67B08466-FFC0-18B0-BC6E-C84461B6823D}"/>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03652" y="3902655"/>
              <a:ext cx="3250539" cy="2190691"/>
            </a:xfrm>
            <a:prstGeom prst="rect">
              <a:avLst/>
            </a:prstGeom>
          </p:spPr>
        </p:pic>
        <p:pic>
          <p:nvPicPr>
            <p:cNvPr id="32" name="Picture 31">
              <a:extLst>
                <a:ext uri="{FF2B5EF4-FFF2-40B4-BE49-F238E27FC236}">
                  <a16:creationId xmlns:a16="http://schemas.microsoft.com/office/drawing/2014/main" id="{6BA2EF50-1F53-F361-259C-D70F528B5230}"/>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903301" y="3902655"/>
              <a:ext cx="3250539" cy="2190691"/>
            </a:xfrm>
            <a:prstGeom prst="rect">
              <a:avLst/>
            </a:prstGeom>
          </p:spPr>
        </p:pic>
      </p:grpSp>
    </p:spTree>
    <p:extLst>
      <p:ext uri="{BB962C8B-B14F-4D97-AF65-F5344CB8AC3E}">
        <p14:creationId xmlns:p14="http://schemas.microsoft.com/office/powerpoint/2010/main" val="6556022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847AE39-291C-0C5D-41B3-26F8FE582F17}"/>
              </a:ext>
            </a:extLst>
          </p:cNvPr>
          <p:cNvSpPr>
            <a:spLocks noGrp="1"/>
          </p:cNvSpPr>
          <p:nvPr>
            <p:ph type="title" idx="4294967295"/>
          </p:nvPr>
        </p:nvSpPr>
        <p:spPr>
          <a:xfrm>
            <a:off x="404813" y="101600"/>
            <a:ext cx="7088187" cy="13112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 marR="0" lvl="0" indent="0" algn="l" defTabSz="914400" rtl="0" eaLnBrk="1" fontAlgn="auto" latinLnBrk="0" hangingPunct="1">
              <a:lnSpc>
                <a:spcPct val="110000"/>
              </a:lnSpc>
              <a:spcBef>
                <a:spcPts val="0"/>
              </a:spcBef>
              <a:spcAft>
                <a:spcPts val="0"/>
              </a:spcAft>
              <a:buClrTx/>
              <a:buSzTx/>
              <a:buFont typeface="Segoe UI" panose="020B0502040204020203" pitchFamily="34" charset="0"/>
              <a:buNone/>
              <a:tabLst/>
              <a:defRPr/>
            </a:pPr>
            <a:r>
              <a:rPr kumimoji="0" lang="en-US" sz="3200" b="0" i="0" u="none" strike="noStrike" kern="1200" cap="none" spc="0" normalizeH="0" baseline="0" noProof="0">
                <a:ln>
                  <a:noFill/>
                </a:ln>
                <a:solidFill>
                  <a:srgbClr val="215FAC"/>
                </a:solidFill>
                <a:effectLst/>
                <a:uLnTx/>
                <a:uFillTx/>
                <a:latin typeface="Segoe UI Semibold" panose="020B0702040204020203" pitchFamily="34" charset="0"/>
                <a:ea typeface="+mj-ea"/>
                <a:cs typeface="Segoe UI Semibold" panose="020B0702040204020203" pitchFamily="34" charset="0"/>
              </a:rPr>
              <a:t>Upcoming Projects at DEN</a:t>
            </a:r>
            <a:endParaRPr kumimoji="0" lang="en-US" sz="32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endParaRPr>
          </a:p>
        </p:txBody>
      </p:sp>
      <p:sp>
        <p:nvSpPr>
          <p:cNvPr id="8" name="Content Placeholder 7">
            <a:extLst>
              <a:ext uri="{FF2B5EF4-FFF2-40B4-BE49-F238E27FC236}">
                <a16:creationId xmlns:a16="http://schemas.microsoft.com/office/drawing/2014/main" id="{6762D73B-A614-D229-3E55-7D255F27FD19}"/>
              </a:ext>
            </a:extLst>
          </p:cNvPr>
          <p:cNvSpPr>
            <a:spLocks noGrp="1"/>
          </p:cNvSpPr>
          <p:nvPr>
            <p:ph sz="half" idx="1"/>
          </p:nvPr>
        </p:nvSpPr>
        <p:spPr>
          <a:xfrm>
            <a:off x="542259" y="1569892"/>
            <a:ext cx="5543948" cy="4829138"/>
          </a:xfrm>
        </p:spPr>
        <p:txBody>
          <a:bodyPr vert="horz" lIns="91440" tIns="45720" rIns="91440" bIns="45720" rtlCol="0" anchor="t">
            <a:noAutofit/>
          </a:bodyPr>
          <a:lstStyle/>
          <a:p>
            <a:pPr marL="0" indent="0">
              <a:buNone/>
            </a:pPr>
            <a:r>
              <a:rPr lang="en-US" b="1"/>
              <a:t>Support Current Contracts:</a:t>
            </a:r>
          </a:p>
          <a:p>
            <a:pPr marL="57150" indent="-285750">
              <a:buFont typeface="Arial" panose="020B0604020202020204" pitchFamily="34" charset="0"/>
              <a:buChar char="•"/>
            </a:pPr>
            <a:r>
              <a:rPr lang="en-US"/>
              <a:t>Airside On-Call Projects</a:t>
            </a:r>
          </a:p>
          <a:p>
            <a:pPr marL="57150" indent="-285750">
              <a:buFont typeface="Arial" panose="020B0604020202020204" pitchFamily="34" charset="0"/>
              <a:buChar char="•"/>
            </a:pPr>
            <a:r>
              <a:rPr lang="en-US"/>
              <a:t>Landside On-Call Projects</a:t>
            </a:r>
          </a:p>
          <a:p>
            <a:pPr marL="57150" indent="-285750">
              <a:buFont typeface="Arial" panose="020B0604020202020204" pitchFamily="34" charset="0"/>
              <a:buChar char="•"/>
            </a:pPr>
            <a:r>
              <a:rPr lang="en-US"/>
              <a:t>Architectural/Engineering On-Call Support</a:t>
            </a:r>
          </a:p>
          <a:p>
            <a:pPr marL="57150" indent="-285750">
              <a:buFont typeface="Arial" panose="020B0604020202020204" pitchFamily="34" charset="0"/>
              <a:buChar char="•"/>
            </a:pPr>
            <a:r>
              <a:rPr lang="en-US"/>
              <a:t>Architectural &amp; Planning On-Call Support</a:t>
            </a:r>
          </a:p>
          <a:p>
            <a:pPr marL="0" indent="0">
              <a:buNone/>
            </a:pPr>
            <a:r>
              <a:rPr lang="en-US" b="1"/>
              <a:t>Support Upcoming Contracts:</a:t>
            </a:r>
          </a:p>
          <a:p>
            <a:pPr marL="57150" indent="-285750">
              <a:buFont typeface="Arial" panose="020B0604020202020204" pitchFamily="34" charset="0"/>
              <a:buChar char="•"/>
            </a:pPr>
            <a:r>
              <a:rPr lang="en-US"/>
              <a:t>Infrastructure On-Call</a:t>
            </a:r>
          </a:p>
          <a:p>
            <a:pPr marL="57150" indent="-285750">
              <a:buFont typeface="Arial" panose="020B0604020202020204" pitchFamily="34" charset="0"/>
              <a:buChar char="•"/>
            </a:pPr>
            <a:r>
              <a:rPr lang="en-US"/>
              <a:t>Pena Boulevard Reconstruction</a:t>
            </a:r>
          </a:p>
          <a:p>
            <a:pPr marL="57150" indent="-285750">
              <a:buFont typeface="Arial" panose="020B0604020202020204" pitchFamily="34" charset="0"/>
              <a:buChar char="•"/>
            </a:pPr>
            <a:r>
              <a:rPr lang="en-US">
                <a:latin typeface="Segoe UI"/>
                <a:cs typeface="Segoe UI"/>
              </a:rPr>
              <a:t>Architectural/Engineering On-Call</a:t>
            </a:r>
          </a:p>
          <a:p>
            <a:pPr marL="57150" indent="-285750">
              <a:buFont typeface="Arial" panose="020B0604020202020204" pitchFamily="34" charset="0"/>
              <a:buChar char="•"/>
            </a:pPr>
            <a:r>
              <a:rPr lang="en-US">
                <a:latin typeface="Segoe UI"/>
                <a:cs typeface="Segoe UI"/>
              </a:rPr>
              <a:t>Architectural Planning On-Call</a:t>
            </a:r>
          </a:p>
          <a:p>
            <a:pPr marL="57150" indent="-285750">
              <a:buFont typeface="Arial" panose="020B0604020202020204" pitchFamily="34" charset="0"/>
              <a:buChar char="•"/>
            </a:pPr>
            <a:r>
              <a:rPr lang="en-US">
                <a:latin typeface="Segoe UI"/>
                <a:cs typeface="Segoe UI"/>
              </a:rPr>
              <a:t>Electrification Master Plan</a:t>
            </a:r>
          </a:p>
          <a:p>
            <a:pPr marL="57150" indent="-285750">
              <a:buFont typeface="Arial" panose="020B0604020202020204" pitchFamily="34" charset="0"/>
              <a:buChar char="•"/>
            </a:pPr>
            <a:r>
              <a:rPr lang="en-US">
                <a:latin typeface="Segoe UI"/>
                <a:cs typeface="Segoe UI"/>
              </a:rPr>
              <a:t>Runway Rehabilitations</a:t>
            </a:r>
          </a:p>
          <a:p>
            <a:pPr marL="0"/>
            <a:endParaRPr lang="en-US"/>
          </a:p>
          <a:p>
            <a:endParaRPr lang="en-US"/>
          </a:p>
          <a:p>
            <a:endParaRPr lang="en-US"/>
          </a:p>
        </p:txBody>
      </p:sp>
      <p:pic>
        <p:nvPicPr>
          <p:cNvPr id="9" name="Picture 8" descr="Denver International Airport airplane on the runway with mountains and air traffic control tower in background.">
            <a:extLst>
              <a:ext uri="{FF2B5EF4-FFF2-40B4-BE49-F238E27FC236}">
                <a16:creationId xmlns:a16="http://schemas.microsoft.com/office/drawing/2014/main" id="{28AE6149-3651-ED5E-1E48-E832B8FD91DE}"/>
              </a:ext>
            </a:extLst>
          </p:cNvPr>
          <p:cNvPicPr>
            <a:picLocks noChangeAspect="1"/>
          </p:cNvPicPr>
          <p:nvPr/>
        </p:nvPicPr>
        <p:blipFill>
          <a:blip r:embed="rId3" cstate="email">
            <a:extLst>
              <a:ext uri="{28A0092B-C50C-407E-A947-70E740481C1C}">
                <a14:useLocalDpi xmlns:a14="http://schemas.microsoft.com/office/drawing/2010/main"/>
              </a:ext>
            </a:extLst>
          </a:blip>
          <a:srcRect r="-3" b="-3"/>
          <a:stretch/>
        </p:blipFill>
        <p:spPr>
          <a:xfrm>
            <a:off x="6086207" y="1569892"/>
            <a:ext cx="5563534" cy="4578822"/>
          </a:xfrm>
          <a:prstGeom prst="rect">
            <a:avLst/>
          </a:prstGeom>
          <a:noFill/>
        </p:spPr>
      </p:pic>
    </p:spTree>
    <p:extLst>
      <p:ext uri="{BB962C8B-B14F-4D97-AF65-F5344CB8AC3E}">
        <p14:creationId xmlns:p14="http://schemas.microsoft.com/office/powerpoint/2010/main" val="4645092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012A830-485E-D2ED-197F-68D08ECAC705}"/>
              </a:ext>
            </a:extLst>
          </p:cNvPr>
          <p:cNvSpPr>
            <a:spLocks noGrp="1"/>
          </p:cNvSpPr>
          <p:nvPr>
            <p:ph type="title"/>
          </p:nvPr>
        </p:nvSpPr>
        <p:spPr>
          <a:xfrm>
            <a:off x="318289" y="582961"/>
            <a:ext cx="3902647" cy="5616670"/>
          </a:xfrm>
        </p:spPr>
        <p:txBody>
          <a:bodyPr/>
          <a:lstStyle/>
          <a:p>
            <a:r>
              <a:rPr lang="en-US" sz="3600" b="1"/>
              <a:t>Best Practices</a:t>
            </a:r>
            <a:r>
              <a:rPr lang="en-US" sz="3600"/>
              <a:t> </a:t>
            </a:r>
            <a:br>
              <a:rPr lang="en-US" sz="3600"/>
            </a:br>
            <a:r>
              <a:rPr lang="en-US" sz="3600"/>
              <a:t>for Doing Business </a:t>
            </a:r>
            <a:br>
              <a:rPr lang="en-US" sz="3600"/>
            </a:br>
            <a:r>
              <a:rPr lang="en-US" sz="3600"/>
              <a:t>with RS&amp;H</a:t>
            </a:r>
          </a:p>
        </p:txBody>
      </p:sp>
      <p:sp>
        <p:nvSpPr>
          <p:cNvPr id="8" name="Content Placeholder 7">
            <a:extLst>
              <a:ext uri="{FF2B5EF4-FFF2-40B4-BE49-F238E27FC236}">
                <a16:creationId xmlns:a16="http://schemas.microsoft.com/office/drawing/2014/main" id="{F8C8F6EC-6F28-156B-6CC7-B0911D50E73D}"/>
              </a:ext>
            </a:extLst>
          </p:cNvPr>
          <p:cNvSpPr>
            <a:spLocks noGrp="1"/>
          </p:cNvSpPr>
          <p:nvPr>
            <p:ph sz="half" idx="2"/>
          </p:nvPr>
        </p:nvSpPr>
        <p:spPr/>
        <p:txBody>
          <a:bodyPr/>
          <a:lstStyle/>
          <a:p>
            <a:pPr marL="45720" indent="0">
              <a:lnSpc>
                <a:spcPct val="100000"/>
              </a:lnSpc>
              <a:spcBef>
                <a:spcPts val="300"/>
              </a:spcBef>
              <a:buNone/>
            </a:pPr>
            <a:r>
              <a:rPr lang="en-US" sz="2000" b="1"/>
              <a:t>Responsiveness Matters</a:t>
            </a:r>
          </a:p>
          <a:p>
            <a:pPr>
              <a:lnSpc>
                <a:spcPct val="100000"/>
              </a:lnSpc>
              <a:spcBef>
                <a:spcPts val="300"/>
              </a:spcBef>
            </a:pPr>
            <a:r>
              <a:rPr lang="en-US"/>
              <a:t>Timely communication helps us keep projects moving smoothly.</a:t>
            </a:r>
          </a:p>
        </p:txBody>
      </p:sp>
      <p:sp>
        <p:nvSpPr>
          <p:cNvPr id="20" name="Content Placeholder 19">
            <a:extLst>
              <a:ext uri="{FF2B5EF4-FFF2-40B4-BE49-F238E27FC236}">
                <a16:creationId xmlns:a16="http://schemas.microsoft.com/office/drawing/2014/main" id="{288CFAC4-7E23-C3D2-3EC1-AFB5F7859C58}"/>
              </a:ext>
            </a:extLst>
          </p:cNvPr>
          <p:cNvSpPr>
            <a:spLocks noGrp="1"/>
          </p:cNvSpPr>
          <p:nvPr>
            <p:ph sz="half" idx="10"/>
          </p:nvPr>
        </p:nvSpPr>
        <p:spPr/>
        <p:txBody>
          <a:bodyPr/>
          <a:lstStyle/>
          <a:p>
            <a:pPr marL="45720" indent="0">
              <a:lnSpc>
                <a:spcPct val="100000"/>
              </a:lnSpc>
              <a:spcBef>
                <a:spcPts val="300"/>
              </a:spcBef>
              <a:buNone/>
            </a:pPr>
            <a:r>
              <a:rPr lang="en-US" sz="2000" b="1"/>
              <a:t>Accuracy Makes a Huge Difference</a:t>
            </a:r>
          </a:p>
          <a:p>
            <a:pPr>
              <a:lnSpc>
                <a:spcPct val="100000"/>
              </a:lnSpc>
              <a:spcBef>
                <a:spcPts val="300"/>
              </a:spcBef>
            </a:pPr>
            <a:r>
              <a:rPr lang="en-US"/>
              <a:t>Clean deliverables and error-free invoicing help us meet deadlines.</a:t>
            </a:r>
          </a:p>
        </p:txBody>
      </p:sp>
      <p:sp>
        <p:nvSpPr>
          <p:cNvPr id="21" name="Content Placeholder 20">
            <a:extLst>
              <a:ext uri="{FF2B5EF4-FFF2-40B4-BE49-F238E27FC236}">
                <a16:creationId xmlns:a16="http://schemas.microsoft.com/office/drawing/2014/main" id="{A62954F7-4C70-2B64-1BC7-C3AE96A63B82}"/>
              </a:ext>
            </a:extLst>
          </p:cNvPr>
          <p:cNvSpPr>
            <a:spLocks noGrp="1"/>
          </p:cNvSpPr>
          <p:nvPr>
            <p:ph sz="half" idx="11"/>
          </p:nvPr>
        </p:nvSpPr>
        <p:spPr/>
        <p:txBody>
          <a:bodyPr/>
          <a:lstStyle/>
          <a:p>
            <a:pPr marL="45720" indent="0">
              <a:lnSpc>
                <a:spcPct val="100000"/>
              </a:lnSpc>
              <a:spcBef>
                <a:spcPts val="300"/>
              </a:spcBef>
              <a:buNone/>
            </a:pPr>
            <a:r>
              <a:rPr lang="en-US" sz="2000" b="1"/>
              <a:t>Open, Early Communication</a:t>
            </a:r>
          </a:p>
          <a:p>
            <a:pPr>
              <a:lnSpc>
                <a:spcPct val="100000"/>
              </a:lnSpc>
              <a:spcBef>
                <a:spcPts val="300"/>
              </a:spcBef>
            </a:pPr>
            <a:r>
              <a:rPr lang="en-US"/>
              <a:t>Ask questions anytime. If something pops up, just let us know.</a:t>
            </a:r>
          </a:p>
        </p:txBody>
      </p:sp>
      <p:sp>
        <p:nvSpPr>
          <p:cNvPr id="22" name="Content Placeholder 21">
            <a:extLst>
              <a:ext uri="{FF2B5EF4-FFF2-40B4-BE49-F238E27FC236}">
                <a16:creationId xmlns:a16="http://schemas.microsoft.com/office/drawing/2014/main" id="{C72F9A8A-A3FB-39CA-F47A-DDEBB48C487A}"/>
              </a:ext>
            </a:extLst>
          </p:cNvPr>
          <p:cNvSpPr>
            <a:spLocks noGrp="1"/>
          </p:cNvSpPr>
          <p:nvPr>
            <p:ph sz="half" idx="12"/>
          </p:nvPr>
        </p:nvSpPr>
        <p:spPr/>
        <p:txBody>
          <a:bodyPr/>
          <a:lstStyle/>
          <a:p>
            <a:pPr marL="45720" indent="0">
              <a:lnSpc>
                <a:spcPct val="100000"/>
              </a:lnSpc>
              <a:spcBef>
                <a:spcPts val="300"/>
              </a:spcBef>
              <a:buNone/>
            </a:pPr>
            <a:r>
              <a:rPr lang="en-US" sz="2000" b="1"/>
              <a:t>Flexibility Goes a Long Way</a:t>
            </a:r>
          </a:p>
          <a:p>
            <a:pPr>
              <a:lnSpc>
                <a:spcPct val="100000"/>
              </a:lnSpc>
              <a:spcBef>
                <a:spcPts val="300"/>
              </a:spcBef>
            </a:pPr>
            <a:r>
              <a:rPr lang="en-US"/>
              <a:t>Schedules and priorities shift — we work through it together.</a:t>
            </a:r>
          </a:p>
        </p:txBody>
      </p:sp>
      <p:sp>
        <p:nvSpPr>
          <p:cNvPr id="24" name="Content Placeholder 23">
            <a:extLst>
              <a:ext uri="{FF2B5EF4-FFF2-40B4-BE49-F238E27FC236}">
                <a16:creationId xmlns:a16="http://schemas.microsoft.com/office/drawing/2014/main" id="{4DBCAAD9-163F-295F-06C6-7FE78DCC9E41}"/>
              </a:ext>
            </a:extLst>
          </p:cNvPr>
          <p:cNvSpPr>
            <a:spLocks noGrp="1"/>
          </p:cNvSpPr>
          <p:nvPr>
            <p:ph sz="half" idx="13"/>
          </p:nvPr>
        </p:nvSpPr>
        <p:spPr>
          <a:xfrm>
            <a:off x="4662792" y="5443071"/>
            <a:ext cx="6500251" cy="893186"/>
          </a:xfrm>
        </p:spPr>
        <p:txBody>
          <a:bodyPr/>
          <a:lstStyle/>
          <a:p>
            <a:pPr>
              <a:lnSpc>
                <a:spcPct val="100000"/>
              </a:lnSpc>
              <a:spcBef>
                <a:spcPts val="300"/>
              </a:spcBef>
            </a:pPr>
            <a:r>
              <a:rPr lang="en-US" sz="2000" b="1"/>
              <a:t>Growth &amp; Diversity Matter to Us</a:t>
            </a:r>
          </a:p>
          <a:p>
            <a:pPr>
              <a:lnSpc>
                <a:spcPct val="100000"/>
              </a:lnSpc>
              <a:spcBef>
                <a:spcPts val="300"/>
              </a:spcBef>
            </a:pPr>
            <a:r>
              <a:rPr lang="en-US"/>
              <a:t>We’re always looking to team with new and emerging MWBE firms and build long-term relationships.</a:t>
            </a:r>
          </a:p>
        </p:txBody>
      </p:sp>
      <p:pic>
        <p:nvPicPr>
          <p:cNvPr id="32" name="Graphic 31">
            <a:extLst>
              <a:ext uri="{FF2B5EF4-FFF2-40B4-BE49-F238E27FC236}">
                <a16:creationId xmlns:a16="http://schemas.microsoft.com/office/drawing/2014/main" id="{B2B5B672-B7B6-CB24-F666-7BD4A0A54E6D}"/>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52312" y="853204"/>
            <a:ext cx="561861" cy="548640"/>
          </a:xfrm>
          <a:prstGeom prst="rect">
            <a:avLst/>
          </a:prstGeom>
        </p:spPr>
      </p:pic>
      <p:pic>
        <p:nvPicPr>
          <p:cNvPr id="34" name="Graphic 33">
            <a:extLst>
              <a:ext uri="{FF2B5EF4-FFF2-40B4-BE49-F238E27FC236}">
                <a16:creationId xmlns:a16="http://schemas.microsoft.com/office/drawing/2014/main" id="{ED1F14B6-9EF3-2082-9F89-264B2CCD3BDB}"/>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11324" y="2036219"/>
            <a:ext cx="548640" cy="554804"/>
          </a:xfrm>
          <a:prstGeom prst="rect">
            <a:avLst/>
          </a:prstGeom>
        </p:spPr>
      </p:pic>
      <p:pic>
        <p:nvPicPr>
          <p:cNvPr id="36" name="Graphic 35">
            <a:extLst>
              <a:ext uri="{FF2B5EF4-FFF2-40B4-BE49-F238E27FC236}">
                <a16:creationId xmlns:a16="http://schemas.microsoft.com/office/drawing/2014/main" id="{7A132AE3-5C9C-FF6C-ED2C-0B9784F1800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11324" y="3244267"/>
            <a:ext cx="548640" cy="514350"/>
          </a:xfrm>
          <a:prstGeom prst="rect">
            <a:avLst/>
          </a:prstGeom>
        </p:spPr>
      </p:pic>
      <p:pic>
        <p:nvPicPr>
          <p:cNvPr id="38" name="Graphic 37">
            <a:extLst>
              <a:ext uri="{FF2B5EF4-FFF2-40B4-BE49-F238E27FC236}">
                <a16:creationId xmlns:a16="http://schemas.microsoft.com/office/drawing/2014/main" id="{D19E5D1B-CC45-80CC-2318-5FDACC2DBA02}"/>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11324" y="4349071"/>
            <a:ext cx="548640" cy="650240"/>
          </a:xfrm>
          <a:prstGeom prst="rect">
            <a:avLst/>
          </a:prstGeom>
        </p:spPr>
      </p:pic>
      <p:pic>
        <p:nvPicPr>
          <p:cNvPr id="40" name="Graphic 39">
            <a:extLst>
              <a:ext uri="{FF2B5EF4-FFF2-40B4-BE49-F238E27FC236}">
                <a16:creationId xmlns:a16="http://schemas.microsoft.com/office/drawing/2014/main" id="{DAF7733B-45FA-A704-AE8C-033A35A5BDBB}"/>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11324" y="5582587"/>
            <a:ext cx="548640" cy="531495"/>
          </a:xfrm>
          <a:prstGeom prst="rect">
            <a:avLst/>
          </a:prstGeom>
        </p:spPr>
      </p:pic>
    </p:spTree>
    <p:extLst>
      <p:ext uri="{BB962C8B-B14F-4D97-AF65-F5344CB8AC3E}">
        <p14:creationId xmlns:p14="http://schemas.microsoft.com/office/powerpoint/2010/main" val="37184359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584C2015-9F24-EF5C-7B97-DAD69FEDE9B1}"/>
              </a:ext>
              <a:ext uri="{C183D7F6-B498-43B3-948B-1728B52AA6E4}">
                <adec:decorative xmlns:adec="http://schemas.microsoft.com/office/drawing/2017/decorative" val="1"/>
              </a:ext>
            </a:extLst>
          </p:cNvPr>
          <p:cNvSpPr/>
          <p:nvPr/>
        </p:nvSpPr>
        <p:spPr>
          <a:xfrm>
            <a:off x="3539002" y="5722256"/>
            <a:ext cx="2304789" cy="375781"/>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771AEACA-A2FF-95B2-F94C-7C95E7A1FE5B}"/>
              </a:ext>
              <a:ext uri="{C183D7F6-B498-43B3-948B-1728B52AA6E4}">
                <adec:decorative xmlns:adec="http://schemas.microsoft.com/office/drawing/2017/decorative" val="1"/>
              </a:ext>
            </a:extLst>
          </p:cNvPr>
          <p:cNvSpPr/>
          <p:nvPr/>
        </p:nvSpPr>
        <p:spPr>
          <a:xfrm>
            <a:off x="6359989" y="5722256"/>
            <a:ext cx="2304789" cy="375781"/>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16B8C1A8-F38E-A490-7E94-0516045F993A}"/>
              </a:ext>
              <a:ext uri="{C183D7F6-B498-43B3-948B-1728B52AA6E4}">
                <adec:decorative xmlns:adec="http://schemas.microsoft.com/office/drawing/2017/decorative" val="1"/>
              </a:ext>
            </a:extLst>
          </p:cNvPr>
          <p:cNvSpPr/>
          <p:nvPr/>
        </p:nvSpPr>
        <p:spPr>
          <a:xfrm>
            <a:off x="9179389" y="5722256"/>
            <a:ext cx="2304789" cy="375781"/>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75063CA3-2077-B7B0-6E71-CA743EE1C743}"/>
              </a:ext>
              <a:ext uri="{C183D7F6-B498-43B3-948B-1728B52AA6E4}">
                <adec:decorative xmlns:adec="http://schemas.microsoft.com/office/drawing/2017/decorative" val="1"/>
              </a:ext>
            </a:extLst>
          </p:cNvPr>
          <p:cNvSpPr/>
          <p:nvPr/>
        </p:nvSpPr>
        <p:spPr>
          <a:xfrm>
            <a:off x="713710" y="5722256"/>
            <a:ext cx="2304789" cy="375781"/>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9">
            <a:extLst>
              <a:ext uri="{FF2B5EF4-FFF2-40B4-BE49-F238E27FC236}">
                <a16:creationId xmlns:a16="http://schemas.microsoft.com/office/drawing/2014/main" id="{49E9F906-168B-D9AC-ACD9-B03E64010B64}"/>
              </a:ext>
            </a:extLst>
          </p:cNvPr>
          <p:cNvSpPr>
            <a:spLocks noGrp="1"/>
          </p:cNvSpPr>
          <p:nvPr>
            <p:ph type="title"/>
          </p:nvPr>
        </p:nvSpPr>
        <p:spPr>
          <a:xfrm>
            <a:off x="404814" y="120212"/>
            <a:ext cx="11327785" cy="1290954"/>
          </a:xfrm>
        </p:spPr>
        <p:txBody>
          <a:bodyPr/>
          <a:lstStyle/>
          <a:p>
            <a:r>
              <a:rPr lang="en-US"/>
              <a:t>Project Types at DEN</a:t>
            </a:r>
          </a:p>
        </p:txBody>
      </p:sp>
      <p:sp>
        <p:nvSpPr>
          <p:cNvPr id="21" name="Content Placeholder 20">
            <a:extLst>
              <a:ext uri="{FF2B5EF4-FFF2-40B4-BE49-F238E27FC236}">
                <a16:creationId xmlns:a16="http://schemas.microsoft.com/office/drawing/2014/main" id="{1CEB8469-E1DE-C3F1-1745-8404E058E7C0}"/>
              </a:ext>
            </a:extLst>
          </p:cNvPr>
          <p:cNvSpPr>
            <a:spLocks noGrp="1"/>
          </p:cNvSpPr>
          <p:nvPr>
            <p:ph sz="half" idx="1"/>
          </p:nvPr>
        </p:nvSpPr>
        <p:spPr>
          <a:xfrm>
            <a:off x="542925" y="2000251"/>
            <a:ext cx="2646363" cy="3909896"/>
          </a:xfrm>
          <a:prstGeom prst="roundRect">
            <a:avLst>
              <a:gd name="adj" fmla="val 6130"/>
            </a:avLst>
          </a:prstGeom>
          <a:gradFill>
            <a:gsLst>
              <a:gs pos="0">
                <a:schemeClr val="bg1"/>
              </a:gs>
              <a:gs pos="100000">
                <a:srgbClr val="F2F5F9"/>
              </a:gs>
            </a:gsLst>
            <a:lin ang="2400000" scaled="0"/>
          </a:gradFill>
          <a:effectLst>
            <a:outerShdw blurRad="50800" dist="38100" dir="2700000" algn="tl" rotWithShape="0">
              <a:prstClr val="black">
                <a:alpha val="40000"/>
              </a:prstClr>
            </a:outerShdw>
          </a:effectLst>
        </p:spPr>
        <p:txBody>
          <a:bodyPr lIns="0" tIns="914400" rIns="0" bIns="91440"/>
          <a:lstStyle/>
          <a:p>
            <a:pPr marL="45720" lvl="0" indent="0" algn="ctr">
              <a:lnSpc>
                <a:spcPct val="100000"/>
              </a:lnSpc>
              <a:buNone/>
            </a:pPr>
            <a:r>
              <a:rPr lang="en-US" sz="2400" b="1"/>
              <a:t>Airside/Landside</a:t>
            </a:r>
          </a:p>
          <a:p>
            <a:pPr lvl="0">
              <a:lnSpc>
                <a:spcPct val="100000"/>
              </a:lnSpc>
            </a:pPr>
            <a:r>
              <a:rPr lang="en-US"/>
              <a:t>Runway &amp; Taxiway Rehabilitation</a:t>
            </a:r>
          </a:p>
          <a:p>
            <a:pPr lvl="0">
              <a:lnSpc>
                <a:spcPct val="100000"/>
              </a:lnSpc>
            </a:pPr>
            <a:r>
              <a:rPr lang="en-US"/>
              <a:t>Aprons, Lighting, </a:t>
            </a:r>
            <a:br>
              <a:rPr lang="en-US"/>
            </a:br>
            <a:r>
              <a:rPr lang="en-US"/>
              <a:t>Signage</a:t>
            </a:r>
          </a:p>
          <a:p>
            <a:pPr lvl="0">
              <a:lnSpc>
                <a:spcPct val="100000"/>
              </a:lnSpc>
            </a:pPr>
            <a:r>
              <a:rPr lang="en-US"/>
              <a:t>Perimeter Security &amp; Roadway Improvements</a:t>
            </a:r>
          </a:p>
          <a:p>
            <a:pPr>
              <a:lnSpc>
                <a:spcPct val="100000"/>
              </a:lnSpc>
            </a:pPr>
            <a:endParaRPr lang="en-US"/>
          </a:p>
        </p:txBody>
      </p:sp>
      <p:sp>
        <p:nvSpPr>
          <p:cNvPr id="22" name="Content Placeholder 21">
            <a:extLst>
              <a:ext uri="{FF2B5EF4-FFF2-40B4-BE49-F238E27FC236}">
                <a16:creationId xmlns:a16="http://schemas.microsoft.com/office/drawing/2014/main" id="{AB4C9FB4-E69D-09E7-C717-0F59E174358F}"/>
              </a:ext>
            </a:extLst>
          </p:cNvPr>
          <p:cNvSpPr>
            <a:spLocks noGrp="1"/>
          </p:cNvSpPr>
          <p:nvPr>
            <p:ph sz="half" idx="10"/>
          </p:nvPr>
        </p:nvSpPr>
        <p:spPr>
          <a:xfrm>
            <a:off x="3362325" y="2000251"/>
            <a:ext cx="2647950" cy="3909896"/>
          </a:xfrm>
          <a:prstGeom prst="roundRect">
            <a:avLst>
              <a:gd name="adj" fmla="val 7528"/>
            </a:avLst>
          </a:prstGeom>
          <a:gradFill>
            <a:gsLst>
              <a:gs pos="0">
                <a:schemeClr val="bg1"/>
              </a:gs>
              <a:gs pos="100000">
                <a:srgbClr val="F2F5F9"/>
              </a:gs>
            </a:gsLst>
            <a:lin ang="2400000" scaled="0"/>
          </a:gradFill>
          <a:effectLst>
            <a:outerShdw blurRad="50800" dist="38100" dir="2700000" algn="tl" rotWithShape="0">
              <a:prstClr val="black">
                <a:alpha val="40000"/>
              </a:prstClr>
            </a:outerShdw>
          </a:effectLst>
        </p:spPr>
        <p:txBody>
          <a:bodyPr lIns="0" tIns="914400" rIns="0" bIns="91440"/>
          <a:lstStyle/>
          <a:p>
            <a:pPr marL="45720" indent="0" algn="ctr">
              <a:lnSpc>
                <a:spcPct val="100000"/>
              </a:lnSpc>
              <a:buNone/>
            </a:pPr>
            <a:r>
              <a:rPr lang="en-US" sz="2400" b="1"/>
              <a:t>Buildings</a:t>
            </a:r>
            <a:endParaRPr lang="en-US" b="1"/>
          </a:p>
          <a:p>
            <a:pPr>
              <a:lnSpc>
                <a:spcPct val="100000"/>
              </a:lnSpc>
            </a:pPr>
            <a:r>
              <a:rPr lang="en-US"/>
              <a:t>Terminal Expansions </a:t>
            </a:r>
            <a:br>
              <a:rPr lang="en-US"/>
            </a:br>
            <a:r>
              <a:rPr lang="en-US"/>
              <a:t>&amp; Remodels</a:t>
            </a:r>
          </a:p>
          <a:p>
            <a:pPr>
              <a:lnSpc>
                <a:spcPct val="100000"/>
              </a:lnSpc>
            </a:pPr>
            <a:r>
              <a:rPr lang="en-US"/>
              <a:t>Parking Garages &amp; Support Facilities</a:t>
            </a:r>
          </a:p>
          <a:p>
            <a:pPr>
              <a:lnSpc>
                <a:spcPct val="100000"/>
              </a:lnSpc>
            </a:pPr>
            <a:r>
              <a:rPr lang="en-US"/>
              <a:t>Security Systems &amp; </a:t>
            </a:r>
            <a:br>
              <a:rPr lang="en-US"/>
            </a:br>
            <a:r>
              <a:rPr lang="en-US"/>
              <a:t>Data Infrastructure</a:t>
            </a:r>
          </a:p>
          <a:p>
            <a:pPr>
              <a:lnSpc>
                <a:spcPct val="100000"/>
              </a:lnSpc>
            </a:pPr>
            <a:endParaRPr lang="en-US"/>
          </a:p>
        </p:txBody>
      </p:sp>
      <p:sp>
        <p:nvSpPr>
          <p:cNvPr id="23" name="Content Placeholder 22">
            <a:extLst>
              <a:ext uri="{FF2B5EF4-FFF2-40B4-BE49-F238E27FC236}">
                <a16:creationId xmlns:a16="http://schemas.microsoft.com/office/drawing/2014/main" id="{C0948FCF-EF1B-5EA4-1B97-6DC615E73A39}"/>
              </a:ext>
            </a:extLst>
          </p:cNvPr>
          <p:cNvSpPr>
            <a:spLocks noGrp="1"/>
          </p:cNvSpPr>
          <p:nvPr>
            <p:ph sz="half" idx="11"/>
          </p:nvPr>
        </p:nvSpPr>
        <p:spPr>
          <a:xfrm>
            <a:off x="6181725" y="2000251"/>
            <a:ext cx="2647950" cy="3909896"/>
          </a:xfrm>
          <a:prstGeom prst="roundRect">
            <a:avLst>
              <a:gd name="adj" fmla="val 8034"/>
            </a:avLst>
          </a:prstGeom>
          <a:gradFill>
            <a:gsLst>
              <a:gs pos="0">
                <a:schemeClr val="bg1"/>
              </a:gs>
              <a:gs pos="100000">
                <a:srgbClr val="F2F5F9"/>
              </a:gs>
            </a:gsLst>
            <a:lin ang="2400000" scaled="0"/>
          </a:gradFill>
          <a:effectLst>
            <a:outerShdw blurRad="50800" dist="38100" dir="2700000" algn="tl" rotWithShape="0">
              <a:prstClr val="black">
                <a:alpha val="40000"/>
              </a:prstClr>
            </a:outerShdw>
          </a:effectLst>
        </p:spPr>
        <p:txBody>
          <a:bodyPr lIns="0" tIns="914400" rIns="0" bIns="91440"/>
          <a:lstStyle/>
          <a:p>
            <a:pPr marL="45720" indent="0" algn="ctr">
              <a:lnSpc>
                <a:spcPct val="100000"/>
              </a:lnSpc>
              <a:buNone/>
            </a:pPr>
            <a:r>
              <a:rPr lang="en-US" sz="2400" b="1"/>
              <a:t>Planning</a:t>
            </a:r>
            <a:endParaRPr lang="en-US" b="1"/>
          </a:p>
          <a:p>
            <a:pPr>
              <a:lnSpc>
                <a:spcPct val="100000"/>
              </a:lnSpc>
            </a:pPr>
            <a:r>
              <a:rPr lang="en-US"/>
              <a:t>Airport Master Plans </a:t>
            </a:r>
            <a:br>
              <a:rPr lang="en-US"/>
            </a:br>
            <a:r>
              <a:rPr lang="en-US"/>
              <a:t>&amp; ALP Updates</a:t>
            </a:r>
          </a:p>
          <a:p>
            <a:pPr>
              <a:lnSpc>
                <a:spcPct val="100000"/>
              </a:lnSpc>
            </a:pPr>
            <a:r>
              <a:rPr lang="en-US"/>
              <a:t>Feasibility Studies </a:t>
            </a:r>
            <a:br>
              <a:rPr lang="en-US"/>
            </a:br>
            <a:r>
              <a:rPr lang="en-US"/>
              <a:t>&amp; Land Acquisition</a:t>
            </a:r>
          </a:p>
          <a:p>
            <a:pPr>
              <a:lnSpc>
                <a:spcPct val="100000"/>
              </a:lnSpc>
            </a:pPr>
            <a:r>
              <a:rPr lang="en-US"/>
              <a:t>Financial Analyses </a:t>
            </a:r>
            <a:br>
              <a:rPr lang="en-US"/>
            </a:br>
            <a:r>
              <a:rPr lang="en-US"/>
              <a:t>&amp; Grant Support</a:t>
            </a:r>
          </a:p>
          <a:p>
            <a:pPr>
              <a:lnSpc>
                <a:spcPct val="100000"/>
              </a:lnSpc>
            </a:pPr>
            <a:endParaRPr lang="en-US"/>
          </a:p>
        </p:txBody>
      </p:sp>
      <p:sp>
        <p:nvSpPr>
          <p:cNvPr id="24" name="Content Placeholder 23">
            <a:extLst>
              <a:ext uri="{FF2B5EF4-FFF2-40B4-BE49-F238E27FC236}">
                <a16:creationId xmlns:a16="http://schemas.microsoft.com/office/drawing/2014/main" id="{15EDDD54-B068-527E-D2A6-A9CD25C2B103}"/>
              </a:ext>
            </a:extLst>
          </p:cNvPr>
          <p:cNvSpPr>
            <a:spLocks noGrp="1"/>
          </p:cNvSpPr>
          <p:nvPr>
            <p:ph sz="half" idx="12"/>
          </p:nvPr>
        </p:nvSpPr>
        <p:spPr>
          <a:xfrm>
            <a:off x="9002713" y="2000251"/>
            <a:ext cx="2646362" cy="3909896"/>
          </a:xfrm>
          <a:prstGeom prst="roundRect">
            <a:avLst>
              <a:gd name="adj" fmla="val 7912"/>
            </a:avLst>
          </a:prstGeom>
          <a:gradFill>
            <a:gsLst>
              <a:gs pos="0">
                <a:schemeClr val="bg1"/>
              </a:gs>
              <a:gs pos="100000">
                <a:srgbClr val="F2F5F9"/>
              </a:gs>
            </a:gsLst>
            <a:lin ang="2400000" scaled="0"/>
          </a:gradFill>
          <a:effectLst>
            <a:outerShdw blurRad="50800" dist="38100" dir="2700000" algn="tl" rotWithShape="0">
              <a:prstClr val="black">
                <a:alpha val="40000"/>
              </a:prstClr>
            </a:outerShdw>
          </a:effectLst>
        </p:spPr>
        <p:txBody>
          <a:bodyPr lIns="0" tIns="914400" rIns="0" bIns="91440"/>
          <a:lstStyle/>
          <a:p>
            <a:pPr marL="45720" lvl="0" indent="0" algn="ctr">
              <a:lnSpc>
                <a:spcPct val="100000"/>
              </a:lnSpc>
              <a:buNone/>
            </a:pPr>
            <a:r>
              <a:rPr lang="en-US" sz="2400" b="1"/>
              <a:t>Environmental</a:t>
            </a:r>
            <a:endParaRPr lang="en-US" b="1"/>
          </a:p>
          <a:p>
            <a:pPr lvl="0">
              <a:lnSpc>
                <a:spcPct val="100000"/>
              </a:lnSpc>
            </a:pPr>
            <a:r>
              <a:rPr lang="en-US"/>
              <a:t>NEPA Reviews &amp; Environmental Assessments</a:t>
            </a:r>
          </a:p>
          <a:p>
            <a:pPr lvl="0">
              <a:lnSpc>
                <a:spcPct val="100000"/>
              </a:lnSpc>
            </a:pPr>
            <a:r>
              <a:rPr lang="en-US"/>
              <a:t>Noise Studies &amp; Wildlife Hazard Assessments</a:t>
            </a:r>
          </a:p>
          <a:p>
            <a:pPr lvl="0">
              <a:lnSpc>
                <a:spcPct val="100000"/>
              </a:lnSpc>
            </a:pPr>
            <a:r>
              <a:rPr lang="en-US"/>
              <a:t>Wetland &amp; Endangered Species Studies</a:t>
            </a:r>
          </a:p>
        </p:txBody>
      </p:sp>
      <p:grpSp>
        <p:nvGrpSpPr>
          <p:cNvPr id="61" name="Group 60">
            <a:extLst>
              <a:ext uri="{FF2B5EF4-FFF2-40B4-BE49-F238E27FC236}">
                <a16:creationId xmlns:a16="http://schemas.microsoft.com/office/drawing/2014/main" id="{F7D992A0-C771-00C2-8575-745AD16B9A93}"/>
              </a:ext>
              <a:ext uri="{C183D7F6-B498-43B3-948B-1728B52AA6E4}">
                <adec:decorative xmlns:adec="http://schemas.microsoft.com/office/drawing/2017/decorative" val="1"/>
              </a:ext>
            </a:extLst>
          </p:cNvPr>
          <p:cNvGrpSpPr/>
          <p:nvPr/>
        </p:nvGrpSpPr>
        <p:grpSpPr>
          <a:xfrm>
            <a:off x="1277019" y="1411166"/>
            <a:ext cx="1178169" cy="1178169"/>
            <a:chOff x="1277019" y="1411166"/>
            <a:chExt cx="1178169" cy="1178169"/>
          </a:xfrm>
        </p:grpSpPr>
        <p:sp>
          <p:nvSpPr>
            <p:cNvPr id="41" name="Oval 40">
              <a:extLst>
                <a:ext uri="{FF2B5EF4-FFF2-40B4-BE49-F238E27FC236}">
                  <a16:creationId xmlns:a16="http://schemas.microsoft.com/office/drawing/2014/main" id="{9C1F735C-886D-A6FE-1C0D-24529465E18B}"/>
                </a:ext>
              </a:extLst>
            </p:cNvPr>
            <p:cNvSpPr/>
            <p:nvPr/>
          </p:nvSpPr>
          <p:spPr>
            <a:xfrm>
              <a:off x="1277019" y="1411166"/>
              <a:ext cx="1178169" cy="1178169"/>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A1220A78-1DF3-C955-9900-0BB82660958E}"/>
                </a:ext>
              </a:extLst>
            </p:cNvPr>
            <p:cNvSpPr/>
            <p:nvPr/>
          </p:nvSpPr>
          <p:spPr>
            <a:xfrm>
              <a:off x="1417631" y="1551779"/>
              <a:ext cx="896944" cy="896944"/>
            </a:xfrm>
            <a:prstGeom prst="ellipse">
              <a:avLst/>
            </a:prstGeom>
            <a:gradFill>
              <a:gsLst>
                <a:gs pos="0">
                  <a:schemeClr val="bg1"/>
                </a:gs>
                <a:gs pos="77000">
                  <a:srgbClr val="F2F5F9"/>
                </a:gs>
              </a:gsLst>
              <a:lin ang="2400000" scaled="0"/>
            </a:gradFill>
            <a:ln>
              <a:noFill/>
            </a:ln>
            <a:effectLst>
              <a:outerShdw blurRad="50800" dist="1397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a16="http://schemas.microsoft.com/office/drawing/2014/main" id="{EB2B911E-428C-BFDF-3DCB-3C0AED5E49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2697" y="1694062"/>
              <a:ext cx="536713" cy="548640"/>
            </a:xfrm>
            <a:prstGeom prst="rect">
              <a:avLst/>
            </a:prstGeom>
          </p:spPr>
        </p:pic>
      </p:grpSp>
      <p:grpSp>
        <p:nvGrpSpPr>
          <p:cNvPr id="62" name="Group 61">
            <a:extLst>
              <a:ext uri="{FF2B5EF4-FFF2-40B4-BE49-F238E27FC236}">
                <a16:creationId xmlns:a16="http://schemas.microsoft.com/office/drawing/2014/main" id="{4EBD26DE-99B6-5FA7-6E36-248DB8B8733E}"/>
              </a:ext>
              <a:ext uri="{C183D7F6-B498-43B3-948B-1728B52AA6E4}">
                <adec:decorative xmlns:adec="http://schemas.microsoft.com/office/drawing/2017/decorative" val="1"/>
              </a:ext>
            </a:extLst>
          </p:cNvPr>
          <p:cNvGrpSpPr/>
          <p:nvPr/>
        </p:nvGrpSpPr>
        <p:grpSpPr>
          <a:xfrm>
            <a:off x="4102311" y="1411166"/>
            <a:ext cx="1178169" cy="1178169"/>
            <a:chOff x="4102311" y="1411166"/>
            <a:chExt cx="1178169" cy="1178169"/>
          </a:xfrm>
        </p:grpSpPr>
        <p:sp>
          <p:nvSpPr>
            <p:cNvPr id="45" name="Oval 44">
              <a:extLst>
                <a:ext uri="{FF2B5EF4-FFF2-40B4-BE49-F238E27FC236}">
                  <a16:creationId xmlns:a16="http://schemas.microsoft.com/office/drawing/2014/main" id="{9FA08223-8258-4D40-DF0B-BC7FEFDBB056}"/>
                </a:ext>
              </a:extLst>
            </p:cNvPr>
            <p:cNvSpPr/>
            <p:nvPr/>
          </p:nvSpPr>
          <p:spPr>
            <a:xfrm>
              <a:off x="4102311" y="1411166"/>
              <a:ext cx="1178169" cy="1178169"/>
            </a:xfrm>
            <a:prstGeom prst="ellipse">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87BF5164-349B-3FED-72CA-8396006B6E15}"/>
                </a:ext>
              </a:extLst>
            </p:cNvPr>
            <p:cNvSpPr/>
            <p:nvPr/>
          </p:nvSpPr>
          <p:spPr>
            <a:xfrm>
              <a:off x="4242923" y="1551779"/>
              <a:ext cx="896944" cy="896944"/>
            </a:xfrm>
            <a:prstGeom prst="ellipse">
              <a:avLst/>
            </a:prstGeom>
            <a:gradFill>
              <a:gsLst>
                <a:gs pos="0">
                  <a:schemeClr val="bg1"/>
                </a:gs>
                <a:gs pos="77000">
                  <a:srgbClr val="F2F5F9"/>
                </a:gs>
              </a:gsLst>
              <a:lin ang="2400000" scaled="0"/>
            </a:gradFill>
            <a:ln>
              <a:noFill/>
            </a:ln>
            <a:effectLst>
              <a:outerShdw blurRad="50800" dist="1397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Graphic 55">
              <a:extLst>
                <a:ext uri="{FF2B5EF4-FFF2-40B4-BE49-F238E27FC236}">
                  <a16:creationId xmlns:a16="http://schemas.microsoft.com/office/drawing/2014/main" id="{D37057DB-B86A-FFE4-7638-2C1D00B906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7062" y="1709562"/>
              <a:ext cx="525539" cy="548640"/>
            </a:xfrm>
            <a:prstGeom prst="rect">
              <a:avLst/>
            </a:prstGeom>
          </p:spPr>
        </p:pic>
      </p:grpSp>
      <p:grpSp>
        <p:nvGrpSpPr>
          <p:cNvPr id="63" name="Group 62">
            <a:extLst>
              <a:ext uri="{FF2B5EF4-FFF2-40B4-BE49-F238E27FC236}">
                <a16:creationId xmlns:a16="http://schemas.microsoft.com/office/drawing/2014/main" id="{BCCE8E44-9CF4-5309-BB6B-478D247B887C}"/>
              </a:ext>
              <a:ext uri="{C183D7F6-B498-43B3-948B-1728B52AA6E4}">
                <adec:decorative xmlns:adec="http://schemas.microsoft.com/office/drawing/2017/decorative" val="1"/>
              </a:ext>
            </a:extLst>
          </p:cNvPr>
          <p:cNvGrpSpPr/>
          <p:nvPr/>
        </p:nvGrpSpPr>
        <p:grpSpPr>
          <a:xfrm>
            <a:off x="6923298" y="1411166"/>
            <a:ext cx="1178169" cy="1178169"/>
            <a:chOff x="6923298" y="1411166"/>
            <a:chExt cx="1178169" cy="1178169"/>
          </a:xfrm>
        </p:grpSpPr>
        <p:sp>
          <p:nvSpPr>
            <p:cNvPr id="48" name="Oval 47">
              <a:extLst>
                <a:ext uri="{FF2B5EF4-FFF2-40B4-BE49-F238E27FC236}">
                  <a16:creationId xmlns:a16="http://schemas.microsoft.com/office/drawing/2014/main" id="{5CE81316-70A8-1BC8-99CE-F8E10688E941}"/>
                </a:ext>
              </a:extLst>
            </p:cNvPr>
            <p:cNvSpPr/>
            <p:nvPr/>
          </p:nvSpPr>
          <p:spPr>
            <a:xfrm>
              <a:off x="6923298" y="1411166"/>
              <a:ext cx="1178169" cy="1178169"/>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D6B1D1A-CCA3-B88A-CB56-51B6B3F08D59}"/>
                </a:ext>
              </a:extLst>
            </p:cNvPr>
            <p:cNvSpPr/>
            <p:nvPr/>
          </p:nvSpPr>
          <p:spPr>
            <a:xfrm>
              <a:off x="7063910" y="1551779"/>
              <a:ext cx="896944" cy="896944"/>
            </a:xfrm>
            <a:prstGeom prst="ellipse">
              <a:avLst/>
            </a:prstGeom>
            <a:gradFill>
              <a:gsLst>
                <a:gs pos="0">
                  <a:schemeClr val="bg1"/>
                </a:gs>
                <a:gs pos="77000">
                  <a:srgbClr val="F2F5F9"/>
                </a:gs>
              </a:gsLst>
              <a:lin ang="2400000" scaled="0"/>
            </a:gradFill>
            <a:ln>
              <a:noFill/>
            </a:ln>
            <a:effectLst>
              <a:outerShdw blurRad="50800" dist="1397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a:extLst>
                <a:ext uri="{FF2B5EF4-FFF2-40B4-BE49-F238E27FC236}">
                  <a16:creationId xmlns:a16="http://schemas.microsoft.com/office/drawing/2014/main" id="{7A30E3D1-6A56-5A9D-0B04-8B4F5DB4E2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6243" y="1685452"/>
              <a:ext cx="519458" cy="548640"/>
            </a:xfrm>
            <a:prstGeom prst="rect">
              <a:avLst/>
            </a:prstGeom>
          </p:spPr>
        </p:pic>
      </p:grpSp>
      <p:grpSp>
        <p:nvGrpSpPr>
          <p:cNvPr id="64" name="Group 63">
            <a:extLst>
              <a:ext uri="{FF2B5EF4-FFF2-40B4-BE49-F238E27FC236}">
                <a16:creationId xmlns:a16="http://schemas.microsoft.com/office/drawing/2014/main" id="{EC21C5F3-20C7-48FD-4E2D-4198FB012CFA}"/>
              </a:ext>
              <a:ext uri="{C183D7F6-B498-43B3-948B-1728B52AA6E4}">
                <adec:decorative xmlns:adec="http://schemas.microsoft.com/office/drawing/2017/decorative" val="1"/>
              </a:ext>
            </a:extLst>
          </p:cNvPr>
          <p:cNvGrpSpPr/>
          <p:nvPr/>
        </p:nvGrpSpPr>
        <p:grpSpPr>
          <a:xfrm>
            <a:off x="9742698" y="1411166"/>
            <a:ext cx="1178169" cy="1178169"/>
            <a:chOff x="9742698" y="1411166"/>
            <a:chExt cx="1178169" cy="1178169"/>
          </a:xfrm>
        </p:grpSpPr>
        <p:sp>
          <p:nvSpPr>
            <p:cNvPr id="51" name="Oval 50">
              <a:extLst>
                <a:ext uri="{FF2B5EF4-FFF2-40B4-BE49-F238E27FC236}">
                  <a16:creationId xmlns:a16="http://schemas.microsoft.com/office/drawing/2014/main" id="{7504C6B9-4ABB-DC49-4FF3-9895F0DB0AF5}"/>
                </a:ext>
              </a:extLst>
            </p:cNvPr>
            <p:cNvSpPr/>
            <p:nvPr/>
          </p:nvSpPr>
          <p:spPr>
            <a:xfrm>
              <a:off x="9742698" y="1411166"/>
              <a:ext cx="1178169" cy="1178169"/>
            </a:xfrm>
            <a:prstGeom prst="ellipse">
              <a:avLst/>
            </a:prstGeom>
            <a:solidFill>
              <a:schemeClr val="accent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2C909479-B291-B2C0-6035-5E15427D28F4}"/>
                </a:ext>
              </a:extLst>
            </p:cNvPr>
            <p:cNvSpPr/>
            <p:nvPr/>
          </p:nvSpPr>
          <p:spPr>
            <a:xfrm>
              <a:off x="9883310" y="1551779"/>
              <a:ext cx="896944" cy="896944"/>
            </a:xfrm>
            <a:prstGeom prst="ellipse">
              <a:avLst/>
            </a:prstGeom>
            <a:gradFill>
              <a:gsLst>
                <a:gs pos="0">
                  <a:schemeClr val="bg1"/>
                </a:gs>
                <a:gs pos="77000">
                  <a:srgbClr val="F2F5F9"/>
                </a:gs>
              </a:gsLst>
              <a:lin ang="2400000" scaled="0"/>
            </a:gradFill>
            <a:ln>
              <a:noFill/>
            </a:ln>
            <a:effectLst>
              <a:outerShdw blurRad="50800" dist="1397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Graphic 59">
              <a:extLst>
                <a:ext uri="{FF2B5EF4-FFF2-40B4-BE49-F238E27FC236}">
                  <a16:creationId xmlns:a16="http://schemas.microsoft.com/office/drawing/2014/main" id="{22D0A12D-F410-7721-850E-42B698D4F1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42430" y="1709562"/>
              <a:ext cx="566928" cy="548640"/>
            </a:xfrm>
            <a:prstGeom prst="rect">
              <a:avLst/>
            </a:prstGeom>
          </p:spPr>
        </p:pic>
      </p:grpSp>
    </p:spTree>
    <p:extLst>
      <p:ext uri="{BB962C8B-B14F-4D97-AF65-F5344CB8AC3E}">
        <p14:creationId xmlns:p14="http://schemas.microsoft.com/office/powerpoint/2010/main" val="26165366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BB1F9F-73D4-6086-2EC1-C22CF53D2054}"/>
              </a:ext>
              <a:ext uri="{C183D7F6-B498-43B3-948B-1728B52AA6E4}">
                <adec:decorative xmlns:adec="http://schemas.microsoft.com/office/drawing/2017/decorative" val="0"/>
              </a:ext>
            </a:extLst>
          </p:cNvPr>
          <p:cNvSpPr>
            <a:spLocks noGrp="1"/>
          </p:cNvSpPr>
          <p:nvPr>
            <p:ph type="title"/>
          </p:nvPr>
        </p:nvSpPr>
        <p:spPr>
          <a:xfrm>
            <a:off x="404814" y="101600"/>
            <a:ext cx="11258650" cy="1311275"/>
          </a:xfrm>
        </p:spPr>
        <p:txBody>
          <a:bodyPr/>
          <a:lstStyle/>
          <a:p>
            <a:r>
              <a:rPr lang="en-US"/>
              <a:t>Contact Us</a:t>
            </a:r>
          </a:p>
        </p:txBody>
      </p:sp>
      <p:pic>
        <p:nvPicPr>
          <p:cNvPr id="9" name="Picture 8">
            <a:extLst>
              <a:ext uri="{FF2B5EF4-FFF2-40B4-BE49-F238E27FC236}">
                <a16:creationId xmlns:a16="http://schemas.microsoft.com/office/drawing/2014/main" id="{47BEADF8-88F5-116B-687B-47D10F0234D6}"/>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880933" y="101600"/>
            <a:ext cx="3311067" cy="6756400"/>
          </a:xfrm>
          <a:prstGeom prst="rect">
            <a:avLst/>
          </a:prstGeom>
        </p:spPr>
      </p:pic>
      <p:pic>
        <p:nvPicPr>
          <p:cNvPr id="17" name="Picture 2" descr="Headshot of Alex McKean, Aviation">
            <a:extLst>
              <a:ext uri="{FF2B5EF4-FFF2-40B4-BE49-F238E27FC236}">
                <a16:creationId xmlns:a16="http://schemas.microsoft.com/office/drawing/2014/main" id="{928D6153-1ADA-CD82-68F7-BB10BAA38A25}"/>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1672" y="1731275"/>
            <a:ext cx="2103120" cy="2103120"/>
          </a:xfrm>
          <a:prstGeom prst="ellipse">
            <a:avLst/>
          </a:prstGeom>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16CC109E-28B7-74C1-491E-2146B8AF82D2}"/>
              </a:ext>
            </a:extLst>
          </p:cNvPr>
          <p:cNvSpPr txBox="1"/>
          <p:nvPr/>
        </p:nvSpPr>
        <p:spPr>
          <a:xfrm>
            <a:off x="329349" y="4201484"/>
            <a:ext cx="2716396" cy="15234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5FAC"/>
                </a:solidFill>
                <a:effectLst/>
                <a:uLnTx/>
                <a:uFillTx/>
                <a:latin typeface="Segoe UI Bold" panose="020B0802040204020203" pitchFamily="34" charset="0"/>
                <a:ea typeface="+mn-ea"/>
                <a:cs typeface="Segoe UI Bold" panose="020B0802040204020203" pitchFamily="34" charset="0"/>
              </a:rPr>
              <a:t>Alex McKea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215FAC"/>
                </a:solidFill>
                <a:effectLst/>
                <a:uLnTx/>
                <a:uFillTx/>
                <a:latin typeface="Segoe UI" panose="020B0502040204020203" pitchFamily="34" charset="0"/>
                <a:ea typeface="+mn-ea"/>
                <a:cs typeface="Segoe UI" panose="020B0502040204020203" pitchFamily="34" charset="0"/>
              </a:rPr>
              <a:t>Aviation</a:t>
            </a:r>
          </a:p>
          <a:p>
            <a:pPr lvl="0" algn="ctr">
              <a:defRPr/>
            </a:pPr>
            <a:r>
              <a:rPr lang="en-US" sz="1600" b="1">
                <a:solidFill>
                  <a:srgbClr val="3F5261"/>
                </a:solidFill>
                <a:latin typeface="Segoe UI" panose="020B0502040204020203" pitchFamily="34" charset="0"/>
                <a:cs typeface="Segoe UI" panose="020B0502040204020203" pitchFamily="34" charset="0"/>
              </a:rPr>
              <a:t>Work:</a:t>
            </a:r>
            <a:r>
              <a:rPr lang="pl-PL" sz="1600" b="1">
                <a:solidFill>
                  <a:srgbClr val="3F5261"/>
                </a:solidFill>
                <a:latin typeface="Segoe UI" panose="020B0502040204020203" pitchFamily="34" charset="0"/>
                <a:cs typeface="Segoe UI" panose="020B0502040204020203" pitchFamily="34" charset="0"/>
              </a:rPr>
              <a:t> </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409.7915</a:t>
            </a:r>
          </a:p>
          <a:p>
            <a:pPr lvl="0" algn="ctr">
              <a:defRPr/>
            </a:pPr>
            <a:r>
              <a:rPr lang="en-US" sz="1600" b="1">
                <a:solidFill>
                  <a:srgbClr val="3F5261"/>
                </a:solidFill>
                <a:latin typeface="Segoe UI" panose="020B0502040204020203" pitchFamily="34" charset="0"/>
                <a:cs typeface="Segoe UI" panose="020B0502040204020203" pitchFamily="34" charset="0"/>
              </a:rPr>
              <a:t>Mobile: </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408.93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alex.mckean@rsandh.com</a:t>
            </a:r>
          </a:p>
        </p:txBody>
      </p:sp>
      <p:pic>
        <p:nvPicPr>
          <p:cNvPr id="23" name="Picture 2" descr="Headshot of Shannon Casner, Airfield ">
            <a:extLst>
              <a:ext uri="{FF2B5EF4-FFF2-40B4-BE49-F238E27FC236}">
                <a16:creationId xmlns:a16="http://schemas.microsoft.com/office/drawing/2014/main" id="{6EA2E36E-3A99-ED61-B7B3-2C87D5D67136}"/>
              </a:ext>
              <a:ext uri="{C183D7F6-B498-43B3-948B-1728B52AA6E4}">
                <adec:decorative xmlns:adec="http://schemas.microsoft.com/office/drawing/2017/decorative" val="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30662" y="1742574"/>
            <a:ext cx="2103120" cy="2103120"/>
          </a:xfrm>
          <a:prstGeom prst="ellipse">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65C9B8FD-F2CE-5C43-4B80-C1CA3DF47047}"/>
              </a:ext>
            </a:extLst>
          </p:cNvPr>
          <p:cNvSpPr txBox="1"/>
          <p:nvPr/>
        </p:nvSpPr>
        <p:spPr>
          <a:xfrm>
            <a:off x="3018338" y="4201484"/>
            <a:ext cx="2817651" cy="15234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5FAC"/>
                </a:solidFill>
                <a:effectLst/>
                <a:uLnTx/>
                <a:uFillTx/>
                <a:latin typeface="Segoe UI Bold" panose="020B0802040204020203" pitchFamily="34" charset="0"/>
                <a:ea typeface="+mn-ea"/>
                <a:cs typeface="Segoe UI Bold" panose="020B0802040204020203" pitchFamily="34" charset="0"/>
              </a:rPr>
              <a:t>Shannon Casner</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215FAC"/>
                </a:solidFill>
                <a:effectLst/>
                <a:uLnTx/>
                <a:uFillTx/>
                <a:latin typeface="Segoe UI" panose="020B0502040204020203" pitchFamily="34" charset="0"/>
                <a:ea typeface="+mn-ea"/>
                <a:cs typeface="Segoe UI" panose="020B0502040204020203" pitchFamily="34" charset="0"/>
              </a:rPr>
              <a:t>Airfie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Work:</a:t>
            </a:r>
            <a:r>
              <a:rPr kumimoji="0" lang="pl-PL" sz="1600" b="1"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 </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409.79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Mobile: </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503</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7953</a:t>
            </a:r>
            <a:endPar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shannon.casner@rsandh.com</a:t>
            </a:r>
          </a:p>
        </p:txBody>
      </p:sp>
      <p:pic>
        <p:nvPicPr>
          <p:cNvPr id="1028" name="Picture 4" descr="Headshot of Kevin Stockton, Buildings">
            <a:extLst>
              <a:ext uri="{FF2B5EF4-FFF2-40B4-BE49-F238E27FC236}">
                <a16:creationId xmlns:a16="http://schemas.microsoft.com/office/drawing/2014/main" id="{2EF23608-42B6-7D72-5E59-F5D809257D0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03315" y="1753944"/>
            <a:ext cx="2091750" cy="2091750"/>
          </a:xfrm>
          <a:prstGeom prst="ellipse">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A995B8B1-80AF-5E6D-B83F-EF1EFA2AC7C7}"/>
              </a:ext>
            </a:extLst>
          </p:cNvPr>
          <p:cNvSpPr txBox="1"/>
          <p:nvPr/>
        </p:nvSpPr>
        <p:spPr>
          <a:xfrm>
            <a:off x="5890992" y="4201484"/>
            <a:ext cx="2716396" cy="15234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5FAC"/>
                </a:solidFill>
                <a:effectLst/>
                <a:uLnTx/>
                <a:uFillTx/>
                <a:latin typeface="Segoe UI Bold" panose="020B0802040204020203" pitchFamily="34" charset="0"/>
                <a:ea typeface="+mn-ea"/>
                <a:cs typeface="Segoe UI Bold" panose="020B0802040204020203" pitchFamily="34" charset="0"/>
              </a:rPr>
              <a:t>Kevin Stockt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215FAC"/>
                </a:solidFill>
                <a:effectLst/>
                <a:uLnTx/>
                <a:uFillTx/>
                <a:latin typeface="Segoe UI" panose="020B0502040204020203" pitchFamily="34" charset="0"/>
                <a:ea typeface="+mn-ea"/>
                <a:cs typeface="Segoe UI" panose="020B0502040204020203" pitchFamily="34" charset="0"/>
              </a:rPr>
              <a:t>Buildings</a:t>
            </a:r>
          </a:p>
          <a:p>
            <a:pPr lvl="0" algn="ctr">
              <a:defRPr/>
            </a:pPr>
            <a:r>
              <a:rPr lang="en-US" sz="1600" b="1">
                <a:solidFill>
                  <a:srgbClr val="3F5261"/>
                </a:solidFill>
                <a:latin typeface="Segoe UI" panose="020B0502040204020203" pitchFamily="34" charset="0"/>
                <a:cs typeface="Segoe UI" panose="020B0502040204020203" pitchFamily="34" charset="0"/>
              </a:rPr>
              <a:t>Work:</a:t>
            </a:r>
            <a:r>
              <a:rPr lang="pl-PL" sz="1600" b="1">
                <a:solidFill>
                  <a:srgbClr val="3F5261"/>
                </a:solidFill>
                <a:latin typeface="Segoe UI" panose="020B0502040204020203" pitchFamily="34" charset="0"/>
                <a:cs typeface="Segoe UI" panose="020B0502040204020203" pitchFamily="34" charset="0"/>
              </a:rPr>
              <a:t> </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409.7911</a:t>
            </a:r>
          </a:p>
          <a:p>
            <a:pPr lvl="0" algn="ctr">
              <a:defRPr/>
            </a:pPr>
            <a:r>
              <a:rPr lang="en-US" sz="1600" b="1">
                <a:solidFill>
                  <a:srgbClr val="3F5261"/>
                </a:solidFill>
                <a:latin typeface="Segoe UI" panose="020B0502040204020203" pitchFamily="34" charset="0"/>
                <a:cs typeface="Segoe UI" panose="020B0502040204020203" pitchFamily="34" charset="0"/>
              </a:rPr>
              <a:t>Mobile: </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03</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408</a:t>
            </a: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a:t>
            </a:r>
            <a:r>
              <a:rPr kumimoji="0" lang="pl-PL"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3706</a:t>
            </a:r>
            <a:endPar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F5261"/>
                </a:solidFill>
                <a:effectLst/>
                <a:uLnTx/>
                <a:uFillTx/>
                <a:latin typeface="Segoe UI" panose="020B0502040204020203" pitchFamily="34" charset="0"/>
                <a:ea typeface="+mn-ea"/>
                <a:cs typeface="Segoe UI" panose="020B0502040204020203" pitchFamily="34" charset="0"/>
              </a:rPr>
              <a:t>kevin.stockton@rsandh.com</a:t>
            </a:r>
          </a:p>
        </p:txBody>
      </p:sp>
      <p:sp>
        <p:nvSpPr>
          <p:cNvPr id="6" name="TextBox 5">
            <a:extLst>
              <a:ext uri="{FF2B5EF4-FFF2-40B4-BE49-F238E27FC236}">
                <a16:creationId xmlns:a16="http://schemas.microsoft.com/office/drawing/2014/main" id="{47F47CF0-8C03-16B5-E4E1-97D62E7FA5EC}"/>
              </a:ext>
            </a:extLst>
          </p:cNvPr>
          <p:cNvSpPr txBox="1"/>
          <p:nvPr/>
        </p:nvSpPr>
        <p:spPr>
          <a:xfrm>
            <a:off x="9085295" y="1645433"/>
            <a:ext cx="2902342" cy="846386"/>
          </a:xfrm>
          <a:prstGeom prst="rect">
            <a:avLst/>
          </a:prstGeom>
          <a:noFill/>
        </p:spPr>
        <p:txBody>
          <a:bodyPr wrap="square" lIns="91440" tIns="45720" rIns="91440" bIns="45720" rtlCol="0" anchor="t">
            <a:spAutoFit/>
          </a:bodyPr>
          <a:lstStyle/>
          <a:p>
            <a:r>
              <a:rPr lang="en-US" sz="2400" b="1">
                <a:solidFill>
                  <a:schemeClr val="bg1"/>
                </a:solidFill>
                <a:latin typeface="+mj-lt"/>
                <a:cs typeface="Segoe UI Semibold"/>
              </a:rPr>
              <a:t>Ready to Connect? </a:t>
            </a:r>
          </a:p>
          <a:p>
            <a:pPr>
              <a:spcBef>
                <a:spcPts val="600"/>
              </a:spcBef>
            </a:pPr>
            <a:endParaRPr lang="en-US" sz="2000">
              <a:solidFill>
                <a:schemeClr val="bg1"/>
              </a:solidFill>
              <a:latin typeface="+mj-lt"/>
              <a:cs typeface="Segoe UI Semibold"/>
            </a:endParaRPr>
          </a:p>
        </p:txBody>
      </p:sp>
      <p:pic>
        <p:nvPicPr>
          <p:cNvPr id="3" name="Picture 2" descr="DEN Meet the Primes: Partnership Interest Form – Fill out form&#10;">
            <a:extLst>
              <a:ext uri="{FF2B5EF4-FFF2-40B4-BE49-F238E27FC236}">
                <a16:creationId xmlns:a16="http://schemas.microsoft.com/office/drawing/2014/main" id="{9254004D-927A-743C-2EF5-17E6CDE56EC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22889" y="2441135"/>
            <a:ext cx="2147034" cy="2143319"/>
          </a:xfrm>
          <a:prstGeom prst="rect">
            <a:avLst/>
          </a:prstGeom>
        </p:spPr>
      </p:pic>
    </p:spTree>
    <p:extLst>
      <p:ext uri="{BB962C8B-B14F-4D97-AF65-F5344CB8AC3E}">
        <p14:creationId xmlns:p14="http://schemas.microsoft.com/office/powerpoint/2010/main" val="7860566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61E7FD2-0685-41AF-A030-B89115CD4170}"/>
              </a:ext>
            </a:extLst>
          </p:cNvPr>
          <p:cNvSpPr>
            <a:spLocks noGrp="1"/>
          </p:cNvSpPr>
          <p:nvPr>
            <p:ph type="title" idx="4294967295"/>
          </p:nvPr>
        </p:nvSpPr>
        <p:spPr>
          <a:xfrm>
            <a:off x="263525" y="1782234"/>
            <a:ext cx="7691438" cy="1462087"/>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AECOM Sans" panose="020B0504020202020204" pitchFamily="34" charset="0"/>
                <a:cs typeface="Arial" panose="020B0604020202020204" pitchFamily="34" charset="0"/>
              </a:rPr>
              <a:t>Meet the Primes         </a:t>
            </a:r>
          </a:p>
        </p:txBody>
      </p:sp>
      <p:sp>
        <p:nvSpPr>
          <p:cNvPr id="9" name="Text Placeholder 8">
            <a:extLst>
              <a:ext uri="{FF2B5EF4-FFF2-40B4-BE49-F238E27FC236}">
                <a16:creationId xmlns:a16="http://schemas.microsoft.com/office/drawing/2014/main" id="{83A46029-BBC8-4761-93A8-13141ABB3D9A}"/>
              </a:ext>
            </a:extLst>
          </p:cNvPr>
          <p:cNvSpPr>
            <a:spLocks noGrp="1"/>
          </p:cNvSpPr>
          <p:nvPr>
            <p:ph type="body" sz="quarter" idx="11"/>
          </p:nvPr>
        </p:nvSpPr>
        <p:spPr/>
        <p:txBody>
          <a:bodyPr/>
          <a:lstStyle/>
          <a:p>
            <a:r>
              <a:rPr lang="en-US"/>
              <a:t>Denver International Airport</a:t>
            </a:r>
          </a:p>
        </p:txBody>
      </p:sp>
      <p:sp>
        <p:nvSpPr>
          <p:cNvPr id="10" name="Text Placeholder 9">
            <a:extLst>
              <a:ext uri="{FF2B5EF4-FFF2-40B4-BE49-F238E27FC236}">
                <a16:creationId xmlns:a16="http://schemas.microsoft.com/office/drawing/2014/main" id="{0376440F-0896-4800-9CEC-B1AD031E9469}"/>
              </a:ext>
            </a:extLst>
          </p:cNvPr>
          <p:cNvSpPr>
            <a:spLocks noGrp="1"/>
          </p:cNvSpPr>
          <p:nvPr>
            <p:ph type="body" sz="quarter" idx="12"/>
          </p:nvPr>
        </p:nvSpPr>
        <p:spPr/>
        <p:txBody>
          <a:bodyPr/>
          <a:lstStyle/>
          <a:p>
            <a:r>
              <a:rPr lang="en-US"/>
              <a:t>December 18, 2025</a:t>
            </a:r>
          </a:p>
        </p:txBody>
      </p:sp>
      <p:sp>
        <p:nvSpPr>
          <p:cNvPr id="2" name="TextBox 1">
            <a:extLst>
              <a:ext uri="{FF2B5EF4-FFF2-40B4-BE49-F238E27FC236}">
                <a16:creationId xmlns:a16="http://schemas.microsoft.com/office/drawing/2014/main" id="{4E7C45D6-BCCF-9248-A824-C15668137045}"/>
              </a:ext>
            </a:extLst>
          </p:cNvPr>
          <p:cNvSpPr txBox="1"/>
          <p:nvPr/>
        </p:nvSpPr>
        <p:spPr>
          <a:xfrm>
            <a:off x="12592594" y="91440"/>
            <a:ext cx="2690949" cy="1477328"/>
          </a:xfrm>
          <a:prstGeom prst="rect">
            <a:avLst/>
          </a:prstGeom>
          <a:noFill/>
        </p:spPr>
        <p:txBody>
          <a:bodyPr wrap="square" rtlCol="0">
            <a:spAutoFit/>
          </a:bodyPr>
          <a:lstStyle/>
          <a:p>
            <a:r>
              <a:rPr lang="en-US">
                <a:solidFill>
                  <a:schemeClr val="accent2"/>
                </a:solidFill>
              </a:rPr>
              <a:t>The background fill can also be changed to an image. (Right click on the slide and select “Format Background…”)</a:t>
            </a:r>
          </a:p>
        </p:txBody>
      </p:sp>
    </p:spTree>
    <p:extLst>
      <p:ext uri="{BB962C8B-B14F-4D97-AF65-F5344CB8AC3E}">
        <p14:creationId xmlns:p14="http://schemas.microsoft.com/office/powerpoint/2010/main" val="4030977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109E25-EB69-D046-BCBC-04F43DD83C06}"/>
              </a:ext>
            </a:extLst>
          </p:cNvPr>
          <p:cNvSpPr>
            <a:spLocks noGrp="1"/>
          </p:cNvSpPr>
          <p:nvPr>
            <p:ph type="title"/>
          </p:nvPr>
        </p:nvSpPr>
        <p:spPr/>
        <p:txBody>
          <a:bodyPr/>
          <a:lstStyle/>
          <a:p>
            <a:r>
              <a:rPr lang="en-US"/>
              <a:t>Meet our Team</a:t>
            </a:r>
          </a:p>
        </p:txBody>
      </p:sp>
      <p:sp>
        <p:nvSpPr>
          <p:cNvPr id="8" name="TextBox 7">
            <a:extLst>
              <a:ext uri="{FF2B5EF4-FFF2-40B4-BE49-F238E27FC236}">
                <a16:creationId xmlns:a16="http://schemas.microsoft.com/office/drawing/2014/main" id="{17A0D60F-C4C3-CC43-998C-1F679C9FEB7A}"/>
              </a:ext>
              <a:ext uri="{C183D7F6-B498-43B3-948B-1728B52AA6E4}">
                <adec:decorative xmlns:adec="http://schemas.microsoft.com/office/drawing/2017/decorative" val="1"/>
              </a:ext>
            </a:extLst>
          </p:cNvPr>
          <p:cNvSpPr txBox="1"/>
          <p:nvPr/>
        </p:nvSpPr>
        <p:spPr>
          <a:xfrm>
            <a:off x="6723529" y="-77694"/>
            <a:ext cx="184731" cy="369332"/>
          </a:xfrm>
          <a:prstGeom prst="rect">
            <a:avLst/>
          </a:prstGeom>
          <a:noFill/>
        </p:spPr>
        <p:txBody>
          <a:bodyPr wrap="none" rtlCol="0">
            <a:spAutoFit/>
          </a:bodyPr>
          <a:lstStyle/>
          <a:p>
            <a:endParaRPr lang="en-US"/>
          </a:p>
        </p:txBody>
      </p:sp>
      <p:sp>
        <p:nvSpPr>
          <p:cNvPr id="108" name="Oval 107">
            <a:extLst>
              <a:ext uri="{FF2B5EF4-FFF2-40B4-BE49-F238E27FC236}">
                <a16:creationId xmlns:a16="http://schemas.microsoft.com/office/drawing/2014/main" id="{6C7E0A57-F5AE-B24A-8F9B-999EA647B840}"/>
              </a:ext>
              <a:ext uri="{C183D7F6-B498-43B3-948B-1728B52AA6E4}">
                <adec:decorative xmlns:adec="http://schemas.microsoft.com/office/drawing/2017/decorative" val="1"/>
              </a:ext>
            </a:extLst>
          </p:cNvPr>
          <p:cNvSpPr/>
          <p:nvPr/>
        </p:nvSpPr>
        <p:spPr>
          <a:xfrm>
            <a:off x="1016777" y="1989613"/>
            <a:ext cx="2112148" cy="2520000"/>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Content Placeholder 1">
            <a:extLst>
              <a:ext uri="{FF2B5EF4-FFF2-40B4-BE49-F238E27FC236}">
                <a16:creationId xmlns:a16="http://schemas.microsoft.com/office/drawing/2014/main" id="{2002C025-E08B-3B4D-AB36-15EDE4BCF105}"/>
              </a:ext>
            </a:extLst>
          </p:cNvPr>
          <p:cNvSpPr txBox="1">
            <a:spLocks/>
          </p:cNvSpPr>
          <p:nvPr/>
        </p:nvSpPr>
        <p:spPr>
          <a:xfrm>
            <a:off x="210290" y="4509613"/>
            <a:ext cx="3725123" cy="868058"/>
          </a:xfrm>
          <a:prstGeom prst="rect">
            <a:avLst/>
          </a:prstGeom>
          <a:noFill/>
          <a:ln w="19050">
            <a:noFill/>
          </a:ln>
        </p:spPr>
        <p:txBody>
          <a:bodyPr vert="horz" lIns="0" tIns="18000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1pPr>
            <a:lvl2pPr marL="355600" indent="-355600" algn="l" defTabSz="914400" rtl="0" eaLnBrk="1" latinLnBrk="0" hangingPunct="1">
              <a:lnSpc>
                <a:spcPct val="90000"/>
              </a:lnSpc>
              <a:spcBef>
                <a:spcPts val="500"/>
              </a:spcBef>
              <a:buFont typeface="System Font"/>
              <a:buChar char="–"/>
              <a:tabLst/>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800">
                <a:solidFill>
                  <a:schemeClr val="tx1"/>
                </a:solidFill>
                <a:latin typeface="Arial" panose="020B0604020202020204" pitchFamily="34" charset="0"/>
                <a:cs typeface="Arial" panose="020B0604020202020204" pitchFamily="34" charset="0"/>
              </a:rPr>
              <a:t>Jeffrey Warkoski, PE, ENV-SP</a:t>
            </a:r>
          </a:p>
          <a:p>
            <a:pPr algn="ctr">
              <a:spcBef>
                <a:spcPts val="0"/>
              </a:spcBef>
            </a:pPr>
            <a:r>
              <a:rPr lang="en-GB" sz="1800">
                <a:solidFill>
                  <a:schemeClr val="tx1"/>
                </a:solidFill>
                <a:latin typeface="Arial" panose="020B0604020202020204" pitchFamily="34" charset="0"/>
                <a:cs typeface="Arial" panose="020B0604020202020204" pitchFamily="34" charset="0"/>
              </a:rPr>
              <a:t>Vice President</a:t>
            </a:r>
          </a:p>
          <a:p>
            <a:pPr algn="ctr">
              <a:spcBef>
                <a:spcPts val="0"/>
              </a:spcBef>
            </a:pPr>
            <a:r>
              <a:rPr lang="en-GB" sz="1800">
                <a:solidFill>
                  <a:schemeClr val="tx1"/>
                </a:solidFill>
                <a:latin typeface="Arial" panose="020B0604020202020204" pitchFamily="34" charset="0"/>
                <a:cs typeface="Arial" panose="020B0604020202020204" pitchFamily="34" charset="0"/>
              </a:rPr>
              <a:t>Aviation</a:t>
            </a:r>
          </a:p>
        </p:txBody>
      </p:sp>
      <p:sp>
        <p:nvSpPr>
          <p:cNvPr id="17" name="Oval 16">
            <a:extLst>
              <a:ext uri="{FF2B5EF4-FFF2-40B4-BE49-F238E27FC236}">
                <a16:creationId xmlns:a16="http://schemas.microsoft.com/office/drawing/2014/main" id="{2628D262-B262-2640-895E-5F5B93C41C1F}"/>
              </a:ext>
              <a:ext uri="{C183D7F6-B498-43B3-948B-1728B52AA6E4}">
                <adec:decorative xmlns:adec="http://schemas.microsoft.com/office/drawing/2017/decorative" val="1"/>
              </a:ext>
            </a:extLst>
          </p:cNvPr>
          <p:cNvSpPr/>
          <p:nvPr/>
        </p:nvSpPr>
        <p:spPr>
          <a:xfrm>
            <a:off x="4297338" y="1989613"/>
            <a:ext cx="3638418" cy="2520000"/>
          </a:xfrm>
          <a:prstGeom prst="ellipse">
            <a:avLst/>
          </a:prstGeom>
          <a:blipFill>
            <a:blip r:embed="rId4"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ontent Placeholder 1">
            <a:extLst>
              <a:ext uri="{FF2B5EF4-FFF2-40B4-BE49-F238E27FC236}">
                <a16:creationId xmlns:a16="http://schemas.microsoft.com/office/drawing/2014/main" id="{487E8EFF-CD89-C54D-9C0D-B4CC7F7759B3}"/>
              </a:ext>
            </a:extLst>
          </p:cNvPr>
          <p:cNvSpPr txBox="1">
            <a:spLocks/>
          </p:cNvSpPr>
          <p:nvPr/>
        </p:nvSpPr>
        <p:spPr>
          <a:xfrm>
            <a:off x="4224337" y="4509613"/>
            <a:ext cx="3725123" cy="868058"/>
          </a:xfrm>
          <a:prstGeom prst="rect">
            <a:avLst/>
          </a:prstGeom>
          <a:noFill/>
          <a:ln w="19050">
            <a:noFill/>
          </a:ln>
        </p:spPr>
        <p:txBody>
          <a:bodyPr vert="horz" lIns="0" tIns="18000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1pPr>
            <a:lvl2pPr marL="355600" indent="-355600" algn="l" defTabSz="914400" rtl="0" eaLnBrk="1" latinLnBrk="0" hangingPunct="1">
              <a:lnSpc>
                <a:spcPct val="90000"/>
              </a:lnSpc>
              <a:spcBef>
                <a:spcPts val="500"/>
              </a:spcBef>
              <a:buFont typeface="System Font"/>
              <a:buChar char="–"/>
              <a:tabLst/>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800">
                <a:solidFill>
                  <a:schemeClr val="tx1"/>
                </a:solidFill>
                <a:latin typeface="Arial" panose="020B0604020202020204" pitchFamily="34" charset="0"/>
                <a:cs typeface="Arial" panose="020B0604020202020204" pitchFamily="34" charset="0"/>
              </a:rPr>
              <a:t>Grace Rink</a:t>
            </a:r>
          </a:p>
          <a:p>
            <a:pPr algn="ctr">
              <a:spcBef>
                <a:spcPts val="0"/>
              </a:spcBef>
            </a:pPr>
            <a:r>
              <a:rPr lang="en-GB" sz="1800">
                <a:solidFill>
                  <a:schemeClr val="tx1"/>
                </a:solidFill>
                <a:latin typeface="Arial" panose="020B0604020202020204" pitchFamily="34" charset="0"/>
                <a:cs typeface="Arial" panose="020B0604020202020204" pitchFamily="34" charset="0"/>
              </a:rPr>
              <a:t>Associate Vice President</a:t>
            </a:r>
          </a:p>
          <a:p>
            <a:pPr algn="ctr">
              <a:spcBef>
                <a:spcPts val="0"/>
              </a:spcBef>
            </a:pPr>
            <a:r>
              <a:rPr lang="en-GB" sz="1800">
                <a:solidFill>
                  <a:schemeClr val="tx1"/>
                </a:solidFill>
                <a:latin typeface="Arial" panose="020B0604020202020204" pitchFamily="34" charset="0"/>
                <a:cs typeface="Arial" panose="020B0604020202020204" pitchFamily="34" charset="0"/>
              </a:rPr>
              <a:t>Energy</a:t>
            </a:r>
          </a:p>
        </p:txBody>
      </p:sp>
      <p:sp>
        <p:nvSpPr>
          <p:cNvPr id="20" name="Content Placeholder 1">
            <a:extLst>
              <a:ext uri="{FF2B5EF4-FFF2-40B4-BE49-F238E27FC236}">
                <a16:creationId xmlns:a16="http://schemas.microsoft.com/office/drawing/2014/main" id="{89565AE1-4AC3-C74D-AA42-6F7908E08792}"/>
              </a:ext>
            </a:extLst>
          </p:cNvPr>
          <p:cNvSpPr txBox="1">
            <a:spLocks/>
          </p:cNvSpPr>
          <p:nvPr/>
        </p:nvSpPr>
        <p:spPr>
          <a:xfrm>
            <a:off x="8256588" y="4509613"/>
            <a:ext cx="3743325" cy="868058"/>
          </a:xfrm>
          <a:prstGeom prst="rect">
            <a:avLst/>
          </a:prstGeom>
          <a:noFill/>
          <a:ln w="19050">
            <a:noFill/>
          </a:ln>
        </p:spPr>
        <p:txBody>
          <a:bodyPr vert="horz" lIns="0" tIns="18000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1pPr>
            <a:lvl2pPr marL="355600" indent="-355600" algn="l" defTabSz="914400" rtl="0" eaLnBrk="1" latinLnBrk="0" hangingPunct="1">
              <a:lnSpc>
                <a:spcPct val="90000"/>
              </a:lnSpc>
              <a:spcBef>
                <a:spcPts val="500"/>
              </a:spcBef>
              <a:buFont typeface="System Font"/>
              <a:buChar char="–"/>
              <a:tabLst/>
              <a:defRPr sz="2400" kern="1200">
                <a:solidFill>
                  <a:schemeClr val="tx2"/>
                </a:solidFill>
                <a:latin typeface="AECOM Sans" panose="020B0504020202020204" pitchFamily="34" charset="0"/>
                <a:ea typeface="AECOM Sans" panose="020B0504020202020204" pitchFamily="34" charset="0"/>
                <a:cs typeface="AECOM Sans" panose="020B05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ECOM Sans" panose="020B0504020202020204" pitchFamily="34" charset="0"/>
                <a:ea typeface="AECOM Sans" panose="020B0504020202020204" pitchFamily="34" charset="0"/>
                <a:cs typeface="AECOM Sans"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800">
                <a:solidFill>
                  <a:schemeClr val="tx1"/>
                </a:solidFill>
                <a:latin typeface="Arial" panose="020B0604020202020204" pitchFamily="34" charset="0"/>
                <a:cs typeface="Arial" panose="020B0604020202020204" pitchFamily="34" charset="0"/>
              </a:rPr>
              <a:t>Jason Sielcken</a:t>
            </a:r>
          </a:p>
          <a:p>
            <a:pPr algn="ctr">
              <a:spcBef>
                <a:spcPts val="0"/>
              </a:spcBef>
            </a:pPr>
            <a:r>
              <a:rPr lang="en-GB" sz="1800">
                <a:solidFill>
                  <a:schemeClr val="tx1"/>
                </a:solidFill>
                <a:latin typeface="Arial" panose="020B0604020202020204" pitchFamily="34" charset="0"/>
                <a:cs typeface="Arial" panose="020B0604020202020204" pitchFamily="34" charset="0"/>
              </a:rPr>
              <a:t>Vice President</a:t>
            </a:r>
          </a:p>
          <a:p>
            <a:pPr algn="ctr">
              <a:spcBef>
                <a:spcPts val="0"/>
              </a:spcBef>
            </a:pPr>
            <a:r>
              <a:rPr lang="en-GB" sz="1800">
                <a:solidFill>
                  <a:schemeClr val="tx1"/>
                </a:solidFill>
                <a:latin typeface="Arial" panose="020B0604020202020204" pitchFamily="34" charset="0"/>
                <a:cs typeface="Arial" panose="020B0604020202020204" pitchFamily="34" charset="0"/>
              </a:rPr>
              <a:t>Buildings + Places</a:t>
            </a:r>
          </a:p>
        </p:txBody>
      </p:sp>
      <p:pic>
        <p:nvPicPr>
          <p:cNvPr id="2" name="Picture 1" descr="Image of Jason ">
            <a:extLst>
              <a:ext uri="{FF2B5EF4-FFF2-40B4-BE49-F238E27FC236}">
                <a16:creationId xmlns:a16="http://schemas.microsoft.com/office/drawing/2014/main" id="{572C4D67-42FB-EF3C-8BB8-B7B682D6CBD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62742" y="1908198"/>
            <a:ext cx="2983881" cy="2600264"/>
          </a:xfrm>
          <a:prstGeom prst="ellipse">
            <a:avLst/>
          </a:prstGeom>
        </p:spPr>
      </p:pic>
    </p:spTree>
    <p:extLst>
      <p:ext uri="{BB962C8B-B14F-4D97-AF65-F5344CB8AC3E}">
        <p14:creationId xmlns:p14="http://schemas.microsoft.com/office/powerpoint/2010/main" val="34759554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05DF9-9EAA-F624-A062-A144F8583B9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C85E554-5413-67F2-E738-9D16FF2CB68C}"/>
              </a:ext>
            </a:extLst>
          </p:cNvPr>
          <p:cNvSpPr>
            <a:spLocks noGrp="1"/>
          </p:cNvSpPr>
          <p:nvPr>
            <p:ph type="title"/>
          </p:nvPr>
        </p:nvSpPr>
        <p:spPr/>
        <p:txBody>
          <a:bodyPr/>
          <a:lstStyle/>
          <a:p>
            <a:r>
              <a:rPr lang="en-US"/>
              <a:t>AECOM Values &amp; Offices</a:t>
            </a:r>
          </a:p>
        </p:txBody>
      </p:sp>
      <p:sp>
        <p:nvSpPr>
          <p:cNvPr id="8" name="TextBox 7">
            <a:extLst>
              <a:ext uri="{FF2B5EF4-FFF2-40B4-BE49-F238E27FC236}">
                <a16:creationId xmlns:a16="http://schemas.microsoft.com/office/drawing/2014/main" id="{E287CAA0-22EF-22E9-438D-03B054E4AB63}"/>
              </a:ext>
              <a:ext uri="{C183D7F6-B498-43B3-948B-1728B52AA6E4}">
                <adec:decorative xmlns:adec="http://schemas.microsoft.com/office/drawing/2017/decorative" val="1"/>
              </a:ext>
            </a:extLst>
          </p:cNvPr>
          <p:cNvSpPr txBox="1"/>
          <p:nvPr/>
        </p:nvSpPr>
        <p:spPr>
          <a:xfrm>
            <a:off x="6723529" y="-77694"/>
            <a:ext cx="184731" cy="369332"/>
          </a:xfrm>
          <a:prstGeom prst="rect">
            <a:avLst/>
          </a:prstGeom>
          <a:noFill/>
        </p:spPr>
        <p:txBody>
          <a:bodyPr wrap="none" rtlCol="0">
            <a:spAutoFit/>
          </a:bodyPr>
          <a:lstStyle/>
          <a:p>
            <a:endParaRPr lang="en-US"/>
          </a:p>
        </p:txBody>
      </p:sp>
      <p:pic>
        <p:nvPicPr>
          <p:cNvPr id="2" name="Picture 1" descr="AECOM Values">
            <a:extLst>
              <a:ext uri="{FF2B5EF4-FFF2-40B4-BE49-F238E27FC236}">
                <a16:creationId xmlns:a16="http://schemas.microsoft.com/office/drawing/2014/main" id="{63B3A7B3-F570-5552-2305-A19D5757C76C}"/>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64592" y="2016055"/>
            <a:ext cx="4608575" cy="4558482"/>
          </a:xfrm>
          <a:prstGeom prst="rect">
            <a:avLst/>
          </a:prstGeom>
          <a:ln>
            <a:noFill/>
          </a:ln>
          <a:effectLst>
            <a:softEdge rad="112500"/>
          </a:effectLst>
        </p:spPr>
      </p:pic>
      <p:pic>
        <p:nvPicPr>
          <p:cNvPr id="3" name="Picture 2" descr="AECOM Colorado Offices">
            <a:extLst>
              <a:ext uri="{FF2B5EF4-FFF2-40B4-BE49-F238E27FC236}">
                <a16:creationId xmlns:a16="http://schemas.microsoft.com/office/drawing/2014/main" id="{FCB3EA9C-1880-EC0A-C6FA-2A93F8AFA9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73168" y="373023"/>
            <a:ext cx="7152133" cy="4407330"/>
          </a:xfrm>
          <a:prstGeom prst="rect">
            <a:avLst/>
          </a:prstGeom>
        </p:spPr>
      </p:pic>
      <p:sp>
        <p:nvSpPr>
          <p:cNvPr id="4" name="TextBox 3">
            <a:extLst>
              <a:ext uri="{FF2B5EF4-FFF2-40B4-BE49-F238E27FC236}">
                <a16:creationId xmlns:a16="http://schemas.microsoft.com/office/drawing/2014/main" id="{6E857ED5-30A9-A279-B51B-C9799857BB17}"/>
              </a:ext>
            </a:extLst>
          </p:cNvPr>
          <p:cNvSpPr txBox="1"/>
          <p:nvPr/>
        </p:nvSpPr>
        <p:spPr>
          <a:xfrm>
            <a:off x="6096000" y="4885160"/>
            <a:ext cx="5559551" cy="1046426"/>
          </a:xfrm>
          <a:prstGeom prst="rect">
            <a:avLst/>
          </a:prstGeom>
          <a:noFill/>
        </p:spPr>
        <p:txBody>
          <a:bodyPr lIns="121926" tIns="60963" rIns="121926" bIns="60963"/>
          <a:lstStyle/>
          <a:p>
            <a:pPr defTabSz="914217" fontAlgn="base">
              <a:spcBef>
                <a:spcPct val="0"/>
              </a:spcBef>
              <a:spcAft>
                <a:spcPct val="0"/>
              </a:spcAft>
              <a:defRPr/>
            </a:pPr>
            <a:r>
              <a:rPr lang="en-US" b="1" i="1" spc="-5">
                <a:solidFill>
                  <a:srgbClr val="414042"/>
                </a:solidFill>
                <a:latin typeface="Arial" panose="020B0604020202020204" pitchFamily="34" charset="0"/>
                <a:cs typeface="Arial" panose="020B0604020202020204" pitchFamily="34" charset="0"/>
              </a:rPr>
              <a:t>-Program Management		-Water</a:t>
            </a:r>
          </a:p>
          <a:p>
            <a:pPr defTabSz="914217" fontAlgn="base">
              <a:spcBef>
                <a:spcPct val="0"/>
              </a:spcBef>
              <a:spcAft>
                <a:spcPct val="0"/>
              </a:spcAft>
              <a:defRPr/>
            </a:pPr>
            <a:r>
              <a:rPr lang="en-US" b="1" i="1" spc="-5">
                <a:solidFill>
                  <a:srgbClr val="414042"/>
                </a:solidFill>
                <a:latin typeface="Arial" panose="020B0604020202020204" pitchFamily="34" charset="0"/>
                <a:cs typeface="Arial" panose="020B0604020202020204" pitchFamily="34" charset="0"/>
              </a:rPr>
              <a:t>-Transportation			-Advisory</a:t>
            </a:r>
          </a:p>
          <a:p>
            <a:pPr defTabSz="914217" fontAlgn="base">
              <a:spcBef>
                <a:spcPct val="0"/>
              </a:spcBef>
              <a:spcAft>
                <a:spcPct val="0"/>
              </a:spcAft>
              <a:defRPr/>
            </a:pPr>
            <a:r>
              <a:rPr lang="en-US" b="1" i="1" spc="-5">
                <a:solidFill>
                  <a:srgbClr val="414042"/>
                </a:solidFill>
                <a:latin typeface="Arial" panose="020B0604020202020204" pitchFamily="34" charset="0"/>
                <a:cs typeface="Arial" panose="020B0604020202020204" pitchFamily="34" charset="0"/>
              </a:rPr>
              <a:t>-Buildings + Places		-Environment</a:t>
            </a:r>
            <a:r>
              <a:rPr lang="en-US" spc="-5">
                <a:solidFill>
                  <a:srgbClr val="414042"/>
                </a:solidFill>
                <a:latin typeface="Arial" panose="020B0604020202020204" pitchFamily="34" charset="0"/>
                <a:cs typeface="Arial" panose="020B0604020202020204" pitchFamily="34" charset="0"/>
              </a:rPr>
              <a:t>	</a:t>
            </a:r>
          </a:p>
          <a:p>
            <a:pPr defTabSz="914217" fontAlgn="base">
              <a:spcBef>
                <a:spcPct val="0"/>
              </a:spcBef>
              <a:spcAft>
                <a:spcPct val="0"/>
              </a:spcAft>
              <a:defRPr/>
            </a:pPr>
            <a:r>
              <a:rPr lang="en-US" spc="-5">
                <a:solidFill>
                  <a:srgbClr val="414042"/>
                </a:solidFill>
                <a:latin typeface="Arial" panose="020B0604020202020204" pitchFamily="34" charset="0"/>
                <a:cs typeface="Arial" panose="020B0604020202020204" pitchFamily="34" charset="0"/>
              </a:rPr>
              <a:t>	</a:t>
            </a:r>
          </a:p>
          <a:p>
            <a:pPr defTabSz="914217" fontAlgn="base">
              <a:spcBef>
                <a:spcPct val="0"/>
              </a:spcBef>
              <a:spcAft>
                <a:spcPct val="0"/>
              </a:spcAft>
              <a:defRPr/>
            </a:pPr>
            <a:endParaRPr lang="en-US" spc="-5">
              <a:solidFill>
                <a:srgbClr val="41404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72404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121E5-25D3-7C44-9533-E342952EFFF2}"/>
              </a:ext>
            </a:extLst>
          </p:cNvPr>
          <p:cNvSpPr>
            <a:spLocks noGrp="1"/>
          </p:cNvSpPr>
          <p:nvPr>
            <p:ph type="title"/>
          </p:nvPr>
        </p:nvSpPr>
        <p:spPr/>
        <p:txBody>
          <a:bodyPr/>
          <a:lstStyle/>
          <a:p>
            <a:r>
              <a:rPr lang="en-US"/>
              <a:t>Our Work at DEN</a:t>
            </a:r>
          </a:p>
        </p:txBody>
      </p:sp>
      <p:sp>
        <p:nvSpPr>
          <p:cNvPr id="3" name="Content Placeholder 2">
            <a:extLst>
              <a:ext uri="{FF2B5EF4-FFF2-40B4-BE49-F238E27FC236}">
                <a16:creationId xmlns:a16="http://schemas.microsoft.com/office/drawing/2014/main" id="{A643E766-7B54-CC4B-A42F-9C9AC2336ED0}"/>
              </a:ext>
            </a:extLst>
          </p:cNvPr>
          <p:cNvSpPr>
            <a:spLocks noGrp="1"/>
          </p:cNvSpPr>
          <p:nvPr>
            <p:ph sz="quarter" idx="24"/>
          </p:nvPr>
        </p:nvSpPr>
        <p:spPr/>
        <p:txBody>
          <a:bodyPr/>
          <a:lstStyle/>
          <a:p>
            <a:pPr marL="0" indent="0">
              <a:buNone/>
            </a:pPr>
            <a:r>
              <a:rPr lang="en-US" b="1"/>
              <a:t>Active Contracts</a:t>
            </a:r>
          </a:p>
          <a:p>
            <a:pPr marL="342900" indent="-342900">
              <a:spcBef>
                <a:spcPts val="1800"/>
              </a:spcBef>
              <a:buFont typeface="Wingdings" panose="05000000000000000000" pitchFamily="2" charset="2"/>
              <a:buChar char="§"/>
            </a:pPr>
            <a:r>
              <a:rPr lang="en-AU"/>
              <a:t>Future Runway Program Management</a:t>
            </a:r>
          </a:p>
          <a:p>
            <a:pPr marL="342900" indent="-342900">
              <a:spcBef>
                <a:spcPts val="1800"/>
              </a:spcBef>
              <a:buFont typeface="Wingdings" panose="05000000000000000000" pitchFamily="2" charset="2"/>
              <a:buChar char="§"/>
            </a:pPr>
            <a:r>
              <a:rPr lang="en-US"/>
              <a:t>On Call Environmental Site Remediation </a:t>
            </a:r>
          </a:p>
          <a:p>
            <a:pPr marL="342900" indent="-342900">
              <a:spcBef>
                <a:spcPts val="1800"/>
              </a:spcBef>
              <a:buFont typeface="Wingdings" panose="05000000000000000000" pitchFamily="2" charset="2"/>
              <a:buChar char="§"/>
            </a:pPr>
            <a:r>
              <a:rPr lang="en-US"/>
              <a:t>On Call Low Voltage Systems </a:t>
            </a:r>
          </a:p>
          <a:p>
            <a:pPr marL="342900" indent="-342900">
              <a:spcBef>
                <a:spcPts val="1800"/>
              </a:spcBef>
              <a:buFont typeface="Wingdings" panose="05000000000000000000" pitchFamily="2" charset="2"/>
              <a:buChar char="§"/>
            </a:pPr>
            <a:r>
              <a:rPr lang="en-US"/>
              <a:t>Integrated Project Management Support </a:t>
            </a:r>
          </a:p>
          <a:p>
            <a:pPr marL="342900" indent="-342900">
              <a:spcBef>
                <a:spcPts val="1800"/>
              </a:spcBef>
              <a:buFont typeface="Wingdings" panose="05000000000000000000" pitchFamily="2" charset="2"/>
              <a:buChar char="§"/>
            </a:pPr>
            <a:r>
              <a:rPr lang="en-US"/>
              <a:t>On Call Planning Services</a:t>
            </a:r>
          </a:p>
        </p:txBody>
      </p:sp>
      <p:pic>
        <p:nvPicPr>
          <p:cNvPr id="5" name="Picture 4">
            <a:extLst>
              <a:ext uri="{FF2B5EF4-FFF2-40B4-BE49-F238E27FC236}">
                <a16:creationId xmlns:a16="http://schemas.microsoft.com/office/drawing/2014/main" id="{D4248186-FF9D-B41B-13A3-37268BA0FA4E}"/>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1075" y="4464996"/>
            <a:ext cx="3354837" cy="2295667"/>
          </a:xfrm>
          <a:prstGeom prst="rect">
            <a:avLst/>
          </a:prstGeom>
        </p:spPr>
      </p:pic>
      <p:sp>
        <p:nvSpPr>
          <p:cNvPr id="4" name="Content Placeholder 3">
            <a:extLst>
              <a:ext uri="{FF2B5EF4-FFF2-40B4-BE49-F238E27FC236}">
                <a16:creationId xmlns:a16="http://schemas.microsoft.com/office/drawing/2014/main" id="{E83B1656-D278-EA46-B126-3F82EF490960}"/>
              </a:ext>
            </a:extLst>
          </p:cNvPr>
          <p:cNvSpPr>
            <a:spLocks noGrp="1"/>
          </p:cNvSpPr>
          <p:nvPr>
            <p:ph sz="quarter" idx="25"/>
          </p:nvPr>
        </p:nvSpPr>
        <p:spPr/>
        <p:txBody>
          <a:bodyPr/>
          <a:lstStyle/>
          <a:p>
            <a:pPr marL="0" indent="0">
              <a:buNone/>
            </a:pPr>
            <a:r>
              <a:rPr lang="en-US" b="1"/>
              <a:t>Future Opportunities at DEN</a:t>
            </a:r>
          </a:p>
          <a:p>
            <a:pPr marL="342900" indent="-342900">
              <a:spcBef>
                <a:spcPts val="1800"/>
              </a:spcBef>
              <a:buFont typeface="Wingdings" panose="05000000000000000000" pitchFamily="2" charset="2"/>
              <a:buChar char="§"/>
            </a:pPr>
            <a:r>
              <a:rPr lang="en-AU"/>
              <a:t>Program Management Services</a:t>
            </a:r>
          </a:p>
          <a:p>
            <a:pPr marL="342900" indent="-342900">
              <a:spcBef>
                <a:spcPts val="1800"/>
              </a:spcBef>
              <a:buFont typeface="Wingdings" panose="05000000000000000000" pitchFamily="2" charset="2"/>
              <a:buChar char="§"/>
            </a:pPr>
            <a:r>
              <a:rPr lang="en-US"/>
              <a:t>Airside and Landside Civil Design</a:t>
            </a:r>
          </a:p>
          <a:p>
            <a:pPr marL="342900" indent="-342900">
              <a:spcBef>
                <a:spcPts val="1800"/>
              </a:spcBef>
              <a:buFont typeface="Wingdings" panose="05000000000000000000" pitchFamily="2" charset="2"/>
              <a:buChar char="§"/>
            </a:pPr>
            <a:r>
              <a:rPr lang="en-US"/>
              <a:t>Architectural and Buildings Design</a:t>
            </a:r>
          </a:p>
          <a:p>
            <a:pPr marL="342900" indent="-342900">
              <a:spcBef>
                <a:spcPts val="1800"/>
              </a:spcBef>
              <a:buFont typeface="Wingdings" panose="05000000000000000000" pitchFamily="2" charset="2"/>
              <a:buChar char="§"/>
            </a:pPr>
            <a:r>
              <a:rPr lang="en-US"/>
              <a:t>Environmental Services</a:t>
            </a:r>
          </a:p>
          <a:p>
            <a:pPr marL="342900" indent="-342900">
              <a:spcBef>
                <a:spcPts val="1800"/>
              </a:spcBef>
              <a:buFont typeface="Wingdings" panose="05000000000000000000" pitchFamily="2" charset="2"/>
              <a:buChar char="§"/>
            </a:pPr>
            <a:r>
              <a:rPr lang="en-US"/>
              <a:t>Planning Services</a:t>
            </a:r>
          </a:p>
          <a:p>
            <a:pPr marL="342900" indent="-342900">
              <a:spcBef>
                <a:spcPts val="1800"/>
              </a:spcBef>
              <a:buFont typeface="Wingdings" panose="05000000000000000000" pitchFamily="2" charset="2"/>
              <a:buChar char="§"/>
            </a:pPr>
            <a:r>
              <a:rPr lang="en-US"/>
              <a:t>Energy</a:t>
            </a:r>
          </a:p>
          <a:p>
            <a:pPr marL="0" indent="0">
              <a:buNone/>
            </a:pPr>
            <a:endParaRPr lang="en-US"/>
          </a:p>
          <a:p>
            <a:pPr marL="0" indent="0">
              <a:buNone/>
            </a:pPr>
            <a:endParaRPr lang="en-US"/>
          </a:p>
        </p:txBody>
      </p:sp>
      <p:pic>
        <p:nvPicPr>
          <p:cNvPr id="6" name="Picture 5">
            <a:extLst>
              <a:ext uri="{FF2B5EF4-FFF2-40B4-BE49-F238E27FC236}">
                <a16:creationId xmlns:a16="http://schemas.microsoft.com/office/drawing/2014/main" id="{A56EAB28-836D-91F4-40FB-5BC808E60414}"/>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57452" y="4464996"/>
            <a:ext cx="3171540" cy="2171151"/>
          </a:xfrm>
          <a:prstGeom prst="rect">
            <a:avLst/>
          </a:prstGeom>
        </p:spPr>
      </p:pic>
    </p:spTree>
    <p:extLst>
      <p:ext uri="{BB962C8B-B14F-4D97-AF65-F5344CB8AC3E}">
        <p14:creationId xmlns:p14="http://schemas.microsoft.com/office/powerpoint/2010/main" val="1086540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Taking Flight at DEN  - Monthly event showcasing multiple procurement opportunities, set for the 2nd Thursday of each month at 1 p.m.&#10;&#10;Taking Flight at DEN is our monthly outreach event that features multiple procurement opportunities. This event:&#10;is a Proactive approach for DEN internal teams&#10;Features multiple projects&#10;Creates a space for sharing projects with long lead times and multiple status updates&#10;Encourages networking and partnership building&#10;&#10;Please go to https://www.eventbrite.com/o/doing-business-at-den-8527643555 for the event calendar. ">
            <a:extLst>
              <a:ext uri="{FF2B5EF4-FFF2-40B4-BE49-F238E27FC236}">
                <a16:creationId xmlns:a16="http://schemas.microsoft.com/office/drawing/2014/main" id="{B455FA32-8B70-D63B-1F0E-56E58B93AFC1}"/>
              </a:ext>
              <a:ext uri="{C183D7F6-B498-43B3-948B-1728B52AA6E4}">
                <adec:decorative xmlns:adec="http://schemas.microsoft.com/office/drawing/2017/decorative" val="0"/>
              </a:ext>
            </a:extLst>
          </p:cNvPr>
          <p:cNvSpPr>
            <a:spLocks noGrp="1"/>
          </p:cNvSpPr>
          <p:nvPr>
            <p:ph type="title" idx="4294967295"/>
          </p:nvPr>
        </p:nvSpPr>
        <p:spPr>
          <a:xfrm>
            <a:off x="769938" y="499829"/>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440099"/>
                </a:solidFill>
                <a:effectLst/>
                <a:uLnTx/>
                <a:uFillTx/>
                <a:latin typeface="+mn-lt"/>
                <a:ea typeface="+mn-ea"/>
                <a:cs typeface="+mn-cs"/>
              </a:rPr>
              <a:t>Taking Flight at DEN </a:t>
            </a:r>
          </a:p>
        </p:txBody>
      </p:sp>
      <p:sp>
        <p:nvSpPr>
          <p:cNvPr id="16" name="Text Placeholder 15">
            <a:extLst>
              <a:ext uri="{FF2B5EF4-FFF2-40B4-BE49-F238E27FC236}">
                <a16:creationId xmlns:a16="http://schemas.microsoft.com/office/drawing/2014/main" id="{CACCCF1E-087D-6539-AC02-491F1A38527B}"/>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9" name="Text Placeholder 8" descr="Monthly event showcasing multiple procurement opportunities, set for the 2nd Thursday of each month at 1 p.m.&#10;&#10;January 8&#10;February 12&#10;March 12&#10;April 9&#10;May 14&#10;June 11&#10;July 9&#10;August 13&#10;September 10&#10;October 8&#10;November 12&#10;December 11">
            <a:extLst>
              <a:ext uri="{FF2B5EF4-FFF2-40B4-BE49-F238E27FC236}">
                <a16:creationId xmlns:a16="http://schemas.microsoft.com/office/drawing/2014/main" id="{33E76785-83AF-EDB4-F909-25B4EBEBB89B}"/>
              </a:ext>
              <a:ext uri="{C183D7F6-B498-43B3-948B-1728B52AA6E4}">
                <adec:decorative xmlns:adec="http://schemas.microsoft.com/office/drawing/2017/decorative" val="0"/>
              </a:ext>
            </a:extLst>
          </p:cNvPr>
          <p:cNvSpPr>
            <a:spLocks noGrp="1"/>
          </p:cNvSpPr>
          <p:nvPr>
            <p:ph type="body" sz="quarter" idx="14"/>
          </p:nvPr>
        </p:nvSpPr>
        <p:spPr>
          <a:xfrm>
            <a:off x="769938" y="1504564"/>
            <a:ext cx="8260940" cy="3930649"/>
          </a:xfrm>
        </p:spPr>
        <p:txBody>
          <a:bodyPr lIns="91440" tIns="45720" rIns="91440" bIns="45720" anchor="t"/>
          <a:lstStyle/>
          <a:p>
            <a:pPr marL="0" indent="0">
              <a:spcBef>
                <a:spcPts val="0"/>
              </a:spcBef>
              <a:buClr>
                <a:srgbClr val="E35B2A"/>
              </a:buClr>
              <a:buNone/>
              <a:tabLst>
                <a:tab pos="457200" algn="l"/>
              </a:tabLst>
            </a:pPr>
            <a:r>
              <a:rPr lang="en-US" sz="2000" b="1"/>
              <a:t>Monthly event showcasing multiple procurement opportunities, set for the 2nd Thursday of each month at 1 p.m.</a:t>
            </a:r>
          </a:p>
          <a:p>
            <a:pPr marL="0" indent="0">
              <a:spcBef>
                <a:spcPts val="0"/>
              </a:spcBef>
              <a:buClr>
                <a:srgbClr val="E35B2A"/>
              </a:buClr>
              <a:buNone/>
              <a:tabLst>
                <a:tab pos="457200" algn="l"/>
              </a:tabLst>
            </a:pPr>
            <a:endParaRPr lang="en-US" sz="2000">
              <a:solidFill>
                <a:schemeClr val="tx1"/>
              </a:solidFill>
              <a:cs typeface="Calibri"/>
            </a:endParaRPr>
          </a:p>
          <a:p>
            <a:pPr>
              <a:spcBef>
                <a:spcPts val="0"/>
              </a:spcBef>
              <a:buClr>
                <a:srgbClr val="E35B2A"/>
              </a:buClr>
              <a:tabLst>
                <a:tab pos="457200" algn="l"/>
              </a:tabLst>
            </a:pPr>
            <a:r>
              <a:rPr lang="en-US" sz="2000">
                <a:solidFill>
                  <a:schemeClr val="tx1"/>
                </a:solidFill>
                <a:cs typeface="Calibri"/>
              </a:rPr>
              <a:t>January 8</a:t>
            </a:r>
            <a:endParaRPr lang="en-US" sz="2000">
              <a:solidFill>
                <a:schemeClr val="tx1"/>
              </a:solidFill>
              <a:ea typeface="Calibri"/>
              <a:cs typeface="Calibri"/>
            </a:endParaRPr>
          </a:p>
          <a:p>
            <a:pPr marL="285750" lvl="1" indent="-285750">
              <a:lnSpc>
                <a:spcPct val="100000"/>
              </a:lnSpc>
              <a:spcBef>
                <a:spcPts val="0"/>
              </a:spcBef>
              <a:buClr>
                <a:srgbClr val="E35B2A"/>
              </a:buClr>
              <a:buSzPct val="110000"/>
              <a:tabLst>
                <a:tab pos="457200" algn="l"/>
              </a:tabLst>
            </a:pPr>
            <a:r>
              <a:rPr lang="en-US" sz="2000">
                <a:ea typeface="Calibri"/>
                <a:cs typeface="Calibri"/>
              </a:rPr>
              <a:t>February 12</a:t>
            </a:r>
          </a:p>
          <a:p>
            <a:pPr>
              <a:spcBef>
                <a:spcPts val="0"/>
              </a:spcBef>
              <a:buClr>
                <a:srgbClr val="E35B2A"/>
              </a:buClr>
              <a:tabLst>
                <a:tab pos="457200" algn="l"/>
              </a:tabLst>
            </a:pPr>
            <a:r>
              <a:rPr lang="en-US" sz="2000">
                <a:solidFill>
                  <a:schemeClr val="tx1"/>
                </a:solidFill>
                <a:ea typeface="Calibri"/>
                <a:cs typeface="Calibri"/>
              </a:rPr>
              <a:t>March 12</a:t>
            </a:r>
          </a:p>
          <a:p>
            <a:pPr marL="285750" lvl="1" indent="-285750">
              <a:lnSpc>
                <a:spcPct val="100000"/>
              </a:lnSpc>
              <a:spcBef>
                <a:spcPts val="0"/>
              </a:spcBef>
              <a:buClr>
                <a:srgbClr val="E35B2A"/>
              </a:buClr>
              <a:buSzPct val="110000"/>
              <a:tabLst>
                <a:tab pos="457200" algn="l"/>
              </a:tabLst>
            </a:pPr>
            <a:r>
              <a:rPr lang="en-US" sz="2000">
                <a:ea typeface="Calibri"/>
                <a:cs typeface="Calibri"/>
              </a:rPr>
              <a:t>April 9</a:t>
            </a:r>
          </a:p>
          <a:p>
            <a:pPr>
              <a:spcBef>
                <a:spcPts val="0"/>
              </a:spcBef>
              <a:buClr>
                <a:srgbClr val="E35B2A"/>
              </a:buClr>
              <a:tabLst>
                <a:tab pos="457200" algn="l"/>
              </a:tabLst>
            </a:pPr>
            <a:r>
              <a:rPr lang="en-US" sz="2000">
                <a:solidFill>
                  <a:schemeClr val="tx1"/>
                </a:solidFill>
                <a:ea typeface="Calibri"/>
                <a:cs typeface="Calibri"/>
              </a:rPr>
              <a:t>May 14</a:t>
            </a:r>
          </a:p>
          <a:p>
            <a:pPr>
              <a:spcBef>
                <a:spcPts val="0"/>
              </a:spcBef>
              <a:buClr>
                <a:srgbClr val="E35B2A"/>
              </a:buClr>
              <a:tabLst>
                <a:tab pos="457200" algn="l"/>
              </a:tabLst>
            </a:pPr>
            <a:r>
              <a:rPr lang="en-US" sz="2000">
                <a:solidFill>
                  <a:schemeClr val="tx1"/>
                </a:solidFill>
                <a:ea typeface="Calibri"/>
                <a:cs typeface="Calibri"/>
              </a:rPr>
              <a:t>June 11</a:t>
            </a:r>
          </a:p>
          <a:p>
            <a:pPr>
              <a:spcBef>
                <a:spcPts val="0"/>
              </a:spcBef>
              <a:buClr>
                <a:srgbClr val="E35B2A"/>
              </a:buClr>
              <a:tabLst>
                <a:tab pos="457200" algn="l"/>
              </a:tabLst>
            </a:pPr>
            <a:r>
              <a:rPr lang="en-US" sz="2000">
                <a:solidFill>
                  <a:schemeClr val="tx1"/>
                </a:solidFill>
                <a:ea typeface="Calibri"/>
                <a:cs typeface="Calibri"/>
              </a:rPr>
              <a:t>July 9</a:t>
            </a:r>
          </a:p>
          <a:p>
            <a:pPr>
              <a:spcBef>
                <a:spcPts val="0"/>
              </a:spcBef>
              <a:buClr>
                <a:srgbClr val="E35B2A"/>
              </a:buClr>
              <a:tabLst>
                <a:tab pos="457200" algn="l"/>
              </a:tabLst>
            </a:pPr>
            <a:r>
              <a:rPr lang="en-US" sz="2000">
                <a:solidFill>
                  <a:schemeClr val="tx1"/>
                </a:solidFill>
                <a:ea typeface="Calibri"/>
                <a:cs typeface="Calibri"/>
              </a:rPr>
              <a:t>August 13</a:t>
            </a:r>
          </a:p>
          <a:p>
            <a:pPr>
              <a:spcBef>
                <a:spcPts val="0"/>
              </a:spcBef>
              <a:buClr>
                <a:srgbClr val="E35B2A"/>
              </a:buClr>
              <a:tabLst>
                <a:tab pos="457200" algn="l"/>
              </a:tabLst>
            </a:pPr>
            <a:r>
              <a:rPr lang="en-US" sz="2000">
                <a:solidFill>
                  <a:schemeClr val="tx1"/>
                </a:solidFill>
                <a:ea typeface="Calibri"/>
                <a:cs typeface="Calibri"/>
              </a:rPr>
              <a:t>September 10</a:t>
            </a:r>
          </a:p>
          <a:p>
            <a:pPr>
              <a:spcBef>
                <a:spcPts val="0"/>
              </a:spcBef>
              <a:buClr>
                <a:srgbClr val="E35B2A"/>
              </a:buClr>
              <a:tabLst>
                <a:tab pos="457200" algn="l"/>
              </a:tabLst>
            </a:pPr>
            <a:r>
              <a:rPr lang="en-US" sz="2000">
                <a:solidFill>
                  <a:schemeClr val="tx1"/>
                </a:solidFill>
                <a:ea typeface="Calibri"/>
                <a:cs typeface="Calibri"/>
              </a:rPr>
              <a:t>October 8</a:t>
            </a:r>
          </a:p>
          <a:p>
            <a:pPr>
              <a:spcBef>
                <a:spcPts val="0"/>
              </a:spcBef>
              <a:buClr>
                <a:srgbClr val="E35B2A"/>
              </a:buClr>
              <a:tabLst>
                <a:tab pos="457200" algn="l"/>
              </a:tabLst>
            </a:pPr>
            <a:r>
              <a:rPr lang="en-US" sz="2000">
                <a:solidFill>
                  <a:schemeClr val="tx1"/>
                </a:solidFill>
                <a:cs typeface="Calibri"/>
              </a:rPr>
              <a:t>November 12</a:t>
            </a:r>
            <a:endParaRPr lang="en-US" sz="2000">
              <a:solidFill>
                <a:schemeClr val="tx1"/>
              </a:solidFill>
              <a:ea typeface="Calibri"/>
              <a:cs typeface="Calibri"/>
            </a:endParaRPr>
          </a:p>
          <a:p>
            <a:pPr>
              <a:spcBef>
                <a:spcPts val="0"/>
              </a:spcBef>
              <a:buClr>
                <a:srgbClr val="E35B2A"/>
              </a:buClr>
              <a:tabLst>
                <a:tab pos="457200" algn="l"/>
              </a:tabLst>
            </a:pPr>
            <a:r>
              <a:rPr lang="en-US" sz="2000">
                <a:solidFill>
                  <a:schemeClr val="tx1"/>
                </a:solidFill>
                <a:ea typeface="Calibri"/>
                <a:cs typeface="Calibri"/>
              </a:rPr>
              <a:t>December 11</a:t>
            </a:r>
          </a:p>
        </p:txBody>
      </p:sp>
      <p:pic>
        <p:nvPicPr>
          <p:cNvPr id="26" name="Picture Placeholder 25" descr="Rear view of an airplane on a runway with a purple color overlay.">
            <a:extLst>
              <a:ext uri="{FF2B5EF4-FFF2-40B4-BE49-F238E27FC236}">
                <a16:creationId xmlns:a16="http://schemas.microsoft.com/office/drawing/2014/main" id="{8BCCD56F-F259-B481-81CA-3DA97C28CA79}"/>
              </a:ext>
              <a:ext uri="{C183D7F6-B498-43B3-948B-1728B52AA6E4}">
                <adec:decorative xmlns:adec="http://schemas.microsoft.com/office/drawing/2017/decorative" val="0"/>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b="-603"/>
          <a:stretch/>
        </p:blipFill>
        <p:spPr>
          <a:xfrm>
            <a:off x="8741057" y="0"/>
            <a:ext cx="3450943" cy="6939778"/>
          </a:xfrm>
        </p:spPr>
      </p:pic>
      <p:pic>
        <p:nvPicPr>
          <p:cNvPr id="2" name="Picture 2" descr="A qr code to redirect to Eventbrite.com to follow DEN for upcoming events.  https://www.eventbrite.com/o/do-business-with-den-8527643555">
            <a:extLst>
              <a:ext uri="{FF2B5EF4-FFF2-40B4-BE49-F238E27FC236}">
                <a16:creationId xmlns:a16="http://schemas.microsoft.com/office/drawing/2014/main" id="{7DD88E87-D637-326E-3DCD-CFB06D9629CB}"/>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842801" y="5693276"/>
            <a:ext cx="742882" cy="742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9465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4FDC4E-DF76-3442-8264-D13904F7DE4E}"/>
              </a:ext>
            </a:extLst>
          </p:cNvPr>
          <p:cNvSpPr>
            <a:spLocks noGrp="1"/>
          </p:cNvSpPr>
          <p:nvPr>
            <p:ph type="title"/>
          </p:nvPr>
        </p:nvSpPr>
        <p:spPr>
          <a:xfrm>
            <a:off x="263525" y="438912"/>
            <a:ext cx="11658600" cy="627308"/>
          </a:xfrm>
          <a:prstGeom prst="rect">
            <a:avLst/>
          </a:prstGeom>
        </p:spPr>
        <p:txBody>
          <a:bodyPr/>
          <a:lstStyle/>
          <a:p>
            <a:r>
              <a:rPr lang="en-US"/>
              <a:t>Supplier Diversity/Small Business Program</a:t>
            </a:r>
          </a:p>
        </p:txBody>
      </p:sp>
      <p:pic>
        <p:nvPicPr>
          <p:cNvPr id="4" name="Picture 3" descr="Supplier Diversity/Small Business Program screenshot">
            <a:extLst>
              <a:ext uri="{FF2B5EF4-FFF2-40B4-BE49-F238E27FC236}">
                <a16:creationId xmlns:a16="http://schemas.microsoft.com/office/drawing/2014/main" id="{BE424074-2E1A-52FF-10B4-412C75BBAF6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263525" y="1089025"/>
            <a:ext cx="10334371" cy="5676392"/>
          </a:xfrm>
          <a:prstGeom prst="rect">
            <a:avLst/>
          </a:prstGeom>
          <a:ln>
            <a:noFill/>
          </a:ln>
          <a:effectLst>
            <a:softEdge rad="112500"/>
          </a:effectLst>
        </p:spPr>
      </p:pic>
    </p:spTree>
    <p:extLst>
      <p:ext uri="{BB962C8B-B14F-4D97-AF65-F5344CB8AC3E}">
        <p14:creationId xmlns:p14="http://schemas.microsoft.com/office/powerpoint/2010/main" val="1251942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109E25-EB69-D046-BCBC-04F43DD83C06}"/>
              </a:ext>
              <a:ext uri="{C183D7F6-B498-43B3-948B-1728B52AA6E4}">
                <adec:decorative xmlns:adec="http://schemas.microsoft.com/office/drawing/2017/decorative" val="0"/>
              </a:ext>
            </a:extLst>
          </p:cNvPr>
          <p:cNvSpPr>
            <a:spLocks noGrp="1"/>
          </p:cNvSpPr>
          <p:nvPr>
            <p:ph type="title"/>
          </p:nvPr>
        </p:nvSpPr>
        <p:spPr/>
        <p:txBody>
          <a:bodyPr/>
          <a:lstStyle/>
          <a:p>
            <a:r>
              <a:rPr lang="en-US"/>
              <a:t>Important Contacts</a:t>
            </a:r>
          </a:p>
        </p:txBody>
      </p:sp>
      <p:sp>
        <p:nvSpPr>
          <p:cNvPr id="10" name="Rectangle 9">
            <a:extLst>
              <a:ext uri="{FF2B5EF4-FFF2-40B4-BE49-F238E27FC236}">
                <a16:creationId xmlns:a16="http://schemas.microsoft.com/office/drawing/2014/main" id="{FE953BFE-FB6D-C946-A2D8-0FEAB058DFBB}"/>
              </a:ext>
              <a:ext uri="{C183D7F6-B498-43B3-948B-1728B52AA6E4}">
                <adec:decorative xmlns:adec="http://schemas.microsoft.com/office/drawing/2017/decorative" val="1"/>
              </a:ext>
            </a:extLst>
          </p:cNvPr>
          <p:cNvSpPr/>
          <p:nvPr/>
        </p:nvSpPr>
        <p:spPr>
          <a:xfrm>
            <a:off x="638653" y="136992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1</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17DC6835-0175-5B46-8CF3-F4B079F6C784}"/>
              </a:ext>
            </a:extLst>
          </p:cNvPr>
          <p:cNvSpPr txBox="1"/>
          <p:nvPr/>
        </p:nvSpPr>
        <p:spPr>
          <a:xfrm>
            <a:off x="1329605" y="1484313"/>
            <a:ext cx="2853116" cy="1046440"/>
          </a:xfrm>
          <a:prstGeom prst="rect">
            <a:avLst/>
          </a:prstGeom>
          <a:noFill/>
        </p:spPr>
        <p:txBody>
          <a:bodyPr wrap="square" lIns="0" tIns="0" rIns="0" bIns="0" rtlCol="0">
            <a:spAutoFit/>
          </a:bodyPr>
          <a:lstStyle/>
          <a:p>
            <a:r>
              <a:rPr lang="en-GB" b="1">
                <a:latin typeface="Arial" panose="020B0604020202020204" pitchFamily="34" charset="0"/>
                <a:ea typeface="AECOM Sans" panose="020B0504020202020204" pitchFamily="34" charset="0"/>
                <a:cs typeface="Arial" panose="020B0604020202020204" pitchFamily="34" charset="0"/>
              </a:rPr>
              <a:t>Jeffrey Warkoski</a:t>
            </a:r>
          </a:p>
          <a:p>
            <a:r>
              <a:rPr lang="en-GB">
                <a:latin typeface="Arial" panose="020B0604020202020204" pitchFamily="34" charset="0"/>
                <a:ea typeface="AECOM Sans Light" panose="020B0404020202020204" pitchFamily="34" charset="0"/>
                <a:cs typeface="Arial" panose="020B0604020202020204" pitchFamily="34" charset="0"/>
              </a:rPr>
              <a:t>Aviation </a:t>
            </a:r>
            <a:r>
              <a:rPr lang="en-GB" sz="1600">
                <a:latin typeface="Arial" panose="020B0604020202020204" pitchFamily="34" charset="0"/>
                <a:ea typeface="AECOM Sans Light" panose="020B0404020202020204" pitchFamily="34" charset="0"/>
                <a:cs typeface="Arial" panose="020B0604020202020204" pitchFamily="34" charset="0"/>
                <a:hlinkClick r:id="rId3"/>
              </a:rPr>
              <a:t>Jeffrey.Warkoski@aecom.com</a:t>
            </a:r>
            <a:endParaRPr lang="en-GB" sz="1600">
              <a:latin typeface="Arial" panose="020B0604020202020204" pitchFamily="34" charset="0"/>
              <a:ea typeface="AECOM Sans Light" panose="020B0404020202020204" pitchFamily="34" charset="0"/>
              <a:cs typeface="Arial" panose="020B0604020202020204" pitchFamily="34" charset="0"/>
            </a:endParaRPr>
          </a:p>
          <a:p>
            <a:endParaRPr lang="en-US" sz="1600">
              <a:solidFill>
                <a:schemeClr val="accent2"/>
              </a:solidFill>
              <a:latin typeface="Arial" panose="020B0604020202020204" pitchFamily="34" charset="0"/>
              <a:ea typeface="AECOM Sans Light" panose="020B0404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1CA38C76-5453-244F-B3D4-F215003F94AD}"/>
              </a:ext>
              <a:ext uri="{C183D7F6-B498-43B3-948B-1728B52AA6E4}">
                <adec:decorative xmlns:adec="http://schemas.microsoft.com/office/drawing/2017/decorative" val="1"/>
              </a:ext>
            </a:extLst>
          </p:cNvPr>
          <p:cNvCxnSpPr>
            <a:cxnSpLocks/>
          </p:cNvCxnSpPr>
          <p:nvPr/>
        </p:nvCxnSpPr>
        <p:spPr>
          <a:xfrm>
            <a:off x="4360716" y="1484313"/>
            <a:ext cx="0" cy="194468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E518431-C3A3-774C-8B85-90D1F0BFAF8E}"/>
              </a:ext>
              <a:ext uri="{C183D7F6-B498-43B3-948B-1728B52AA6E4}">
                <adec:decorative xmlns:adec="http://schemas.microsoft.com/office/drawing/2017/decorative" val="1"/>
              </a:ext>
            </a:extLst>
          </p:cNvPr>
          <p:cNvSpPr/>
          <p:nvPr/>
        </p:nvSpPr>
        <p:spPr>
          <a:xfrm>
            <a:off x="4670902" y="136992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2</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5C5E98A-328E-FA44-A0E5-8E8D38E0B269}"/>
              </a:ext>
            </a:extLst>
          </p:cNvPr>
          <p:cNvSpPr txBox="1"/>
          <p:nvPr/>
        </p:nvSpPr>
        <p:spPr>
          <a:xfrm>
            <a:off x="5351822" y="1484313"/>
            <a:ext cx="2378795" cy="800219"/>
          </a:xfrm>
          <a:prstGeom prst="rect">
            <a:avLst/>
          </a:prstGeom>
          <a:noFill/>
        </p:spPr>
        <p:txBody>
          <a:bodyPr wrap="square" lIns="0" tIns="0" rIns="0" bIns="0" rtlCol="0" anchor="t">
            <a:spAutoFit/>
          </a:bodyPr>
          <a:lstStyle/>
          <a:p>
            <a:r>
              <a:rPr lang="en-GB" b="1">
                <a:latin typeface="Arial" panose="020B0604020202020204" pitchFamily="34" charset="0"/>
                <a:ea typeface="AECOM Sans" panose="020B0504020202020204" pitchFamily="34" charset="0"/>
                <a:cs typeface="Arial" panose="020B0604020202020204" pitchFamily="34" charset="0"/>
              </a:rPr>
              <a:t>Grace Rink</a:t>
            </a:r>
          </a:p>
          <a:p>
            <a:r>
              <a:rPr lang="en-GB">
                <a:latin typeface="Arial" panose="020B0604020202020204" pitchFamily="34" charset="0"/>
                <a:ea typeface="AECOM Sans Light" panose="020B0404020202020204" pitchFamily="34" charset="0"/>
                <a:cs typeface="Arial" panose="020B0604020202020204" pitchFamily="34" charset="0"/>
              </a:rPr>
              <a:t>Energy Lead</a:t>
            </a:r>
          </a:p>
          <a:p>
            <a:r>
              <a:rPr lang="en-GB" sz="1600">
                <a:latin typeface="Arial"/>
                <a:ea typeface="AECOM Sans Light" panose="020B0404020202020204" pitchFamily="34" charset="0"/>
                <a:cs typeface="Arial"/>
                <a:hlinkClick r:id="rId4"/>
              </a:rPr>
              <a:t>Grace.Rink@aecom.com</a:t>
            </a:r>
            <a:endParaRPr lang="en-GB" sz="1600">
              <a:latin typeface="Arial"/>
              <a:ea typeface="AECOM Sans Light" panose="020B0404020202020204" pitchFamily="34" charset="0"/>
              <a:cs typeface="Arial"/>
            </a:endParaRPr>
          </a:p>
        </p:txBody>
      </p:sp>
      <p:cxnSp>
        <p:nvCxnSpPr>
          <p:cNvPr id="41" name="Straight Connector 40">
            <a:extLst>
              <a:ext uri="{FF2B5EF4-FFF2-40B4-BE49-F238E27FC236}">
                <a16:creationId xmlns:a16="http://schemas.microsoft.com/office/drawing/2014/main" id="{C5401C6F-DC9F-F94A-942B-CC2EAC45BB2E}"/>
              </a:ext>
              <a:ext uri="{C183D7F6-B498-43B3-948B-1728B52AA6E4}">
                <adec:decorative xmlns:adec="http://schemas.microsoft.com/office/drawing/2017/decorative" val="1"/>
              </a:ext>
            </a:extLst>
          </p:cNvPr>
          <p:cNvCxnSpPr>
            <a:cxnSpLocks/>
          </p:cNvCxnSpPr>
          <p:nvPr/>
        </p:nvCxnSpPr>
        <p:spPr>
          <a:xfrm>
            <a:off x="8392966" y="1484313"/>
            <a:ext cx="0" cy="1969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5703C0F-2064-264C-B3D3-EBE2327347E2}"/>
              </a:ext>
              <a:ext uri="{C183D7F6-B498-43B3-948B-1728B52AA6E4}">
                <adec:decorative xmlns:adec="http://schemas.microsoft.com/office/drawing/2017/decorative" val="1"/>
              </a:ext>
            </a:extLst>
          </p:cNvPr>
          <p:cNvSpPr/>
          <p:nvPr/>
        </p:nvSpPr>
        <p:spPr>
          <a:xfrm>
            <a:off x="8683084" y="136992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3</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2E42B1D2-D29E-FE4F-B461-EFF83B10448E}"/>
              </a:ext>
            </a:extLst>
          </p:cNvPr>
          <p:cNvSpPr txBox="1"/>
          <p:nvPr/>
        </p:nvSpPr>
        <p:spPr>
          <a:xfrm>
            <a:off x="9374039" y="1484313"/>
            <a:ext cx="2818031" cy="800219"/>
          </a:xfrm>
          <a:prstGeom prst="rect">
            <a:avLst/>
          </a:prstGeom>
          <a:noFill/>
        </p:spPr>
        <p:txBody>
          <a:bodyPr wrap="square" lIns="0" tIns="0" rIns="0" bIns="0" rtlCol="0" anchor="t">
            <a:spAutoFit/>
          </a:bodyPr>
          <a:lstStyle/>
          <a:p>
            <a:r>
              <a:rPr lang="en-GB" b="1">
                <a:latin typeface="Arial" panose="020B0604020202020204" pitchFamily="34" charset="0"/>
                <a:ea typeface="AECOM Sans" panose="020B0504020202020204" pitchFamily="34" charset="0"/>
                <a:cs typeface="Arial" panose="020B0604020202020204" pitchFamily="34" charset="0"/>
              </a:rPr>
              <a:t>Jason Sielcken</a:t>
            </a:r>
          </a:p>
          <a:p>
            <a:r>
              <a:rPr lang="en-GB">
                <a:latin typeface="Arial" panose="020B0604020202020204" pitchFamily="34" charset="0"/>
                <a:ea typeface="AECOM Sans Light" panose="020B0404020202020204" pitchFamily="34" charset="0"/>
                <a:cs typeface="Arial" panose="020B0604020202020204" pitchFamily="34" charset="0"/>
              </a:rPr>
              <a:t>Buildings + Places </a:t>
            </a:r>
            <a:r>
              <a:rPr lang="en-GB" sz="1600">
                <a:latin typeface="Arial" panose="020B0604020202020204" pitchFamily="34" charset="0"/>
                <a:ea typeface="AECOM Sans Light" panose="020B0404020202020204" pitchFamily="34" charset="0"/>
                <a:cs typeface="Arial" panose="020B0604020202020204" pitchFamily="34" charset="0"/>
                <a:hlinkClick r:id="rId5"/>
              </a:rPr>
              <a:t>Jason.Sielcken@aecom.com</a:t>
            </a:r>
            <a:endParaRPr lang="en-US" sz="1600">
              <a:solidFill>
                <a:schemeClr val="accent2"/>
              </a:solidFill>
              <a:latin typeface="Arial" panose="020B0604020202020204" pitchFamily="34" charset="0"/>
              <a:ea typeface="AECOM Sans Light" panose="020B04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E202A5B-60D8-674E-9BDF-82DA475DC7BC}"/>
              </a:ext>
              <a:ext uri="{C183D7F6-B498-43B3-948B-1728B52AA6E4}">
                <adec:decorative xmlns:adec="http://schemas.microsoft.com/office/drawing/2017/decorative" val="1"/>
              </a:ext>
            </a:extLst>
          </p:cNvPr>
          <p:cNvSpPr/>
          <p:nvPr/>
        </p:nvSpPr>
        <p:spPr>
          <a:xfrm>
            <a:off x="648685" y="396506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4</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72E2B769-D2FB-2F4E-84B2-BFE0CC8B85EE}"/>
              </a:ext>
            </a:extLst>
          </p:cNvPr>
          <p:cNvSpPr txBox="1"/>
          <p:nvPr/>
        </p:nvSpPr>
        <p:spPr>
          <a:xfrm>
            <a:off x="1329605" y="4066024"/>
            <a:ext cx="2678946" cy="800219"/>
          </a:xfrm>
          <a:prstGeom prst="rect">
            <a:avLst/>
          </a:prstGeom>
          <a:noFill/>
        </p:spPr>
        <p:txBody>
          <a:bodyPr wrap="square" lIns="0" tIns="0" rIns="0" bIns="0" rtlCol="0">
            <a:spAutoFit/>
          </a:bodyPr>
          <a:lstStyle/>
          <a:p>
            <a:r>
              <a:rPr lang="en-GB" b="1">
                <a:latin typeface="Arial" panose="020B0604020202020204" pitchFamily="34" charset="0"/>
                <a:ea typeface="AECOM Sans" panose="020B0504020202020204" pitchFamily="34" charset="0"/>
                <a:cs typeface="Arial" panose="020B0604020202020204" pitchFamily="34" charset="0"/>
              </a:rPr>
              <a:t>Kyle Williams</a:t>
            </a:r>
          </a:p>
          <a:p>
            <a:r>
              <a:rPr lang="en-GB">
                <a:latin typeface="Arial" panose="020B0604020202020204" pitchFamily="34" charset="0"/>
                <a:ea typeface="AECOM Sans Light" panose="020B0404020202020204" pitchFamily="34" charset="0"/>
                <a:cs typeface="Arial" panose="020B0604020202020204" pitchFamily="34" charset="0"/>
              </a:rPr>
              <a:t>Digital Lead</a:t>
            </a:r>
          </a:p>
          <a:p>
            <a:r>
              <a:rPr lang="en-GB" sz="1600">
                <a:latin typeface="Arial" panose="020B0604020202020204" pitchFamily="34" charset="0"/>
                <a:ea typeface="AECOM Sans Light" panose="020B0404020202020204" pitchFamily="34" charset="0"/>
                <a:cs typeface="Arial" panose="020B0604020202020204" pitchFamily="34" charset="0"/>
                <a:hlinkClick r:id="rId6"/>
              </a:rPr>
              <a:t>Kyle.Williams2@aecom.com</a:t>
            </a:r>
            <a:endParaRPr lang="en-US" sz="1600">
              <a:solidFill>
                <a:schemeClr val="accent2"/>
              </a:solidFill>
              <a:latin typeface="Arial" panose="020B0604020202020204" pitchFamily="34" charset="0"/>
              <a:ea typeface="AECOM Sans Light" panose="020B04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370AF033-9DAE-454C-8C5F-E33A96506D90}"/>
              </a:ext>
              <a:ext uri="{C183D7F6-B498-43B3-948B-1728B52AA6E4}">
                <adec:decorative xmlns:adec="http://schemas.microsoft.com/office/drawing/2017/decorative" val="1"/>
              </a:ext>
            </a:extLst>
          </p:cNvPr>
          <p:cNvCxnSpPr>
            <a:cxnSpLocks/>
          </p:cNvCxnSpPr>
          <p:nvPr/>
        </p:nvCxnSpPr>
        <p:spPr>
          <a:xfrm>
            <a:off x="4360716" y="4066024"/>
            <a:ext cx="0" cy="194468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F30C0F-B451-8E4D-96C9-BA488756C0B9}"/>
              </a:ext>
              <a:ext uri="{C183D7F6-B498-43B3-948B-1728B52AA6E4}">
                <adec:decorative xmlns:adec="http://schemas.microsoft.com/office/drawing/2017/decorative" val="1"/>
              </a:ext>
            </a:extLst>
          </p:cNvPr>
          <p:cNvSpPr/>
          <p:nvPr/>
        </p:nvSpPr>
        <p:spPr>
          <a:xfrm>
            <a:off x="4670902" y="396506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5</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05B435D0-3B8F-3641-B7BB-31A505BE6C36}"/>
              </a:ext>
            </a:extLst>
          </p:cNvPr>
          <p:cNvSpPr txBox="1"/>
          <p:nvPr/>
        </p:nvSpPr>
        <p:spPr>
          <a:xfrm>
            <a:off x="5351822" y="4066024"/>
            <a:ext cx="2688973" cy="800219"/>
          </a:xfrm>
          <a:prstGeom prst="rect">
            <a:avLst/>
          </a:prstGeom>
          <a:noFill/>
        </p:spPr>
        <p:txBody>
          <a:bodyPr wrap="square" lIns="0" tIns="0" rIns="0" bIns="0" rtlCol="0">
            <a:spAutoFit/>
          </a:bodyPr>
          <a:lstStyle/>
          <a:p>
            <a:r>
              <a:rPr lang="en-GB" b="1">
                <a:latin typeface="Arial" panose="020B0604020202020204" pitchFamily="34" charset="0"/>
                <a:ea typeface="AECOM Sans" panose="020B0504020202020204" pitchFamily="34" charset="0"/>
                <a:cs typeface="Arial" panose="020B0604020202020204" pitchFamily="34" charset="0"/>
              </a:rPr>
              <a:t>Deanna Weber</a:t>
            </a:r>
          </a:p>
          <a:p>
            <a:r>
              <a:rPr lang="en-GB">
                <a:latin typeface="Arial" panose="020B0604020202020204" pitchFamily="34" charset="0"/>
                <a:ea typeface="AECOM Sans Light" panose="020B0404020202020204" pitchFamily="34" charset="0"/>
                <a:cs typeface="Arial" panose="020B0604020202020204" pitchFamily="34" charset="0"/>
              </a:rPr>
              <a:t>Sustainability Lead</a:t>
            </a:r>
          </a:p>
          <a:p>
            <a:r>
              <a:rPr lang="en-GB" sz="1600">
                <a:latin typeface="Arial" panose="020B0604020202020204" pitchFamily="34" charset="0"/>
                <a:ea typeface="AECOM Sans Light" panose="020B0404020202020204" pitchFamily="34" charset="0"/>
                <a:cs typeface="Arial" panose="020B0604020202020204" pitchFamily="34" charset="0"/>
                <a:hlinkClick r:id="rId7"/>
              </a:rPr>
              <a:t>Deanna.Weber@aecom.com</a:t>
            </a:r>
            <a:endParaRPr lang="en-US" sz="1600">
              <a:solidFill>
                <a:schemeClr val="accent2"/>
              </a:solidFill>
              <a:latin typeface="Arial" panose="020B0604020202020204" pitchFamily="34" charset="0"/>
              <a:ea typeface="AECOM Sans Light" panose="020B04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706B8499-B20F-C04D-806A-2C53BE2C6EE7}"/>
              </a:ext>
              <a:ext uri="{C183D7F6-B498-43B3-948B-1728B52AA6E4}">
                <adec:decorative xmlns:adec="http://schemas.microsoft.com/office/drawing/2017/decorative" val="1"/>
              </a:ext>
            </a:extLst>
          </p:cNvPr>
          <p:cNvCxnSpPr>
            <a:cxnSpLocks/>
          </p:cNvCxnSpPr>
          <p:nvPr/>
        </p:nvCxnSpPr>
        <p:spPr>
          <a:xfrm>
            <a:off x="8392966" y="4066024"/>
            <a:ext cx="0" cy="19697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8332B559-786C-3647-BD76-6E5893C4F286}"/>
              </a:ext>
              <a:ext uri="{C183D7F6-B498-43B3-948B-1728B52AA6E4}">
                <adec:decorative xmlns:adec="http://schemas.microsoft.com/office/drawing/2017/decorative" val="1"/>
              </a:ext>
            </a:extLst>
          </p:cNvPr>
          <p:cNvSpPr/>
          <p:nvPr/>
        </p:nvSpPr>
        <p:spPr>
          <a:xfrm>
            <a:off x="8683084" y="3965065"/>
            <a:ext cx="512961" cy="1107996"/>
          </a:xfrm>
          <a:prstGeom prst="rect">
            <a:avLst/>
          </a:prstGeom>
        </p:spPr>
        <p:txBody>
          <a:bodyPr wrap="none" lIns="0" tIns="0" rIns="0" bIns="0">
            <a:spAutoFit/>
          </a:bodyPr>
          <a:lstStyle/>
          <a:p>
            <a:r>
              <a:rPr lang="en-GB" sz="7200">
                <a:solidFill>
                  <a:schemeClr val="accent1"/>
                </a:solidFill>
                <a:latin typeface="Arial" panose="020B0604020202020204" pitchFamily="34" charset="0"/>
                <a:ea typeface="AECOM Sans" panose="020B0504020202020204" pitchFamily="34" charset="0"/>
                <a:cs typeface="Arial" panose="020B0604020202020204" pitchFamily="34" charset="0"/>
              </a:rPr>
              <a:t>6</a:t>
            </a:r>
            <a:endParaRPr lang="en-US" sz="7200">
              <a:solidFill>
                <a:schemeClr val="accent1"/>
              </a:solidFill>
              <a:latin typeface="Arial" panose="020B0604020202020204" pitchFamily="34" charset="0"/>
              <a:ea typeface="AECOM Sans" panose="020B05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386955BE-3E40-924A-925F-5E5BC73B6A6F}"/>
              </a:ext>
            </a:extLst>
          </p:cNvPr>
          <p:cNvSpPr txBox="1"/>
          <p:nvPr/>
        </p:nvSpPr>
        <p:spPr>
          <a:xfrm>
            <a:off x="9374039" y="4066024"/>
            <a:ext cx="2817961" cy="800219"/>
          </a:xfrm>
          <a:prstGeom prst="rect">
            <a:avLst/>
          </a:prstGeom>
          <a:noFill/>
        </p:spPr>
        <p:txBody>
          <a:bodyPr wrap="square" lIns="0" tIns="0" rIns="0" bIns="0" rtlCol="0">
            <a:spAutoFit/>
          </a:bodyPr>
          <a:lstStyle/>
          <a:p>
            <a:r>
              <a:rPr lang="en-GB" b="1">
                <a:latin typeface="Arial" panose="020B0604020202020204" pitchFamily="34" charset="0"/>
                <a:ea typeface="AECOM Sans" panose="020B0504020202020204" pitchFamily="34" charset="0"/>
                <a:cs typeface="Arial" panose="020B0604020202020204" pitchFamily="34" charset="0"/>
              </a:rPr>
              <a:t>Michelle Hoysick</a:t>
            </a:r>
          </a:p>
          <a:p>
            <a:r>
              <a:rPr lang="en-GB">
                <a:latin typeface="Arial" panose="020B0604020202020204" pitchFamily="34" charset="0"/>
                <a:ea typeface="AECOM Sans Light" panose="020B0404020202020204" pitchFamily="34" charset="0"/>
                <a:cs typeface="Arial" panose="020B0604020202020204" pitchFamily="34" charset="0"/>
              </a:rPr>
              <a:t>Surface Transportation </a:t>
            </a:r>
            <a:r>
              <a:rPr lang="en-GB" sz="1600">
                <a:latin typeface="Arial" panose="020B0604020202020204" pitchFamily="34" charset="0"/>
                <a:ea typeface="AECOM Sans Light" panose="020B0404020202020204" pitchFamily="34" charset="0"/>
                <a:cs typeface="Arial" panose="020B0604020202020204" pitchFamily="34" charset="0"/>
                <a:hlinkClick r:id="rId8"/>
              </a:rPr>
              <a:t>Michelle.Hoysick@aecom.com</a:t>
            </a:r>
            <a:endParaRPr lang="en-US" sz="1600">
              <a:solidFill>
                <a:schemeClr val="accent2"/>
              </a:solidFill>
              <a:latin typeface="Arial" panose="020B0604020202020204" pitchFamily="34" charset="0"/>
              <a:ea typeface="AECOM Sans Light" panose="020B0404020202020204" pitchFamily="34" charset="0"/>
              <a:cs typeface="Arial" panose="020B0604020202020204" pitchFamily="34" charset="0"/>
            </a:endParaRPr>
          </a:p>
        </p:txBody>
      </p:sp>
    </p:spTree>
    <p:extLst>
      <p:ext uri="{BB962C8B-B14F-4D97-AF65-F5344CB8AC3E}">
        <p14:creationId xmlns:p14="http://schemas.microsoft.com/office/powerpoint/2010/main" val="9588959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9C4C18-003B-CD56-368C-DABE2B6C292A}"/>
              </a:ext>
            </a:extLst>
          </p:cNvPr>
          <p:cNvSpPr>
            <a:spLocks noGrp="1"/>
          </p:cNvSpPr>
          <p:nvPr>
            <p:ph type="title"/>
          </p:nvPr>
        </p:nvSpPr>
        <p:spPr>
          <a:xfrm>
            <a:off x="376354" y="373748"/>
            <a:ext cx="4853974" cy="1017916"/>
          </a:xfrm>
        </p:spPr>
        <p:txBody>
          <a:bodyPr/>
          <a:lstStyle/>
          <a:p>
            <a:r>
              <a:rPr lang="en-US">
                <a:latin typeface="Arial"/>
                <a:cs typeface="Arial"/>
              </a:rPr>
              <a:t>STV’s Services </a:t>
            </a:r>
            <a:endParaRPr lang="en-US"/>
          </a:p>
        </p:txBody>
      </p:sp>
      <p:pic>
        <p:nvPicPr>
          <p:cNvPr id="7" name="Picture 6" descr="U.S. map of where STV has delivered aviation projects">
            <a:extLst>
              <a:ext uri="{FF2B5EF4-FFF2-40B4-BE49-F238E27FC236}">
                <a16:creationId xmlns:a16="http://schemas.microsoft.com/office/drawing/2014/main" id="{7208AC12-123E-5CF2-63AD-94221A9345C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71271" y="716019"/>
            <a:ext cx="6120343" cy="5344797"/>
          </a:xfrm>
          <a:prstGeom prst="rect">
            <a:avLst/>
          </a:prstGeom>
        </p:spPr>
      </p:pic>
      <p:grpSp>
        <p:nvGrpSpPr>
          <p:cNvPr id="9" name="Group 8" descr="image.png&#10;You said:&#10;create alt text for&#10;Copilot said:&#10;Copilot&#10;Here’s an appropriate alt text for the image:&#10;&#10;Alt Text:&#10;A graphic divided into three colored sections listing STV’s services.&#10;&#10;The top red section is titled “Program &amp; Project Delivery” and includes: Program Management, Construction Management, Project Controls, Stakeholder Engagement &amp; Communications, and Grants &amp; Innovative Funding.&#10;The middle pink section is titled “Design Services” and includes: Architecture, Civil &amp; Infrastructure, Structural &amp; Systems Engineering, and Sustainability &amp; Resilience.&#10;The bottom gray section is titled “Operational Solutions &amp; Technologies” and includes: Mobility Solutions &amp; Emerging Technology, Security Planning &amp; Design, Baggage Handling, and Operational Readiness, Activation &amp; Transition.">
            <a:extLst>
              <a:ext uri="{FF2B5EF4-FFF2-40B4-BE49-F238E27FC236}">
                <a16:creationId xmlns:a16="http://schemas.microsoft.com/office/drawing/2014/main" id="{3EAD4281-7F6D-2D3F-8345-48CBF1CE9C14}"/>
              </a:ext>
            </a:extLst>
          </p:cNvPr>
          <p:cNvGrpSpPr/>
          <p:nvPr/>
        </p:nvGrpSpPr>
        <p:grpSpPr>
          <a:xfrm>
            <a:off x="6340480" y="829300"/>
            <a:ext cx="5406906" cy="5521062"/>
            <a:chOff x="6338892" y="829300"/>
            <a:chExt cx="5406906" cy="5521062"/>
          </a:xfrm>
        </p:grpSpPr>
        <p:sp>
          <p:nvSpPr>
            <p:cNvPr id="6" name="Rectangle: Single Corner Snipped 5">
              <a:extLst>
                <a:ext uri="{FF2B5EF4-FFF2-40B4-BE49-F238E27FC236}">
                  <a16:creationId xmlns:a16="http://schemas.microsoft.com/office/drawing/2014/main" id="{164A43D8-E84C-E7F9-940F-5B5C2E6E10F5}"/>
                </a:ext>
              </a:extLst>
            </p:cNvPr>
            <p:cNvSpPr/>
            <p:nvPr/>
          </p:nvSpPr>
          <p:spPr>
            <a:xfrm>
              <a:off x="6338892" y="829300"/>
              <a:ext cx="5406906" cy="2001028"/>
            </a:xfrm>
            <a:prstGeom prst="snip1Rect">
              <a:avLst/>
            </a:prstGeom>
            <a:solidFill>
              <a:srgbClr val="D92B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base">
                <a:spcBef>
                  <a:spcPts val="500"/>
                </a:spcBef>
                <a:spcAft>
                  <a:spcPct val="0"/>
                </a:spcAft>
                <a:defRPr/>
              </a:pPr>
              <a:endParaRPr lang="en-US">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C0F07555-472E-B28B-0652-35D38533313B}"/>
                </a:ext>
              </a:extLst>
            </p:cNvPr>
            <p:cNvSpPr txBox="1"/>
            <p:nvPr/>
          </p:nvSpPr>
          <p:spPr>
            <a:xfrm>
              <a:off x="6474622" y="1022190"/>
              <a:ext cx="5222309" cy="1682512"/>
            </a:xfrm>
            <a:prstGeom prst="rect">
              <a:avLst/>
            </a:prstGeom>
            <a:noFill/>
          </p:spPr>
          <p:txBody>
            <a:bodyPr wrap="square">
              <a:spAutoFit/>
            </a:bodyPr>
            <a:lstStyle/>
            <a:p>
              <a:pPr fontAlgn="base">
                <a:lnSpc>
                  <a:spcPts val="1900"/>
                </a:lnSpc>
                <a:spcBef>
                  <a:spcPts val="200"/>
                </a:spcBef>
                <a:spcAft>
                  <a:spcPct val="0"/>
                </a:spcAft>
                <a:defRPr/>
              </a:pPr>
              <a:r>
                <a:rPr lang="en-US" sz="2000" b="1">
                  <a:solidFill>
                    <a:schemeClr val="bg1"/>
                  </a:solidFill>
                  <a:latin typeface="Arial" panose="020B0604020202020204" pitchFamily="34" charset="0"/>
                  <a:cs typeface="Arial" panose="020B0604020202020204" pitchFamily="34" charset="0"/>
                </a:rPr>
                <a:t>Program &amp; Project Delivery</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Program Management</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Construction Management</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Project Controls</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Stakeholder Engagement &amp; Communications</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Grants &amp; Innovative Funding</a:t>
              </a:r>
            </a:p>
          </p:txBody>
        </p:sp>
        <p:sp>
          <p:nvSpPr>
            <p:cNvPr id="11" name="Rectangle: Single Corner Snipped 10">
              <a:extLst>
                <a:ext uri="{FF2B5EF4-FFF2-40B4-BE49-F238E27FC236}">
                  <a16:creationId xmlns:a16="http://schemas.microsoft.com/office/drawing/2014/main" id="{16D55122-755E-9451-B361-7DEB9D1CCDB7}"/>
                </a:ext>
              </a:extLst>
            </p:cNvPr>
            <p:cNvSpPr/>
            <p:nvPr/>
          </p:nvSpPr>
          <p:spPr>
            <a:xfrm>
              <a:off x="6338892" y="2830328"/>
              <a:ext cx="5406906" cy="1733456"/>
            </a:xfrm>
            <a:prstGeom prst="snip1Rect">
              <a:avLst/>
            </a:prstGeom>
            <a:solidFill>
              <a:srgbClr val="F58E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base">
                <a:spcBef>
                  <a:spcPts val="500"/>
                </a:spcBef>
                <a:spcAft>
                  <a:spcPct val="0"/>
                </a:spcAft>
                <a:defRPr/>
              </a:pPr>
              <a:endParaRPr lang="en-US">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2F6CA5D-B865-5F41-0451-404F8E5535D8}"/>
                </a:ext>
              </a:extLst>
            </p:cNvPr>
            <p:cNvSpPr txBox="1"/>
            <p:nvPr/>
          </p:nvSpPr>
          <p:spPr>
            <a:xfrm>
              <a:off x="6474622" y="3023218"/>
              <a:ext cx="5222309" cy="1413207"/>
            </a:xfrm>
            <a:prstGeom prst="rect">
              <a:avLst/>
            </a:prstGeom>
            <a:noFill/>
          </p:spPr>
          <p:txBody>
            <a:bodyPr wrap="square">
              <a:spAutoFit/>
            </a:bodyPr>
            <a:lstStyle/>
            <a:p>
              <a:pPr fontAlgn="base">
                <a:lnSpc>
                  <a:spcPts val="1900"/>
                </a:lnSpc>
                <a:spcBef>
                  <a:spcPts val="200"/>
                </a:spcBef>
                <a:spcAft>
                  <a:spcPct val="0"/>
                </a:spcAft>
                <a:defRPr/>
              </a:pPr>
              <a:r>
                <a:rPr lang="en-US" sz="2000" b="1">
                  <a:solidFill>
                    <a:schemeClr val="bg1"/>
                  </a:solidFill>
                  <a:latin typeface="Arial" panose="020B0604020202020204" pitchFamily="34" charset="0"/>
                  <a:cs typeface="Arial" panose="020B0604020202020204" pitchFamily="34" charset="0"/>
                </a:rPr>
                <a:t>Design Services</a:t>
              </a:r>
              <a:endParaRPr lang="en-US" sz="2000" b="1">
                <a:highlight>
                  <a:srgbClr val="FFFF00"/>
                </a:highlight>
                <a:latin typeface="Arial" panose="020B0604020202020204" pitchFamily="34" charset="0"/>
                <a:cs typeface="Arial" panose="020B0604020202020204" pitchFamily="34" charset="0"/>
              </a:endParaRP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Architecture</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C</a:t>
              </a:r>
              <a:r>
                <a:rPr lang="en-US" err="1">
                  <a:solidFill>
                    <a:schemeClr val="bg1"/>
                  </a:solidFill>
                  <a:latin typeface="Arial" panose="020B0604020202020204" pitchFamily="34" charset="0"/>
                  <a:cs typeface="Arial" panose="020B0604020202020204" pitchFamily="34" charset="0"/>
                </a:rPr>
                <a:t>ivil</a:t>
              </a:r>
              <a:r>
                <a:rPr lang="en-US">
                  <a:solidFill>
                    <a:schemeClr val="bg1"/>
                  </a:solidFill>
                  <a:latin typeface="Arial" panose="020B0604020202020204" pitchFamily="34" charset="0"/>
                  <a:cs typeface="Arial" panose="020B0604020202020204" pitchFamily="34" charset="0"/>
                </a:rPr>
                <a:t> &amp; Infrastructure</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Structural &amp; Systems Engineering</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Sustainability &amp; Resilience</a:t>
              </a:r>
            </a:p>
          </p:txBody>
        </p:sp>
        <p:sp>
          <p:nvSpPr>
            <p:cNvPr id="13" name="Rectangle: Single Corner Snipped 12">
              <a:extLst>
                <a:ext uri="{FF2B5EF4-FFF2-40B4-BE49-F238E27FC236}">
                  <a16:creationId xmlns:a16="http://schemas.microsoft.com/office/drawing/2014/main" id="{767336DE-BD0B-30A4-0223-650A2B9155A0}"/>
                </a:ext>
              </a:extLst>
            </p:cNvPr>
            <p:cNvSpPr/>
            <p:nvPr/>
          </p:nvSpPr>
          <p:spPr>
            <a:xfrm>
              <a:off x="6338892" y="4563784"/>
              <a:ext cx="5406906" cy="1786578"/>
            </a:xfrm>
            <a:prstGeom prst="snip1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base">
                <a:spcBef>
                  <a:spcPts val="500"/>
                </a:spcBef>
                <a:spcAft>
                  <a:spcPct val="0"/>
                </a:spcAft>
                <a:defRPr/>
              </a:pPr>
              <a:endParaRPr lang="en-US">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508EDF8B-8B91-7933-D894-915A3DEA0AB8}"/>
                </a:ext>
              </a:extLst>
            </p:cNvPr>
            <p:cNvSpPr txBox="1"/>
            <p:nvPr/>
          </p:nvSpPr>
          <p:spPr>
            <a:xfrm>
              <a:off x="6474622" y="4756674"/>
              <a:ext cx="5222309" cy="1413207"/>
            </a:xfrm>
            <a:prstGeom prst="rect">
              <a:avLst/>
            </a:prstGeom>
            <a:noFill/>
          </p:spPr>
          <p:txBody>
            <a:bodyPr wrap="square">
              <a:spAutoFit/>
            </a:bodyPr>
            <a:lstStyle/>
            <a:p>
              <a:pPr fontAlgn="base">
                <a:lnSpc>
                  <a:spcPts val="1900"/>
                </a:lnSpc>
                <a:spcBef>
                  <a:spcPts val="200"/>
                </a:spcBef>
                <a:spcAft>
                  <a:spcPct val="0"/>
                </a:spcAft>
                <a:defRPr/>
              </a:pPr>
              <a:r>
                <a:rPr lang="en-US" sz="2000" b="1">
                  <a:solidFill>
                    <a:schemeClr val="bg1"/>
                  </a:solidFill>
                  <a:latin typeface="Arial" panose="020B0604020202020204" pitchFamily="34" charset="0"/>
                  <a:cs typeface="Arial" panose="020B0604020202020204" pitchFamily="34" charset="0"/>
                </a:rPr>
                <a:t>Operational Solutions &amp; Technologies</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Mobility Solutions &amp; Emerging Technology</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Security Planning &amp; Design</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Baggage Handling</a:t>
              </a:r>
            </a:p>
            <a:p>
              <a:pPr marL="228600" indent="-233363" fontAlgn="base">
                <a:lnSpc>
                  <a:spcPts val="1900"/>
                </a:lnSpc>
                <a:spcBef>
                  <a:spcPts val="200"/>
                </a:spcBef>
                <a:spcAft>
                  <a:spcPct val="0"/>
                </a:spcAft>
                <a:buFont typeface="Arial" panose="020B0604020202020204" pitchFamily="34" charset="0"/>
                <a:buChar char="•"/>
                <a:defRPr/>
              </a:pPr>
              <a:r>
                <a:rPr lang="en-US">
                  <a:solidFill>
                    <a:schemeClr val="bg1"/>
                  </a:solidFill>
                  <a:latin typeface="Arial" panose="020B0604020202020204" pitchFamily="34" charset="0"/>
                  <a:cs typeface="Arial" panose="020B0604020202020204" pitchFamily="34" charset="0"/>
                </a:rPr>
                <a:t>Operational Readiness, Activation &amp; Transition</a:t>
              </a:r>
            </a:p>
          </p:txBody>
        </p:sp>
      </p:grpSp>
    </p:spTree>
    <p:extLst>
      <p:ext uri="{BB962C8B-B14F-4D97-AF65-F5344CB8AC3E}">
        <p14:creationId xmlns:p14="http://schemas.microsoft.com/office/powerpoint/2010/main" val="28037124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DF5E7-0FB2-28CD-B3B3-65008C1047A8}"/>
              </a:ext>
            </a:extLst>
          </p:cNvPr>
          <p:cNvSpPr>
            <a:spLocks noGrp="1"/>
          </p:cNvSpPr>
          <p:nvPr>
            <p:ph type="title"/>
          </p:nvPr>
        </p:nvSpPr>
        <p:spPr>
          <a:xfrm>
            <a:off x="381001" y="373748"/>
            <a:ext cx="5069281" cy="1017916"/>
          </a:xfrm>
        </p:spPr>
        <p:txBody>
          <a:bodyPr>
            <a:normAutofit fontScale="90000"/>
          </a:bodyPr>
          <a:lstStyle/>
          <a:p>
            <a:r>
              <a:rPr lang="en-US"/>
              <a:t>Supplier Diversity Program</a:t>
            </a:r>
          </a:p>
        </p:txBody>
      </p:sp>
      <p:sp>
        <p:nvSpPr>
          <p:cNvPr id="6" name="Content Placeholder 5">
            <a:extLst>
              <a:ext uri="{FF2B5EF4-FFF2-40B4-BE49-F238E27FC236}">
                <a16:creationId xmlns:a16="http://schemas.microsoft.com/office/drawing/2014/main" id="{3B71DBB7-74ED-F261-5A83-644642ED1040}"/>
              </a:ext>
            </a:extLst>
          </p:cNvPr>
          <p:cNvSpPr>
            <a:spLocks noGrp="1"/>
          </p:cNvSpPr>
          <p:nvPr>
            <p:ph idx="1"/>
          </p:nvPr>
        </p:nvSpPr>
        <p:spPr>
          <a:xfrm>
            <a:off x="381001" y="1910138"/>
            <a:ext cx="6133276" cy="4645028"/>
          </a:xfrm>
        </p:spPr>
        <p:txBody>
          <a:bodyPr/>
          <a:lstStyle/>
          <a:p>
            <a:r>
              <a:rPr lang="en-US"/>
              <a:t>Bolster small business to be a successful prime</a:t>
            </a:r>
          </a:p>
          <a:p>
            <a:r>
              <a:rPr lang="en-US"/>
              <a:t>Mentor small-business relationships</a:t>
            </a:r>
          </a:p>
          <a:p>
            <a:r>
              <a:rPr lang="en-US"/>
              <a:t>Referrals</a:t>
            </a:r>
          </a:p>
          <a:p>
            <a:r>
              <a:rPr lang="en-US"/>
              <a:t>Build capacity of firms to succeed</a:t>
            </a:r>
          </a:p>
          <a:p>
            <a:r>
              <a:rPr lang="en-US"/>
              <a:t>Educational seminars</a:t>
            </a:r>
          </a:p>
          <a:p>
            <a:r>
              <a:rPr lang="en-US"/>
              <a:t>Technical assistance</a:t>
            </a:r>
          </a:p>
        </p:txBody>
      </p:sp>
      <p:pic>
        <p:nvPicPr>
          <p:cNvPr id="3" name="Picture 2" descr="A group of people clapping">
            <a:extLst>
              <a:ext uri="{FF2B5EF4-FFF2-40B4-BE49-F238E27FC236}">
                <a16:creationId xmlns:a16="http://schemas.microsoft.com/office/drawing/2014/main" id="{03C849D9-E6CF-EBA9-8EB8-F0218D841819}"/>
              </a:ext>
              <a:ext uri="{C183D7F6-B498-43B3-948B-1728B52AA6E4}">
                <adec:decorative xmlns:adec="http://schemas.microsoft.com/office/drawing/2017/decorative" val="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41721" y="0"/>
            <a:ext cx="5448692" cy="6858000"/>
          </a:xfrm>
          <a:prstGeom prst="rect">
            <a:avLst/>
          </a:prstGeom>
        </p:spPr>
      </p:pic>
    </p:spTree>
    <p:extLst>
      <p:ext uri="{BB962C8B-B14F-4D97-AF65-F5344CB8AC3E}">
        <p14:creationId xmlns:p14="http://schemas.microsoft.com/office/powerpoint/2010/main" val="2916545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510E6E-7AED-E689-25B3-147784CAD519}"/>
              </a:ext>
            </a:extLst>
          </p:cNvPr>
          <p:cNvSpPr>
            <a:spLocks noGrp="1"/>
          </p:cNvSpPr>
          <p:nvPr>
            <p:ph type="title"/>
          </p:nvPr>
        </p:nvSpPr>
        <p:spPr>
          <a:xfrm>
            <a:off x="381001" y="373748"/>
            <a:ext cx="11767025" cy="1017916"/>
          </a:xfrm>
        </p:spPr>
        <p:txBody>
          <a:bodyPr/>
          <a:lstStyle/>
          <a:p>
            <a:r>
              <a:rPr lang="en-US">
                <a:latin typeface="Arial"/>
                <a:cs typeface="Arial"/>
              </a:rPr>
              <a:t> Upcoming Contracting Opportunities</a:t>
            </a:r>
          </a:p>
        </p:txBody>
      </p:sp>
      <p:sp>
        <p:nvSpPr>
          <p:cNvPr id="4" name="Content Placeholder 3">
            <a:extLst>
              <a:ext uri="{FF2B5EF4-FFF2-40B4-BE49-F238E27FC236}">
                <a16:creationId xmlns:a16="http://schemas.microsoft.com/office/drawing/2014/main" id="{13B03E5A-47F4-9D8D-2ADB-B12F6C66A903}"/>
              </a:ext>
            </a:extLst>
          </p:cNvPr>
          <p:cNvSpPr>
            <a:spLocks noGrp="1"/>
          </p:cNvSpPr>
          <p:nvPr>
            <p:ph idx="1"/>
          </p:nvPr>
        </p:nvSpPr>
        <p:spPr>
          <a:xfrm>
            <a:off x="381002" y="1391664"/>
            <a:ext cx="10974387" cy="4399536"/>
          </a:xfrm>
        </p:spPr>
        <p:txBody>
          <a:bodyPr/>
          <a:lstStyle/>
          <a:p>
            <a:r>
              <a:rPr lang="en-US" b="1"/>
              <a:t>Climate Technology (</a:t>
            </a:r>
            <a:r>
              <a:rPr lang="en-US" b="1" err="1"/>
              <a:t>ClimateTech</a:t>
            </a:r>
            <a:r>
              <a:rPr lang="en-US" b="1"/>
              <a:t>)</a:t>
            </a:r>
            <a:endParaRPr lang="en-US"/>
          </a:p>
          <a:p>
            <a:r>
              <a:rPr lang="en-US" b="1"/>
              <a:t>Concourse C West </a:t>
            </a:r>
            <a:r>
              <a:rPr lang="en-US"/>
              <a:t>– Design Services</a:t>
            </a:r>
          </a:p>
          <a:p>
            <a:r>
              <a:rPr lang="en-US" b="1"/>
              <a:t>Electrification Capacity Planning</a:t>
            </a:r>
            <a:endParaRPr lang="en-US"/>
          </a:p>
          <a:p>
            <a:r>
              <a:rPr lang="en-US" b="1"/>
              <a:t>North Terminal Expansion Project </a:t>
            </a:r>
            <a:r>
              <a:rPr lang="en-US"/>
              <a:t>– Design Services</a:t>
            </a:r>
          </a:p>
          <a:p>
            <a:r>
              <a:rPr lang="en-US" b="1"/>
              <a:t>Other Denver Area Opportunities</a:t>
            </a:r>
          </a:p>
          <a:p>
            <a:pPr lvl="1"/>
            <a:r>
              <a:rPr lang="en-US" b="1"/>
              <a:t>DRCOG / Denver Metro BRT Program </a:t>
            </a:r>
            <a:r>
              <a:rPr lang="en-US"/>
              <a:t>- Design services / comms / public outreach / utility coordination</a:t>
            </a:r>
          </a:p>
          <a:p>
            <a:pPr lvl="1"/>
            <a:r>
              <a:rPr lang="en-US" b="1"/>
              <a:t>Front Range Passenger Rail </a:t>
            </a:r>
            <a:r>
              <a:rPr lang="en-US"/>
              <a:t>- Design services / comms / public outreach / utility coordination</a:t>
            </a:r>
          </a:p>
        </p:txBody>
      </p:sp>
    </p:spTree>
    <p:extLst>
      <p:ext uri="{BB962C8B-B14F-4D97-AF65-F5344CB8AC3E}">
        <p14:creationId xmlns:p14="http://schemas.microsoft.com/office/powerpoint/2010/main" val="41047937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2EDAD6-191D-5B77-BD0A-29CF1FB4F170}"/>
              </a:ext>
            </a:extLst>
          </p:cNvPr>
          <p:cNvSpPr>
            <a:spLocks noGrp="1"/>
          </p:cNvSpPr>
          <p:nvPr>
            <p:ph type="title"/>
          </p:nvPr>
        </p:nvSpPr>
        <p:spPr>
          <a:xfrm>
            <a:off x="381001" y="373748"/>
            <a:ext cx="11429999" cy="1017916"/>
          </a:xfrm>
        </p:spPr>
        <p:txBody>
          <a:bodyPr/>
          <a:lstStyle/>
          <a:p>
            <a:r>
              <a:rPr lang="en-US"/>
              <a:t>Project Experience</a:t>
            </a:r>
          </a:p>
        </p:txBody>
      </p:sp>
      <p:pic>
        <p:nvPicPr>
          <p:cNvPr id="5" name="Picture 4" descr="EWR - Newark Liberty International (EWR) Terminal A Redevelopment Design-Build&#10;IAH - George Bush Intercontinental Airport Terminal B Redevelopment&#10;LAX - Landside Access Modernization Program&#10;LGA - Delta Air Lines Terminal C at LaGuardia Airport&#10;JFK - PANYNJ JFK Terminal Redevelopment Program&#10;RIC - Richmond International Airport Concourses A and B">
            <a:extLst>
              <a:ext uri="{FF2B5EF4-FFF2-40B4-BE49-F238E27FC236}">
                <a16:creationId xmlns:a16="http://schemas.microsoft.com/office/drawing/2014/main" id="{5FAD62AB-B4BB-5D42-6908-4CCA3CC080AB}"/>
              </a:ext>
            </a:extLst>
          </p:cNvPr>
          <p:cNvPicPr>
            <a:picLocks noChangeAspect="1"/>
          </p:cNvPicPr>
          <p:nvPr/>
        </p:nvPicPr>
        <p:blipFill>
          <a:blip r:embed="rId3"/>
          <a:stretch>
            <a:fillRect/>
          </a:stretch>
        </p:blipFill>
        <p:spPr>
          <a:xfrm>
            <a:off x="1588" y="1307596"/>
            <a:ext cx="12297390" cy="5550405"/>
          </a:xfrm>
          <a:prstGeom prst="rect">
            <a:avLst/>
          </a:prstGeom>
        </p:spPr>
      </p:pic>
    </p:spTree>
    <p:extLst>
      <p:ext uri="{BB962C8B-B14F-4D97-AF65-F5344CB8AC3E}">
        <p14:creationId xmlns:p14="http://schemas.microsoft.com/office/powerpoint/2010/main" val="26228094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247120-27C0-08DA-1496-E3012D46DD66}"/>
              </a:ext>
              <a:ext uri="{C183D7F6-B498-43B3-948B-1728B52AA6E4}">
                <adec:decorative xmlns:adec="http://schemas.microsoft.com/office/drawing/2017/decorative" val="0"/>
              </a:ext>
            </a:extLst>
          </p:cNvPr>
          <p:cNvSpPr>
            <a:spLocks noGrp="1"/>
          </p:cNvSpPr>
          <p:nvPr>
            <p:ph type="title"/>
          </p:nvPr>
        </p:nvSpPr>
        <p:spPr>
          <a:xfrm>
            <a:off x="381001" y="373748"/>
            <a:ext cx="11429999" cy="1017916"/>
          </a:xfrm>
        </p:spPr>
        <p:txBody>
          <a:bodyPr/>
          <a:lstStyle/>
          <a:p>
            <a:r>
              <a:rPr lang="en-US"/>
              <a:t>Scopes of Work    </a:t>
            </a:r>
          </a:p>
        </p:txBody>
      </p:sp>
      <p:sp>
        <p:nvSpPr>
          <p:cNvPr id="4" name="Content Placeholder 3">
            <a:extLst>
              <a:ext uri="{FF2B5EF4-FFF2-40B4-BE49-F238E27FC236}">
                <a16:creationId xmlns:a16="http://schemas.microsoft.com/office/drawing/2014/main" id="{C79AF617-2AB0-D254-DBDB-16E6990312E7}"/>
              </a:ext>
              <a:ext uri="{C183D7F6-B498-43B3-948B-1728B52AA6E4}">
                <adec:decorative xmlns:adec="http://schemas.microsoft.com/office/drawing/2017/decorative" val="0"/>
              </a:ext>
            </a:extLst>
          </p:cNvPr>
          <p:cNvSpPr>
            <a:spLocks noGrp="1"/>
          </p:cNvSpPr>
          <p:nvPr>
            <p:ph idx="1"/>
          </p:nvPr>
        </p:nvSpPr>
        <p:spPr>
          <a:xfrm>
            <a:off x="381001" y="1392238"/>
            <a:ext cx="6720395" cy="4577778"/>
          </a:xfrm>
        </p:spPr>
        <p:txBody>
          <a:bodyPr numCol="1">
            <a:normAutofit fontScale="92500" lnSpcReduction="10000"/>
          </a:bodyPr>
          <a:lstStyle/>
          <a:p>
            <a:pPr indent="-233045"/>
            <a:r>
              <a:rPr lang="en-US"/>
              <a:t>Engineering (MEP, Civil, Structural)</a:t>
            </a:r>
          </a:p>
          <a:p>
            <a:r>
              <a:rPr lang="en-US"/>
              <a:t>Survey/SUE/Geotechnical</a:t>
            </a:r>
          </a:p>
          <a:p>
            <a:r>
              <a:rPr lang="en-US"/>
              <a:t>Architecture</a:t>
            </a:r>
          </a:p>
          <a:p>
            <a:r>
              <a:rPr lang="en-US"/>
              <a:t>Program/Project Controls</a:t>
            </a:r>
          </a:p>
          <a:p>
            <a:r>
              <a:rPr lang="en-US"/>
              <a:t>Program/Project Management</a:t>
            </a:r>
          </a:p>
          <a:p>
            <a:r>
              <a:rPr lang="en-US"/>
              <a:t>Construction Management</a:t>
            </a:r>
          </a:p>
          <a:p>
            <a:r>
              <a:rPr lang="en-US"/>
              <a:t>Sustainable Design</a:t>
            </a:r>
          </a:p>
          <a:p>
            <a:r>
              <a:rPr lang="en-US"/>
              <a:t>ORAT</a:t>
            </a:r>
          </a:p>
          <a:p>
            <a:r>
              <a:rPr lang="en-US"/>
              <a:t>Planning</a:t>
            </a:r>
          </a:p>
          <a:p>
            <a:r>
              <a:rPr lang="en-US"/>
              <a:t>BHS</a:t>
            </a:r>
          </a:p>
        </p:txBody>
      </p:sp>
      <p:sp>
        <p:nvSpPr>
          <p:cNvPr id="10" name="Rectangle 9">
            <a:extLst>
              <a:ext uri="{FF2B5EF4-FFF2-40B4-BE49-F238E27FC236}">
                <a16:creationId xmlns:a16="http://schemas.microsoft.com/office/drawing/2014/main" id="{244FE2D7-AF91-B168-8CD7-4E011CA02085}"/>
              </a:ext>
              <a:ext uri="{C183D7F6-B498-43B3-948B-1728B52AA6E4}">
                <adec:decorative xmlns:adec="http://schemas.microsoft.com/office/drawing/2017/decorative" val="1"/>
              </a:ext>
            </a:extLst>
          </p:cNvPr>
          <p:cNvSpPr/>
          <p:nvPr/>
        </p:nvSpPr>
        <p:spPr>
          <a:xfrm>
            <a:off x="6309255" y="0"/>
            <a:ext cx="5881158"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headshot of Henry Dumaran">
            <a:extLst>
              <a:ext uri="{FF2B5EF4-FFF2-40B4-BE49-F238E27FC236}">
                <a16:creationId xmlns:a16="http://schemas.microsoft.com/office/drawing/2014/main" id="{BC47B36B-034A-F053-ED76-40FA47DC69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09200" y="1114132"/>
            <a:ext cx="2488092" cy="2869326"/>
          </a:xfrm>
          <a:prstGeom prst="snip2DiagRect">
            <a:avLst/>
          </a:prstGeom>
        </p:spPr>
      </p:pic>
      <p:sp>
        <p:nvSpPr>
          <p:cNvPr id="5" name="Title 2">
            <a:extLst>
              <a:ext uri="{FF2B5EF4-FFF2-40B4-BE49-F238E27FC236}">
                <a16:creationId xmlns:a16="http://schemas.microsoft.com/office/drawing/2014/main" id="{E24E0AEB-5732-1B3A-4325-CD81209BEEE2}"/>
              </a:ext>
            </a:extLst>
          </p:cNvPr>
          <p:cNvSpPr txBox="1">
            <a:spLocks/>
          </p:cNvSpPr>
          <p:nvPr/>
        </p:nvSpPr>
        <p:spPr bwMode="auto">
          <a:xfrm>
            <a:off x="8924493" y="1665894"/>
            <a:ext cx="2886506" cy="10179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fontAlgn="base">
              <a:spcBef>
                <a:spcPct val="0"/>
              </a:spcBef>
              <a:spcAft>
                <a:spcPct val="0"/>
              </a:spcAft>
              <a:defRPr sz="3800" b="1" kern="1200" cap="none" baseline="0">
                <a:solidFill>
                  <a:srgbClr val="D92B27"/>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3200">
                <a:solidFill>
                  <a:schemeClr val="bg1"/>
                </a:solidFill>
                <a:latin typeface="Calibri" pitchFamily="34" charset="0"/>
              </a:defRPr>
            </a:lvl2pPr>
            <a:lvl3pPr algn="l" rtl="0" fontAlgn="base">
              <a:spcBef>
                <a:spcPct val="0"/>
              </a:spcBef>
              <a:spcAft>
                <a:spcPct val="0"/>
              </a:spcAft>
              <a:defRPr sz="3200">
                <a:solidFill>
                  <a:schemeClr val="bg1"/>
                </a:solidFill>
                <a:latin typeface="Calibri" pitchFamily="34" charset="0"/>
              </a:defRPr>
            </a:lvl3pPr>
            <a:lvl4pPr algn="l" rtl="0" fontAlgn="base">
              <a:spcBef>
                <a:spcPct val="0"/>
              </a:spcBef>
              <a:spcAft>
                <a:spcPct val="0"/>
              </a:spcAft>
              <a:defRPr sz="3200">
                <a:solidFill>
                  <a:schemeClr val="bg1"/>
                </a:solidFill>
                <a:latin typeface="Calibri" pitchFamily="34" charset="0"/>
              </a:defRPr>
            </a:lvl4pPr>
            <a:lvl5pPr algn="l" rtl="0" fontAlgn="base">
              <a:spcBef>
                <a:spcPct val="0"/>
              </a:spcBef>
              <a:spcAft>
                <a:spcPct val="0"/>
              </a:spcAft>
              <a:defRPr sz="3200">
                <a:solidFill>
                  <a:schemeClr val="bg1"/>
                </a:solidFill>
                <a:latin typeface="Calibri" pitchFamily="34" charset="0"/>
              </a:defRPr>
            </a:lvl5pPr>
            <a:lvl6pPr marL="457200" algn="l" rtl="0" fontAlgn="base">
              <a:spcBef>
                <a:spcPct val="0"/>
              </a:spcBef>
              <a:spcAft>
                <a:spcPct val="0"/>
              </a:spcAft>
              <a:defRPr sz="3200">
                <a:solidFill>
                  <a:schemeClr val="bg1"/>
                </a:solidFill>
                <a:latin typeface="Calibri" pitchFamily="34" charset="0"/>
              </a:defRPr>
            </a:lvl6pPr>
            <a:lvl7pPr marL="914400" algn="l" rtl="0" fontAlgn="base">
              <a:spcBef>
                <a:spcPct val="0"/>
              </a:spcBef>
              <a:spcAft>
                <a:spcPct val="0"/>
              </a:spcAft>
              <a:defRPr sz="3200">
                <a:solidFill>
                  <a:schemeClr val="bg1"/>
                </a:solidFill>
                <a:latin typeface="Calibri" pitchFamily="34" charset="0"/>
              </a:defRPr>
            </a:lvl7pPr>
            <a:lvl8pPr marL="1371600" algn="l" rtl="0" fontAlgn="base">
              <a:spcBef>
                <a:spcPct val="0"/>
              </a:spcBef>
              <a:spcAft>
                <a:spcPct val="0"/>
              </a:spcAft>
              <a:defRPr sz="3200">
                <a:solidFill>
                  <a:schemeClr val="bg1"/>
                </a:solidFill>
                <a:latin typeface="Calibri" pitchFamily="34" charset="0"/>
              </a:defRPr>
            </a:lvl8pPr>
            <a:lvl9pPr marL="1828800" algn="l" rtl="0" fontAlgn="base">
              <a:spcBef>
                <a:spcPct val="0"/>
              </a:spcBef>
              <a:spcAft>
                <a:spcPct val="0"/>
              </a:spcAft>
              <a:defRPr sz="3200">
                <a:solidFill>
                  <a:schemeClr val="bg1"/>
                </a:solidFill>
                <a:latin typeface="Calibri" pitchFamily="34" charset="0"/>
              </a:defRPr>
            </a:lvl9pPr>
          </a:lstStyle>
          <a:p>
            <a:r>
              <a:rPr lang="en-US" sz="3200">
                <a:solidFill>
                  <a:schemeClr val="bg1">
                    <a:lumMod val="85000"/>
                  </a:schemeClr>
                </a:solidFill>
              </a:rPr>
              <a:t>Contacts:</a:t>
            </a:r>
          </a:p>
        </p:txBody>
      </p:sp>
      <p:sp>
        <p:nvSpPr>
          <p:cNvPr id="7" name="TextBox 6">
            <a:extLst>
              <a:ext uri="{FF2B5EF4-FFF2-40B4-BE49-F238E27FC236}">
                <a16:creationId xmlns:a16="http://schemas.microsoft.com/office/drawing/2014/main" id="{77C47029-EB7E-A14B-9751-258E468FA65D}"/>
              </a:ext>
            </a:extLst>
          </p:cNvPr>
          <p:cNvSpPr txBox="1"/>
          <p:nvPr/>
        </p:nvSpPr>
        <p:spPr>
          <a:xfrm>
            <a:off x="8924493" y="2762173"/>
            <a:ext cx="3265920" cy="1305486"/>
          </a:xfrm>
          <a:prstGeom prst="rect">
            <a:avLst/>
          </a:prstGeom>
          <a:noFill/>
        </p:spPr>
        <p:txBody>
          <a:bodyPr wrap="square">
            <a:spAutoFit/>
          </a:bodyPr>
          <a:lstStyle/>
          <a:p>
            <a:pPr>
              <a:lnSpc>
                <a:spcPts val="2600"/>
              </a:lnSpc>
            </a:pPr>
            <a:r>
              <a:rPr lang="en-US" sz="2600" b="1">
                <a:solidFill>
                  <a:srgbClr val="D92B27"/>
                </a:solidFill>
              </a:rPr>
              <a:t>Henry </a:t>
            </a:r>
            <a:r>
              <a:rPr lang="en-US" sz="2600" b="1" err="1">
                <a:solidFill>
                  <a:srgbClr val="D92B27"/>
                </a:solidFill>
              </a:rPr>
              <a:t>Dumaran</a:t>
            </a:r>
            <a:r>
              <a:rPr lang="en-US" sz="2600" b="1">
                <a:solidFill>
                  <a:srgbClr val="D92B27"/>
                </a:solidFill>
              </a:rPr>
              <a:t>, </a:t>
            </a:r>
            <a:br>
              <a:rPr lang="en-US" sz="2600" b="1">
                <a:solidFill>
                  <a:srgbClr val="D92B27"/>
                </a:solidFill>
              </a:rPr>
            </a:br>
            <a:r>
              <a:rPr lang="en-US" sz="2600" b="1">
                <a:solidFill>
                  <a:srgbClr val="D92B27"/>
                </a:solidFill>
              </a:rPr>
              <a:t>DBIA RCE</a:t>
            </a:r>
          </a:p>
          <a:p>
            <a:pPr>
              <a:lnSpc>
                <a:spcPts val="2200"/>
              </a:lnSpc>
            </a:pPr>
            <a:r>
              <a:rPr lang="pt-BR" b="1">
                <a:solidFill>
                  <a:schemeClr val="bg1"/>
                </a:solidFill>
              </a:rPr>
              <a:t>Aviation Regional Director</a:t>
            </a:r>
          </a:p>
          <a:p>
            <a:pPr>
              <a:lnSpc>
                <a:spcPts val="2200"/>
              </a:lnSpc>
            </a:pPr>
            <a:r>
              <a:rPr lang="pt-BR">
                <a:solidFill>
                  <a:schemeClr val="bg1"/>
                </a:solidFill>
              </a:rPr>
              <a:t>henry.dumaran@stvinc.com</a:t>
            </a:r>
            <a:endParaRPr lang="en-US">
              <a:solidFill>
                <a:schemeClr val="bg1"/>
              </a:solidFill>
            </a:endParaRPr>
          </a:p>
        </p:txBody>
      </p:sp>
      <p:pic>
        <p:nvPicPr>
          <p:cNvPr id="2" name="Picture 1" descr="Headshot of Ben Hughes">
            <a:extLst>
              <a:ext uri="{FF2B5EF4-FFF2-40B4-BE49-F238E27FC236}">
                <a16:creationId xmlns:a16="http://schemas.microsoft.com/office/drawing/2014/main" id="{2FADE362-8A4B-30E6-1499-1751BE310BB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08536" y="3982386"/>
            <a:ext cx="2488757" cy="2869325"/>
          </a:xfrm>
          <a:prstGeom prst="snip2DiagRect">
            <a:avLst/>
          </a:prstGeom>
        </p:spPr>
      </p:pic>
      <p:sp>
        <p:nvSpPr>
          <p:cNvPr id="8" name="TextBox 7">
            <a:extLst>
              <a:ext uri="{FF2B5EF4-FFF2-40B4-BE49-F238E27FC236}">
                <a16:creationId xmlns:a16="http://schemas.microsoft.com/office/drawing/2014/main" id="{A89F1EA5-652A-2E0E-A121-18B922A4D752}"/>
              </a:ext>
            </a:extLst>
          </p:cNvPr>
          <p:cNvSpPr txBox="1"/>
          <p:nvPr/>
        </p:nvSpPr>
        <p:spPr>
          <a:xfrm>
            <a:off x="8924493" y="4349705"/>
            <a:ext cx="3390062" cy="920765"/>
          </a:xfrm>
          <a:prstGeom prst="rect">
            <a:avLst/>
          </a:prstGeom>
          <a:noFill/>
        </p:spPr>
        <p:txBody>
          <a:bodyPr wrap="square" lIns="91440" tIns="45720" rIns="91440" bIns="45720" anchor="t">
            <a:spAutoFit/>
          </a:bodyPr>
          <a:lstStyle/>
          <a:p>
            <a:pPr>
              <a:lnSpc>
                <a:spcPts val="2200"/>
              </a:lnSpc>
            </a:pPr>
            <a:r>
              <a:rPr lang="en-US" sz="2600" b="1">
                <a:solidFill>
                  <a:srgbClr val="D92B27"/>
                </a:solidFill>
                <a:latin typeface="Arial"/>
                <a:cs typeface="Arial"/>
              </a:rPr>
              <a:t>Ben Hughes</a:t>
            </a:r>
            <a:endParaRPr lang="en-US" sz="2600" b="1">
              <a:solidFill>
                <a:srgbClr val="D92B27"/>
              </a:solidFill>
              <a:cs typeface="Arial"/>
            </a:endParaRPr>
          </a:p>
          <a:p>
            <a:pPr>
              <a:lnSpc>
                <a:spcPts val="2200"/>
              </a:lnSpc>
            </a:pPr>
            <a:r>
              <a:rPr lang="en-US" b="1">
                <a:solidFill>
                  <a:schemeClr val="bg1"/>
                </a:solidFill>
                <a:latin typeface="Arial"/>
                <a:cs typeface="Arial"/>
              </a:rPr>
              <a:t>Senior Architect</a:t>
            </a:r>
            <a:endParaRPr lang="en-US" b="1">
              <a:solidFill>
                <a:schemeClr val="bg1"/>
              </a:solidFill>
              <a:cs typeface="Arial"/>
            </a:endParaRPr>
          </a:p>
          <a:p>
            <a:pPr>
              <a:lnSpc>
                <a:spcPts val="2200"/>
              </a:lnSpc>
            </a:pPr>
            <a:r>
              <a:rPr lang="en-US">
                <a:solidFill>
                  <a:schemeClr val="bg1"/>
                </a:solidFill>
                <a:latin typeface="Arial"/>
                <a:cs typeface="Arial"/>
              </a:rPr>
              <a:t>ben.hughes@stvinc.com</a:t>
            </a:r>
          </a:p>
        </p:txBody>
      </p:sp>
    </p:spTree>
    <p:extLst>
      <p:ext uri="{BB962C8B-B14F-4D97-AF65-F5344CB8AC3E}">
        <p14:creationId xmlns:p14="http://schemas.microsoft.com/office/powerpoint/2010/main" val="1720720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B8C4D0-CE24-FA9A-2C51-25D0C271F9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C9D21D-4CD0-9641-F123-E62E46CEB187}"/>
              </a:ext>
            </a:extLst>
          </p:cNvPr>
          <p:cNvSpPr>
            <a:spLocks noGrp="1"/>
          </p:cNvSpPr>
          <p:nvPr>
            <p:ph type="ctrTitle"/>
            <p:custDataLst>
              <p:tags r:id="rId1"/>
            </p:custDataLst>
          </p:nvPr>
        </p:nvSpPr>
        <p:spPr>
          <a:xfrm>
            <a:off x="340283" y="2010213"/>
            <a:ext cx="5476695" cy="1248291"/>
          </a:xfrm>
        </p:spPr>
        <p:txBody>
          <a:bodyPr>
            <a:normAutofit fontScale="90000"/>
          </a:bodyPr>
          <a:lstStyle/>
          <a:p>
            <a:r>
              <a:rPr lang="en-US"/>
              <a:t>Meet the primes</a:t>
            </a:r>
            <a:br>
              <a:rPr lang="en-US"/>
            </a:br>
            <a:endParaRPr lang="en-US"/>
          </a:p>
        </p:txBody>
      </p:sp>
      <p:sp>
        <p:nvSpPr>
          <p:cNvPr id="5" name="Text Placeholder 4">
            <a:extLst>
              <a:ext uri="{FF2B5EF4-FFF2-40B4-BE49-F238E27FC236}">
                <a16:creationId xmlns:a16="http://schemas.microsoft.com/office/drawing/2014/main" id="{7517BEA7-3580-08A0-EB7A-6548171DA0A2}"/>
              </a:ext>
            </a:extLst>
          </p:cNvPr>
          <p:cNvSpPr>
            <a:spLocks noGrp="1"/>
          </p:cNvSpPr>
          <p:nvPr>
            <p:ph type="body" sz="quarter" idx="14"/>
            <p:custDataLst>
              <p:tags r:id="rId2"/>
            </p:custDataLst>
          </p:nvPr>
        </p:nvSpPr>
        <p:spPr>
          <a:xfrm>
            <a:off x="2880412" y="3714750"/>
            <a:ext cx="2936566" cy="1681312"/>
          </a:xfrm>
        </p:spPr>
        <p:txBody>
          <a:bodyPr/>
          <a:lstStyle/>
          <a:p>
            <a:r>
              <a:rPr lang="en-US" sz="2200"/>
              <a:t>An overview of WSP’s capabilities</a:t>
            </a:r>
          </a:p>
        </p:txBody>
      </p:sp>
      <p:sp>
        <p:nvSpPr>
          <p:cNvPr id="7" name="Text Placeholder 6">
            <a:extLst>
              <a:ext uri="{FF2B5EF4-FFF2-40B4-BE49-F238E27FC236}">
                <a16:creationId xmlns:a16="http://schemas.microsoft.com/office/drawing/2014/main" id="{5B45E0C3-CBD4-18DF-9B9A-A8BC229895DC}"/>
              </a:ext>
            </a:extLst>
          </p:cNvPr>
          <p:cNvSpPr>
            <a:spLocks noGrp="1"/>
          </p:cNvSpPr>
          <p:nvPr>
            <p:ph type="body" sz="quarter" idx="13"/>
            <p:custDataLst>
              <p:tags r:id="rId3"/>
            </p:custDataLst>
          </p:nvPr>
        </p:nvSpPr>
        <p:spPr>
          <a:xfrm>
            <a:off x="2880412" y="5472707"/>
            <a:ext cx="3021338" cy="1248291"/>
          </a:xfrm>
        </p:spPr>
        <p:txBody>
          <a:bodyPr/>
          <a:lstStyle/>
          <a:p>
            <a:r>
              <a:rPr lang="en-US" sz="1800"/>
              <a:t>Presented by Kelly Knowles, December 2025</a:t>
            </a:r>
          </a:p>
        </p:txBody>
      </p:sp>
      <p:pic>
        <p:nvPicPr>
          <p:cNvPr id="44" name="Picture Placeholder 43">
            <a:extLst>
              <a:ext uri="{FF2B5EF4-FFF2-40B4-BE49-F238E27FC236}">
                <a16:creationId xmlns:a16="http://schemas.microsoft.com/office/drawing/2014/main" id="{F01CD57B-48AB-F8C2-B7CE-7125D223F530}"/>
              </a:ext>
              <a:ext uri="{C183D7F6-B498-43B3-948B-1728B52AA6E4}">
                <adec:decorative xmlns:adec="http://schemas.microsoft.com/office/drawing/2017/decorative" val="1"/>
              </a:ext>
            </a:extLst>
          </p:cNvPr>
          <p:cNvPicPr>
            <a:picLocks noGrp="1" noChangeAspect="1"/>
          </p:cNvPicPr>
          <p:nvPr>
            <p:ph type="pic" sz="quarter" idx="11"/>
            <p:custDataLst>
              <p:tags r:id="rId4"/>
            </p:custDataLst>
          </p:nvPr>
        </p:nvPicPr>
        <p:blipFill rotWithShape="1">
          <a:blip r:embed="rId8" cstate="email">
            <a:extLst>
              <a:ext uri="{28A0092B-C50C-407E-A947-70E740481C1C}">
                <a14:useLocalDpi xmlns:a14="http://schemas.microsoft.com/office/drawing/2010/main"/>
              </a:ext>
            </a:extLst>
          </a:blip>
          <a:srcRect/>
          <a:stretch>
            <a:fillRect/>
          </a:stretch>
        </p:blipFill>
        <p:spPr>
          <a:xfrm>
            <a:off x="6096000" y="0"/>
            <a:ext cx="6096000" cy="6858000"/>
          </a:xfrm>
        </p:spPr>
      </p:pic>
      <p:pic>
        <p:nvPicPr>
          <p:cNvPr id="4" name="Picture Placeholder 50">
            <a:extLst>
              <a:ext uri="{FF2B5EF4-FFF2-40B4-BE49-F238E27FC236}">
                <a16:creationId xmlns:a16="http://schemas.microsoft.com/office/drawing/2014/main" id="{0D014E5E-66DA-3DB8-7370-D4C1EA967B6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email">
            <a:extLst>
              <a:ext uri="{28A0092B-C50C-407E-A947-70E740481C1C}">
                <a14:useLocalDpi xmlns:a14="http://schemas.microsoft.com/office/drawing/2010/main"/>
              </a:ext>
            </a:extLst>
          </a:blip>
          <a:srcRect t="-11" r="-9512"/>
          <a:stretch>
            <a:fillRect/>
          </a:stretch>
        </p:blipFill>
        <p:spPr>
          <a:xfrm>
            <a:off x="-12526" y="4559300"/>
            <a:ext cx="2698688" cy="2298700"/>
          </a:xfrm>
          <a:custGeom>
            <a:avLst/>
            <a:gdLst>
              <a:gd name="connsiteX0" fmla="*/ 3564861 w 7830861"/>
              <a:gd name="connsiteY0" fmla="*/ 0 h 6669089"/>
              <a:gd name="connsiteX1" fmla="*/ 7830861 w 7830861"/>
              <a:gd name="connsiteY1" fmla="*/ 4266000 h 6669089"/>
              <a:gd name="connsiteX2" fmla="*/ 7102295 w 7830861"/>
              <a:gd name="connsiteY2" fmla="*/ 6651162 h 6669089"/>
              <a:gd name="connsiteX3" fmla="*/ 7088889 w 7830861"/>
              <a:gd name="connsiteY3" fmla="*/ 6669089 h 6669089"/>
              <a:gd name="connsiteX4" fmla="*/ 1333500 w 7830861"/>
              <a:gd name="connsiteY4" fmla="*/ 6669089 h 6669089"/>
              <a:gd name="connsiteX5" fmla="*/ 40338 w 7830861"/>
              <a:gd name="connsiteY5" fmla="*/ 6669089 h 6669089"/>
              <a:gd name="connsiteX6" fmla="*/ 0 w 7830861"/>
              <a:gd name="connsiteY6" fmla="*/ 6669089 h 6669089"/>
              <a:gd name="connsiteX7" fmla="*/ 0 w 7830861"/>
              <a:gd name="connsiteY7" fmla="*/ 6608380 h 6669089"/>
              <a:gd name="connsiteX8" fmla="*/ 0 w 7830861"/>
              <a:gd name="connsiteY8" fmla="*/ 5335589 h 6669089"/>
              <a:gd name="connsiteX9" fmla="*/ 0 w 7830861"/>
              <a:gd name="connsiteY9" fmla="*/ 1923620 h 6669089"/>
              <a:gd name="connsiteX10" fmla="*/ 27427 w 7830861"/>
              <a:gd name="connsiteY10" fmla="*/ 1880839 h 6669089"/>
              <a:gd name="connsiteX11" fmla="*/ 3564861 w 7830861"/>
              <a:gd name="connsiteY11" fmla="*/ 0 h 666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0861" h="6669089">
                <a:moveTo>
                  <a:pt x="3564861" y="0"/>
                </a:moveTo>
                <a:cubicBezTo>
                  <a:pt x="5920908" y="0"/>
                  <a:pt x="7830861" y="1909953"/>
                  <a:pt x="7830861" y="4266000"/>
                </a:cubicBezTo>
                <a:cubicBezTo>
                  <a:pt x="7830861" y="5149518"/>
                  <a:pt x="7562274" y="5970304"/>
                  <a:pt x="7102295" y="6651162"/>
                </a:cubicBezTo>
                <a:lnTo>
                  <a:pt x="7088889" y="6669089"/>
                </a:lnTo>
                <a:lnTo>
                  <a:pt x="1333500" y="6669089"/>
                </a:lnTo>
                <a:lnTo>
                  <a:pt x="40338" y="6669089"/>
                </a:lnTo>
                <a:lnTo>
                  <a:pt x="0" y="6669089"/>
                </a:lnTo>
                <a:lnTo>
                  <a:pt x="0" y="6608380"/>
                </a:lnTo>
                <a:lnTo>
                  <a:pt x="0" y="5335589"/>
                </a:lnTo>
                <a:lnTo>
                  <a:pt x="0" y="1923620"/>
                </a:lnTo>
                <a:lnTo>
                  <a:pt x="27427" y="1880839"/>
                </a:lnTo>
                <a:cubicBezTo>
                  <a:pt x="794058" y="746076"/>
                  <a:pt x="2092332" y="0"/>
                  <a:pt x="3564861" y="0"/>
                </a:cubicBezTo>
                <a:close/>
              </a:path>
            </a:pathLst>
          </a:custGeom>
          <a:solidFill>
            <a:schemeClr val="accent1"/>
          </a:solidFill>
        </p:spPr>
      </p:pic>
    </p:spTree>
    <p:extLst>
      <p:ext uri="{BB962C8B-B14F-4D97-AF65-F5344CB8AC3E}">
        <p14:creationId xmlns:p14="http://schemas.microsoft.com/office/powerpoint/2010/main" val="19550230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A92257-0C53-DDB5-C891-D5D39564EC29}"/>
              </a:ext>
            </a:extLst>
          </p:cNvPr>
          <p:cNvSpPr>
            <a:spLocks noGrp="1"/>
          </p:cNvSpPr>
          <p:nvPr>
            <p:ph type="title" idx="4294967295"/>
          </p:nvPr>
        </p:nvSpPr>
        <p:spPr>
          <a:xfrm>
            <a:off x="0" y="-1325563"/>
            <a:ext cx="10515600" cy="1325563"/>
          </a:xfrm>
          <a:prstGeom prst="rect">
            <a:avLst/>
          </a:prstGeom>
        </p:spPr>
        <p:txBody>
          <a:bodyPr vert="horz" lIns="91440" tIns="45720" rIns="91440" bIns="45720" rtlCol="0" anchor="b">
            <a:normAutofit/>
          </a:bodyPr>
          <a:lstStyle/>
          <a:p>
            <a:r>
              <a:rPr lang="en-US"/>
              <a:t>WSP Services and Markets</a:t>
            </a:r>
            <a:br>
              <a:rPr lang="en-US"/>
            </a:br>
            <a:endParaRPr lang="en-US"/>
          </a:p>
        </p:txBody>
      </p:sp>
      <p:pic>
        <p:nvPicPr>
          <p:cNvPr id="8" name="Picture 7" descr="image.png&#10;You said:&#10;alt text for slide -&#10;Copilot said:&#10;Copilot&#10;Here’s an appropriate alt text for the slide you shared:&#10;&#10;Alt Text:&#10;&quot;Slide titled 'WSP Services and Markets' showing five service categories: Water, Environment, Power &amp; Energy, Transportation, and Property &amp; Buildings. Left side lists phases: Strategy, Planning, Design, Implementation, and O&amp;M. Center section titled 'WSP by the numbers' with statistics: ENR - #1 Top 225 International Design Firms, #1 Transportation, #1 Environmental; Aviation - 85 years in aviation, 600 airports, 1500 aviation programs; Power - #1 power delivery designer in US, 7000+ power professionals; Denver - 1971 year Denver office opened, 1000+ cross-discipline staff. Bottom shows local client logos: DEN, Denver, E-470, Denver Water, Xcel Energy, RTD.&quot;">
            <a:extLst>
              <a:ext uri="{FF2B5EF4-FFF2-40B4-BE49-F238E27FC236}">
                <a16:creationId xmlns:a16="http://schemas.microsoft.com/office/drawing/2014/main" id="{8749BEC4-AA20-8C99-85F1-A70C057E3850}"/>
              </a:ext>
            </a:extLst>
          </p:cNvPr>
          <p:cNvPicPr>
            <a:picLocks noChangeAspect="1"/>
          </p:cNvPicPr>
          <p:nvPr/>
        </p:nvPicPr>
        <p:blipFill>
          <a:blip r:embed="rId2"/>
          <a:stretch>
            <a:fillRect/>
          </a:stretch>
        </p:blipFill>
        <p:spPr>
          <a:xfrm>
            <a:off x="0" y="-23842"/>
            <a:ext cx="12192000" cy="6881842"/>
          </a:xfrm>
          <a:prstGeom prst="rect">
            <a:avLst/>
          </a:prstGeom>
        </p:spPr>
      </p:pic>
    </p:spTree>
    <p:extLst>
      <p:ext uri="{BB962C8B-B14F-4D97-AF65-F5344CB8AC3E}">
        <p14:creationId xmlns:p14="http://schemas.microsoft.com/office/powerpoint/2010/main" val="40467109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68961-06E0-229A-65CF-9F1E249A46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152176-98B0-D353-20DF-504151F7C3E2}"/>
              </a:ext>
            </a:extLst>
          </p:cNvPr>
          <p:cNvSpPr>
            <a:spLocks noGrp="1"/>
          </p:cNvSpPr>
          <p:nvPr>
            <p:ph type="title" idx="4294967295"/>
          </p:nvPr>
        </p:nvSpPr>
        <p:spPr>
          <a:xfrm>
            <a:off x="120433" y="32398"/>
            <a:ext cx="11506199" cy="972000"/>
          </a:xfrm>
        </p:spPr>
        <p:txBody>
          <a:bodyPr vert="horz" lIns="0" tIns="0" rIns="0" bIns="0" rtlCol="0" anchor="b">
            <a:noAutofit/>
          </a:bodyPr>
          <a:lstStyle/>
          <a:p>
            <a:r>
              <a:rPr lang="en-US"/>
              <a:t>At DEN</a:t>
            </a:r>
          </a:p>
        </p:txBody>
      </p:sp>
      <p:pic>
        <p:nvPicPr>
          <p:cNvPr id="10" name="Picture Placeholder 12">
            <a:extLst>
              <a:ext uri="{FF2B5EF4-FFF2-40B4-BE49-F238E27FC236}">
                <a16:creationId xmlns:a16="http://schemas.microsoft.com/office/drawing/2014/main" id="{A654092D-4C95-4C99-0A7B-85CACE8661E8}"/>
              </a:ext>
              <a:ext uri="{C183D7F6-B498-43B3-948B-1728B52AA6E4}">
                <adec:decorative xmlns:adec="http://schemas.microsoft.com/office/drawing/2017/decorative" val="1"/>
              </a:ext>
            </a:extLst>
          </p:cNvPr>
          <p:cNvPicPr>
            <a:picLocks noGrp="1" noChangeAspect="1"/>
          </p:cNvPicPr>
          <p:nvPr>
            <p:ph type="pic" sz="quarter" idx="17"/>
            <p:custDataLst>
              <p:tags r:id="rId1"/>
            </p:custDataLst>
          </p:nvPr>
        </p:nvPicPr>
        <p:blipFill rotWithShape="1">
          <a:blip r:embed="rId12" cstate="email">
            <a:extLst>
              <a:ext uri="{28A0092B-C50C-407E-A947-70E740481C1C}">
                <a14:useLocalDpi xmlns:a14="http://schemas.microsoft.com/office/drawing/2010/main"/>
              </a:ext>
            </a:extLst>
          </a:blip>
          <a:srcRect/>
          <a:stretch>
            <a:fillRect/>
          </a:stretch>
        </p:blipFill>
        <p:spPr>
          <a:xfrm>
            <a:off x="0" y="1030288"/>
            <a:ext cx="3947576" cy="4452937"/>
          </a:xfrm>
        </p:spPr>
      </p:pic>
      <p:sp>
        <p:nvSpPr>
          <p:cNvPr id="5" name="Text Placeholder 4">
            <a:extLst>
              <a:ext uri="{FF2B5EF4-FFF2-40B4-BE49-F238E27FC236}">
                <a16:creationId xmlns:a16="http://schemas.microsoft.com/office/drawing/2014/main" id="{6A264178-E103-6659-C3C8-E99D94D8030E}"/>
              </a:ext>
            </a:extLst>
          </p:cNvPr>
          <p:cNvSpPr>
            <a:spLocks noGrp="1"/>
          </p:cNvSpPr>
          <p:nvPr>
            <p:ph type="body" sz="quarter" idx="16"/>
            <p:custDataLst>
              <p:tags r:id="rId2"/>
            </p:custDataLst>
          </p:nvPr>
        </p:nvSpPr>
        <p:spPr>
          <a:xfrm>
            <a:off x="340152" y="5533717"/>
            <a:ext cx="3383280" cy="684212"/>
          </a:xfrm>
        </p:spPr>
        <p:txBody>
          <a:bodyPr/>
          <a:lstStyle/>
          <a:p>
            <a:r>
              <a:rPr lang="en-US" sz="1800"/>
              <a:t>DEN Concourse Expansion</a:t>
            </a:r>
          </a:p>
          <a:p>
            <a:pPr lvl="1"/>
            <a:r>
              <a:rPr lang="en-US" sz="1800"/>
              <a:t>2017-2025</a:t>
            </a:r>
          </a:p>
        </p:txBody>
      </p:sp>
      <p:pic>
        <p:nvPicPr>
          <p:cNvPr id="11" name="Picture Placeholder 7">
            <a:extLst>
              <a:ext uri="{FF2B5EF4-FFF2-40B4-BE49-F238E27FC236}">
                <a16:creationId xmlns:a16="http://schemas.microsoft.com/office/drawing/2014/main" id="{E104CA2F-6864-59FE-E3DE-2912D522004B}"/>
              </a:ext>
              <a:ext uri="{C183D7F6-B498-43B3-948B-1728B52AA6E4}">
                <adec:decorative xmlns:adec="http://schemas.microsoft.com/office/drawing/2017/decorative" val="1"/>
              </a:ext>
            </a:extLst>
          </p:cNvPr>
          <p:cNvPicPr>
            <a:picLocks noGrp="1" noChangeAspect="1"/>
          </p:cNvPicPr>
          <p:nvPr>
            <p:ph type="pic" sz="quarter" idx="18"/>
            <p:custDataLst>
              <p:tags r:id="rId3"/>
            </p:custDataLst>
          </p:nvPr>
        </p:nvPicPr>
        <p:blipFill rotWithShape="1">
          <a:blip r:embed="rId13" cstate="email">
            <a:extLst>
              <a:ext uri="{28A0092B-C50C-407E-A947-70E740481C1C}">
                <a14:useLocalDpi xmlns:a14="http://schemas.microsoft.com/office/drawing/2010/main"/>
              </a:ext>
            </a:extLst>
          </a:blip>
          <a:srcRect/>
          <a:stretch>
            <a:fillRect/>
          </a:stretch>
        </p:blipFill>
        <p:spPr>
          <a:xfrm>
            <a:off x="4415593" y="1030288"/>
            <a:ext cx="3602563" cy="4452937"/>
          </a:xfrm>
        </p:spPr>
      </p:pic>
      <p:sp>
        <p:nvSpPr>
          <p:cNvPr id="8" name="Text Placeholder 7">
            <a:extLst>
              <a:ext uri="{FF2B5EF4-FFF2-40B4-BE49-F238E27FC236}">
                <a16:creationId xmlns:a16="http://schemas.microsoft.com/office/drawing/2014/main" id="{4257728E-AAE9-A5A6-D705-B060F80D081D}"/>
              </a:ext>
            </a:extLst>
          </p:cNvPr>
          <p:cNvSpPr>
            <a:spLocks noGrp="1"/>
          </p:cNvSpPr>
          <p:nvPr>
            <p:ph type="body" sz="quarter" idx="20"/>
            <p:custDataLst>
              <p:tags r:id="rId4"/>
            </p:custDataLst>
          </p:nvPr>
        </p:nvSpPr>
        <p:spPr>
          <a:xfrm>
            <a:off x="4295776" y="5533717"/>
            <a:ext cx="3383280" cy="684212"/>
          </a:xfrm>
        </p:spPr>
        <p:txBody>
          <a:bodyPr/>
          <a:lstStyle/>
          <a:p>
            <a:r>
              <a:rPr lang="en-US" sz="1800"/>
              <a:t>DEN PMSS (sub to JWI)</a:t>
            </a:r>
          </a:p>
          <a:p>
            <a:pPr lvl="1"/>
            <a:r>
              <a:rPr lang="en-US" sz="1800"/>
              <a:t>2022-present</a:t>
            </a:r>
          </a:p>
        </p:txBody>
      </p:sp>
      <p:pic>
        <p:nvPicPr>
          <p:cNvPr id="6" name="Picture Placeholder 18">
            <a:extLst>
              <a:ext uri="{FF2B5EF4-FFF2-40B4-BE49-F238E27FC236}">
                <a16:creationId xmlns:a16="http://schemas.microsoft.com/office/drawing/2014/main" id="{949F6023-F590-9569-588B-43B3C638FC6C}"/>
              </a:ext>
              <a:ext uri="{C183D7F6-B498-43B3-948B-1728B52AA6E4}">
                <adec:decorative xmlns:adec="http://schemas.microsoft.com/office/drawing/2017/decorative" val="1"/>
              </a:ext>
            </a:extLst>
          </p:cNvPr>
          <p:cNvPicPr>
            <a:picLocks/>
          </p:cNvPicPr>
          <p:nvPr>
            <p:custDataLst>
              <p:tags r:id="rId5"/>
            </p:custDataLst>
          </p:nvPr>
        </p:nvPicPr>
        <p:blipFill rotWithShape="1">
          <a:blip r:embed="rId14" cstate="email">
            <a:extLst>
              <a:ext uri="{28A0092B-C50C-407E-A947-70E740481C1C}">
                <a14:useLocalDpi xmlns:a14="http://schemas.microsoft.com/office/drawing/2010/main"/>
              </a:ext>
            </a:extLst>
          </a:blip>
          <a:srcRect l="-27"/>
          <a:stretch>
            <a:fillRect/>
          </a:stretch>
        </p:blipFill>
        <p:spPr>
          <a:xfrm>
            <a:off x="8242300" y="1034142"/>
            <a:ext cx="3949698" cy="1691640"/>
          </a:xfrm>
          <a:prstGeom prst="rect">
            <a:avLst/>
          </a:prstGeom>
        </p:spPr>
      </p:pic>
      <p:sp>
        <p:nvSpPr>
          <p:cNvPr id="7" name="Text Placeholder 8">
            <a:extLst>
              <a:ext uri="{FF2B5EF4-FFF2-40B4-BE49-F238E27FC236}">
                <a16:creationId xmlns:a16="http://schemas.microsoft.com/office/drawing/2014/main" id="{5F5B1B4C-2F9D-EEBE-C0E2-56BE5B2E5742}"/>
              </a:ext>
            </a:extLst>
          </p:cNvPr>
          <p:cNvSpPr txBox="1">
            <a:spLocks/>
          </p:cNvSpPr>
          <p:nvPr>
            <p:custDataLst>
              <p:tags r:id="rId6"/>
            </p:custDataLst>
          </p:nvPr>
        </p:nvSpPr>
        <p:spPr>
          <a:xfrm>
            <a:off x="8243352" y="2777563"/>
            <a:ext cx="3383280" cy="684212"/>
          </a:xfrm>
          <a:prstGeom prst="rect">
            <a:avLst/>
          </a:prstGeom>
        </p:spPr>
        <p:txBody>
          <a:bodyPr vert="horz" wrap="square" lIns="0" tIns="0" rIns="0" bIns="0" rtlCol="0">
            <a:noAutofit/>
          </a:bodyPr>
          <a:lstStyle>
            <a:lvl1pPr marL="0" indent="0" algn="l" defTabSz="914355" rtl="0" eaLnBrk="1" latinLnBrk="0" hangingPunct="1">
              <a:lnSpc>
                <a:spcPct val="100000"/>
              </a:lnSpc>
              <a:spcBef>
                <a:spcPts val="0"/>
              </a:spcBef>
              <a:spcAft>
                <a:spcPts val="0"/>
              </a:spcAft>
              <a:buFont typeface="Arial" panose="020B0604020202020204" pitchFamily="34" charset="0"/>
              <a:buNone/>
              <a:defRPr sz="1600" b="1" kern="1200" cap="none" baseline="0">
                <a:solidFill>
                  <a:schemeClr val="accent1"/>
                </a:solidFill>
                <a:latin typeface="+mn-lt"/>
                <a:ea typeface="+mn-ea"/>
                <a:cs typeface="+mn-cs"/>
              </a:defRPr>
            </a:lvl1pPr>
            <a:lvl2pPr marL="0" indent="0" algn="l" defTabSz="914355" rtl="0" eaLnBrk="1" latinLnBrk="0" hangingPunct="1">
              <a:lnSpc>
                <a:spcPct val="112000"/>
              </a:lnSpc>
              <a:spcBef>
                <a:spcPts val="0"/>
              </a:spcBef>
              <a:spcAft>
                <a:spcPts val="0"/>
              </a:spcAft>
              <a:buSzPct val="95000"/>
              <a:buFont typeface="Wingdings" panose="05000000000000000000" pitchFamily="2" charset="2"/>
              <a:buNone/>
              <a:defRPr sz="1200" kern="1200">
                <a:solidFill>
                  <a:schemeClr val="tx1"/>
                </a:solidFill>
                <a:latin typeface="+mn-lt"/>
                <a:ea typeface="+mn-ea"/>
                <a:cs typeface="+mn-cs"/>
              </a:defRPr>
            </a:lvl2pPr>
            <a:lvl3pPr marL="135000" indent="-135000" algn="l" defTabSz="914355" rtl="0" eaLnBrk="1" latinLnBrk="0" hangingPunct="1">
              <a:lnSpc>
                <a:spcPct val="112000"/>
              </a:lnSpc>
              <a:spcBef>
                <a:spcPts val="0"/>
              </a:spcBef>
              <a:spcAft>
                <a:spcPts val="0"/>
              </a:spcAft>
              <a:buSzPct val="95000"/>
              <a:buFont typeface="Arial" panose="020B0604020202020204" pitchFamily="34" charset="0"/>
              <a:buChar char="•"/>
              <a:tabLst/>
              <a:defRPr sz="1200" kern="1200">
                <a:solidFill>
                  <a:schemeClr val="bg1"/>
                </a:solidFill>
                <a:latin typeface="+mn-lt"/>
                <a:ea typeface="+mn-ea"/>
                <a:cs typeface="+mn-cs"/>
              </a:defRPr>
            </a:lvl3pPr>
            <a:lvl4pPr marL="680400" indent="-226800" algn="l" defTabSz="914355" rtl="0" eaLnBrk="1" latinLnBrk="0" hangingPunct="1">
              <a:lnSpc>
                <a:spcPct val="112000"/>
              </a:lnSpc>
              <a:spcBef>
                <a:spcPts val="0"/>
              </a:spcBef>
              <a:spcAft>
                <a:spcPts val="0"/>
              </a:spcAft>
              <a:buSzPct val="95000"/>
              <a:buFont typeface="Wingdings" panose="05000000000000000000" pitchFamily="2" charset="2"/>
              <a:buChar char=""/>
              <a:tabLst/>
              <a:defRPr sz="1200" kern="1200">
                <a:solidFill>
                  <a:schemeClr val="bg1"/>
                </a:solidFill>
                <a:latin typeface="+mn-lt"/>
                <a:ea typeface="+mn-ea"/>
                <a:cs typeface="+mn-cs"/>
              </a:defRPr>
            </a:lvl4pPr>
            <a:lvl5pPr marL="907200" indent="-226800" algn="l" defTabSz="914355" rtl="0" eaLnBrk="1" latinLnBrk="0" hangingPunct="1">
              <a:lnSpc>
                <a:spcPct val="112000"/>
              </a:lnSpc>
              <a:spcBef>
                <a:spcPts val="0"/>
              </a:spcBef>
              <a:spcAft>
                <a:spcPts val="0"/>
              </a:spcAft>
              <a:buSzPct val="95000"/>
              <a:buFont typeface="Wingdings" panose="05000000000000000000" pitchFamily="2" charset="2"/>
              <a:buChar char=""/>
              <a:tabLst/>
              <a:defRPr sz="1200" kern="1200">
                <a:solidFill>
                  <a:schemeClr val="bg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r>
              <a:rPr lang="en-US" sz="1800"/>
              <a:t>DEN Asset Management Gap Analysis and Strategic Plan</a:t>
            </a:r>
          </a:p>
          <a:p>
            <a:pPr lvl="1"/>
            <a:r>
              <a:rPr lang="en-US" sz="1800"/>
              <a:t>2014</a:t>
            </a:r>
          </a:p>
        </p:txBody>
      </p:sp>
      <p:pic>
        <p:nvPicPr>
          <p:cNvPr id="28" name="Picture Placeholder 18">
            <a:extLst>
              <a:ext uri="{FF2B5EF4-FFF2-40B4-BE49-F238E27FC236}">
                <a16:creationId xmlns:a16="http://schemas.microsoft.com/office/drawing/2014/main" id="{67F566CA-E932-C9B3-5C24-3F9B3AE27FC7}"/>
              </a:ext>
              <a:ext uri="{C183D7F6-B498-43B3-948B-1728B52AA6E4}">
                <adec:decorative xmlns:adec="http://schemas.microsoft.com/office/drawing/2017/decorative" val="1"/>
              </a:ext>
            </a:extLst>
          </p:cNvPr>
          <p:cNvPicPr>
            <a:picLocks noGrp="1"/>
          </p:cNvPicPr>
          <p:nvPr>
            <p:ph type="pic" sz="quarter" idx="19"/>
            <p:custDataLst>
              <p:tags r:id="rId7"/>
            </p:custDataLst>
          </p:nvPr>
        </p:nvPicPr>
        <p:blipFill>
          <a:blip r:embed="rId15" cstate="email">
            <a:extLst>
              <a:ext uri="{28A0092B-C50C-407E-A947-70E740481C1C}">
                <a14:useLocalDpi xmlns:a14="http://schemas.microsoft.com/office/drawing/2010/main"/>
              </a:ext>
            </a:extLst>
          </a:blip>
          <a:srcRect/>
          <a:stretch/>
        </p:blipFill>
        <p:spPr>
          <a:xfrm>
            <a:off x="8242300" y="3790296"/>
            <a:ext cx="3949699" cy="1691640"/>
          </a:xfrm>
        </p:spPr>
      </p:pic>
      <p:sp>
        <p:nvSpPr>
          <p:cNvPr id="9" name="Text Placeholder 8">
            <a:extLst>
              <a:ext uri="{FF2B5EF4-FFF2-40B4-BE49-F238E27FC236}">
                <a16:creationId xmlns:a16="http://schemas.microsoft.com/office/drawing/2014/main" id="{E8E857A0-5EAA-37E4-E981-25CAAE25591C}"/>
              </a:ext>
            </a:extLst>
          </p:cNvPr>
          <p:cNvSpPr>
            <a:spLocks noGrp="1"/>
          </p:cNvSpPr>
          <p:nvPr>
            <p:ph type="body" sz="quarter" idx="21"/>
            <p:custDataLst>
              <p:tags r:id="rId8"/>
            </p:custDataLst>
          </p:nvPr>
        </p:nvSpPr>
        <p:spPr>
          <a:xfrm>
            <a:off x="8243352" y="5533717"/>
            <a:ext cx="3383280" cy="684212"/>
          </a:xfrm>
        </p:spPr>
        <p:txBody>
          <a:bodyPr/>
          <a:lstStyle/>
          <a:p>
            <a:r>
              <a:rPr lang="en-US" sz="1800"/>
              <a:t>DEN Sustainability Roadmap</a:t>
            </a:r>
          </a:p>
          <a:p>
            <a:pPr lvl="1"/>
            <a:r>
              <a:rPr lang="en-US" sz="1800"/>
              <a:t>2018</a:t>
            </a:r>
          </a:p>
        </p:txBody>
      </p:sp>
      <p:sp>
        <p:nvSpPr>
          <p:cNvPr id="3" name="Slide Number Placeholder 2">
            <a:extLst>
              <a:ext uri="{FF2B5EF4-FFF2-40B4-BE49-F238E27FC236}">
                <a16:creationId xmlns:a16="http://schemas.microsoft.com/office/drawing/2014/main" id="{500C1ED0-7068-5FB4-1E17-C226ACF0593B}"/>
              </a:ext>
              <a:ext uri="{C183D7F6-B498-43B3-948B-1728B52AA6E4}">
                <adec:decorative xmlns:adec="http://schemas.microsoft.com/office/drawing/2017/decorative" val="1"/>
              </a:ext>
            </a:extLst>
          </p:cNvPr>
          <p:cNvSpPr>
            <a:spLocks noGrp="1"/>
          </p:cNvSpPr>
          <p:nvPr>
            <p:ph type="sldNum" sz="quarter" idx="12"/>
            <p:custDataLst>
              <p:tags r:id="rId9"/>
            </p:custDataLst>
          </p:nvPr>
        </p:nvSpPr>
        <p:spPr/>
        <p:txBody>
          <a:bodyPr/>
          <a:lstStyle/>
          <a:p>
            <a:fld id="{91D568E7-61F5-D04E-995D-81EF41C01A2A}" type="slidenum">
              <a:rPr lang="en-US" smtClean="0"/>
              <a:pPr/>
              <a:t>49</a:t>
            </a:fld>
            <a:endParaRPr lang="en-US"/>
          </a:p>
        </p:txBody>
      </p:sp>
    </p:spTree>
    <p:extLst>
      <p:ext uri="{BB962C8B-B14F-4D97-AF65-F5344CB8AC3E}">
        <p14:creationId xmlns:p14="http://schemas.microsoft.com/office/powerpoint/2010/main" val="2506645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9C162-ECFC-AEE3-6BD0-39591E9DCF79}"/>
            </a:ext>
          </a:extLst>
        </p:cNvPr>
        <p:cNvGrpSpPr/>
        <p:nvPr/>
      </p:nvGrpSpPr>
      <p:grpSpPr>
        <a:xfrm>
          <a:off x="0" y="0"/>
          <a:ext cx="0" cy="0"/>
          <a:chOff x="0" y="0"/>
          <a:chExt cx="0" cy="0"/>
        </a:xfrm>
      </p:grpSpPr>
      <p:sp>
        <p:nvSpPr>
          <p:cNvPr id="5" name="Text Placeholder 4" descr="​Meet the Primes, is a virtual outreach series intended to bring together firms who are working as a Prime at DEN and help connect them with local, small, and historically underutilized firms. &#10;&#10;These are held every other month on the 3rd Thursday&#10;Please go to https://www.eventbrite.com/o/doing-business-at-den-8527643555 for the event calendar. &#10;">
            <a:extLst>
              <a:ext uri="{FF2B5EF4-FFF2-40B4-BE49-F238E27FC236}">
                <a16:creationId xmlns:a16="http://schemas.microsoft.com/office/drawing/2014/main" id="{5D1B64AE-6CAA-5786-D008-76ADEDF00B76}"/>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800">
                <a:solidFill>
                  <a:srgbClr val="440099"/>
                </a:solidFill>
                <a:latin typeface="+mn-lt"/>
                <a:ea typeface="+mn-ea"/>
                <a:cs typeface="+mn-cs"/>
              </a:rPr>
              <a:t>Meet the Primes </a:t>
            </a:r>
            <a:endParaRPr kumimoji="0" lang="en-US" sz="2800" b="0" i="0" u="none" strike="noStrike" kern="1200" cap="none" spc="0" normalizeH="0" baseline="0" noProof="0">
              <a:ln>
                <a:noFill/>
              </a:ln>
              <a:solidFill>
                <a:srgbClr val="440099"/>
              </a:solidFill>
              <a:effectLst/>
              <a:uLnTx/>
              <a:uFillTx/>
              <a:latin typeface="+mn-lt"/>
              <a:ea typeface="+mn-ea"/>
              <a:cs typeface="+mn-cs"/>
            </a:endParaRPr>
          </a:p>
        </p:txBody>
      </p:sp>
      <p:sp>
        <p:nvSpPr>
          <p:cNvPr id="9" name="Text Placeholder 8">
            <a:extLst>
              <a:ext uri="{FF2B5EF4-FFF2-40B4-BE49-F238E27FC236}">
                <a16:creationId xmlns:a16="http://schemas.microsoft.com/office/drawing/2014/main" id="{EB8D038C-63A8-A3ED-E784-1A678FE3EFC1}"/>
              </a:ext>
              <a:ext uri="{C183D7F6-B498-43B3-948B-1728B52AA6E4}">
                <adec:decorative xmlns:adec="http://schemas.microsoft.com/office/drawing/2017/decorative" val="0"/>
              </a:ext>
            </a:extLst>
          </p:cNvPr>
          <p:cNvSpPr>
            <a:spLocks noGrp="1"/>
          </p:cNvSpPr>
          <p:nvPr>
            <p:ph type="body" sz="quarter" idx="14"/>
          </p:nvPr>
        </p:nvSpPr>
        <p:spPr>
          <a:xfrm>
            <a:off x="768811" y="1422097"/>
            <a:ext cx="8449287" cy="4295915"/>
          </a:xfrm>
        </p:spPr>
        <p:txBody>
          <a:bodyPr lIns="91440" tIns="45720" rIns="91440" bIns="45720" anchor="t"/>
          <a:lstStyle/>
          <a:p>
            <a:pPr marL="0" indent="0">
              <a:spcBef>
                <a:spcPts val="0"/>
              </a:spcBef>
              <a:buClr>
                <a:srgbClr val="E35B2A"/>
              </a:buClr>
              <a:buNone/>
              <a:tabLst>
                <a:tab pos="457200" algn="l"/>
              </a:tabLst>
            </a:pPr>
            <a:r>
              <a:rPr lang="en-US" sz="2000"/>
              <a:t>Virtual outreach event held twice a month to connect Prime firms at DEN with local, small, and historically underutilized firms, scheduled for the 3rd Thursday at 1 p.m.</a:t>
            </a:r>
          </a:p>
          <a:p>
            <a:pPr>
              <a:lnSpc>
                <a:spcPct val="150000"/>
              </a:lnSpc>
              <a:spcBef>
                <a:spcPts val="0"/>
              </a:spcBef>
              <a:buClr>
                <a:srgbClr val="E35B2A"/>
              </a:buClr>
              <a:tabLst>
                <a:tab pos="457200" algn="l"/>
              </a:tabLst>
            </a:pPr>
            <a:r>
              <a:rPr lang="en-US" sz="1900" b="1">
                <a:solidFill>
                  <a:schemeClr val="tx1"/>
                </a:solidFill>
                <a:cs typeface="Calibri"/>
              </a:rPr>
              <a:t>February 19 </a:t>
            </a:r>
            <a:r>
              <a:rPr lang="en-US" sz="1900">
                <a:solidFill>
                  <a:schemeClr val="tx1"/>
                </a:solidFill>
                <a:cs typeface="Calibri"/>
              </a:rPr>
              <a:t>- Concessions Prime Operators </a:t>
            </a:r>
          </a:p>
          <a:p>
            <a:pPr>
              <a:lnSpc>
                <a:spcPct val="150000"/>
              </a:lnSpc>
              <a:spcBef>
                <a:spcPts val="0"/>
              </a:spcBef>
              <a:buClr>
                <a:srgbClr val="E35B2A"/>
              </a:buClr>
              <a:tabLst>
                <a:tab pos="457200" algn="l"/>
              </a:tabLst>
            </a:pPr>
            <a:r>
              <a:rPr lang="en-US" sz="1900" b="1">
                <a:solidFill>
                  <a:schemeClr val="tx1"/>
                </a:solidFill>
                <a:cs typeface="Calibri"/>
              </a:rPr>
              <a:t>April 16 </a:t>
            </a:r>
            <a:r>
              <a:rPr lang="en-US" sz="1900">
                <a:solidFill>
                  <a:schemeClr val="tx1"/>
                </a:solidFill>
                <a:cs typeface="Calibri"/>
              </a:rPr>
              <a:t>- Rental Car Company </a:t>
            </a:r>
          </a:p>
          <a:p>
            <a:pPr>
              <a:lnSpc>
                <a:spcPct val="150000"/>
              </a:lnSpc>
              <a:spcBef>
                <a:spcPts val="0"/>
              </a:spcBef>
              <a:buClr>
                <a:srgbClr val="E35B2A"/>
              </a:buClr>
              <a:tabLst>
                <a:tab pos="457200" algn="l"/>
              </a:tabLst>
            </a:pPr>
            <a:r>
              <a:rPr lang="en-US" sz="1900" b="1">
                <a:solidFill>
                  <a:schemeClr val="tx1"/>
                </a:solidFill>
                <a:cs typeface="Calibri"/>
              </a:rPr>
              <a:t>June 18- </a:t>
            </a:r>
            <a:r>
              <a:rPr lang="en-US" sz="1900">
                <a:solidFill>
                  <a:schemeClr val="tx1"/>
                </a:solidFill>
                <a:cs typeface="Calibri"/>
              </a:rPr>
              <a:t>General Contractors</a:t>
            </a:r>
          </a:p>
          <a:p>
            <a:pPr>
              <a:lnSpc>
                <a:spcPct val="150000"/>
              </a:lnSpc>
              <a:spcBef>
                <a:spcPts val="0"/>
              </a:spcBef>
              <a:buClr>
                <a:srgbClr val="E35B2A"/>
              </a:buClr>
              <a:tabLst>
                <a:tab pos="457200" algn="l"/>
              </a:tabLst>
            </a:pPr>
            <a:r>
              <a:rPr lang="en-US" sz="1900" b="1">
                <a:solidFill>
                  <a:schemeClr val="tx1"/>
                </a:solidFill>
                <a:cs typeface="Calibri"/>
              </a:rPr>
              <a:t>August 20 </a:t>
            </a:r>
            <a:r>
              <a:rPr lang="en-US" sz="1900">
                <a:solidFill>
                  <a:schemeClr val="tx1"/>
                </a:solidFill>
                <a:cs typeface="Calibri"/>
              </a:rPr>
              <a:t>- Construction Specialty Trade Contractor</a:t>
            </a:r>
          </a:p>
          <a:p>
            <a:pPr>
              <a:lnSpc>
                <a:spcPct val="150000"/>
              </a:lnSpc>
              <a:spcBef>
                <a:spcPts val="0"/>
              </a:spcBef>
              <a:buClr>
                <a:srgbClr val="E35B2A"/>
              </a:buClr>
              <a:tabLst>
                <a:tab pos="457200" algn="l"/>
              </a:tabLst>
            </a:pPr>
            <a:r>
              <a:rPr lang="en-US" sz="1900" b="1">
                <a:solidFill>
                  <a:schemeClr val="tx1"/>
                </a:solidFill>
                <a:cs typeface="Calibri"/>
              </a:rPr>
              <a:t>October 15 </a:t>
            </a:r>
            <a:r>
              <a:rPr lang="en-US" sz="1900">
                <a:solidFill>
                  <a:schemeClr val="tx1"/>
                </a:solidFill>
                <a:cs typeface="Calibri"/>
              </a:rPr>
              <a:t>- Airlines, Hotelier and Commercial Developers on DEN property</a:t>
            </a:r>
          </a:p>
          <a:p>
            <a:pPr>
              <a:lnSpc>
                <a:spcPct val="150000"/>
              </a:lnSpc>
              <a:spcBef>
                <a:spcPts val="0"/>
              </a:spcBef>
              <a:buClr>
                <a:srgbClr val="E35B2A"/>
              </a:buClr>
              <a:tabLst>
                <a:tab pos="457200" algn="l"/>
              </a:tabLst>
            </a:pPr>
            <a:r>
              <a:rPr lang="en-US" sz="1900" b="1">
                <a:solidFill>
                  <a:schemeClr val="tx1"/>
                </a:solidFill>
                <a:cs typeface="Calibri"/>
              </a:rPr>
              <a:t>December 17 </a:t>
            </a:r>
            <a:r>
              <a:rPr lang="en-US" sz="1900">
                <a:solidFill>
                  <a:schemeClr val="tx1"/>
                </a:solidFill>
                <a:cs typeface="Calibri"/>
              </a:rPr>
              <a:t>-  Architecture, Engineering, and Professional Services</a:t>
            </a:r>
          </a:p>
        </p:txBody>
      </p:sp>
      <p:pic>
        <p:nvPicPr>
          <p:cNvPr id="13" name="Picture Placeholder 12">
            <a:extLst>
              <a:ext uri="{FF2B5EF4-FFF2-40B4-BE49-F238E27FC236}">
                <a16:creationId xmlns:a16="http://schemas.microsoft.com/office/drawing/2014/main" id="{0C9479D3-9F16-7F75-5D9E-0674B22A38B5}"/>
              </a:ext>
              <a:ext uri="{C183D7F6-B498-43B3-948B-1728B52AA6E4}">
                <adec:decorative xmlns:adec="http://schemas.microsoft.com/office/drawing/2017/decorative" val="1"/>
              </a:ext>
            </a:extLst>
          </p:cNvPr>
          <p:cNvPicPr>
            <a:picLocks noGrp="1" noChangeAspect="1"/>
          </p:cNvPicPr>
          <p:nvPr>
            <p:ph type="pic" sz="quarter" idx="15"/>
          </p:nvPr>
        </p:nvPicPr>
        <p:blipFill>
          <a:blip r:embed="rId3" cstate="email">
            <a:extLst>
              <a:ext uri="{28A0092B-C50C-407E-A947-70E740481C1C}">
                <a14:useLocalDpi xmlns:a14="http://schemas.microsoft.com/office/drawing/2010/main"/>
              </a:ext>
            </a:extLst>
          </a:blip>
          <a:srcRect/>
          <a:stretch>
            <a:fillRect/>
          </a:stretch>
        </p:blipFill>
        <p:spPr>
          <a:xfrm>
            <a:off x="8499508" y="-64168"/>
            <a:ext cx="3871568" cy="7121460"/>
          </a:xfrm>
        </p:spPr>
      </p:pic>
      <p:sp>
        <p:nvSpPr>
          <p:cNvPr id="10" name="TextBox 9">
            <a:extLst>
              <a:ext uri="{FF2B5EF4-FFF2-40B4-BE49-F238E27FC236}">
                <a16:creationId xmlns:a16="http://schemas.microsoft.com/office/drawing/2014/main" id="{F5CC46E9-8222-A380-746F-35B0D892C194}"/>
              </a:ext>
              <a:ext uri="{C183D7F6-B498-43B3-948B-1728B52AA6E4}">
                <adec:decorative xmlns:adec="http://schemas.microsoft.com/office/drawing/2017/decorative" val="0"/>
              </a:ext>
            </a:extLst>
          </p:cNvPr>
          <p:cNvSpPr txBox="1"/>
          <p:nvPr/>
        </p:nvSpPr>
        <p:spPr>
          <a:xfrm>
            <a:off x="768811" y="5317320"/>
            <a:ext cx="2752365" cy="369332"/>
          </a:xfrm>
          <a:prstGeom prst="rect">
            <a:avLst/>
          </a:prstGeom>
          <a:noFill/>
        </p:spPr>
        <p:txBody>
          <a:bodyPr wrap="square">
            <a:spAutoFit/>
          </a:bodyPr>
          <a:lstStyle/>
          <a:p>
            <a:pPr>
              <a:buNone/>
            </a:pPr>
            <a:r>
              <a:rPr lang="en-US" b="1"/>
              <a:t>Scan to Attend &amp; Network!</a:t>
            </a:r>
            <a:endParaRPr lang="en-US"/>
          </a:p>
        </p:txBody>
      </p:sp>
      <p:pic>
        <p:nvPicPr>
          <p:cNvPr id="2" name="Picture 2" descr="A qr code to redirect to Eventbrite.com to follow DEN for upcoming events.  https://www.eventbrite.com/o/do-business-with-den-8527643555">
            <a:extLst>
              <a:ext uri="{FF2B5EF4-FFF2-40B4-BE49-F238E27FC236}">
                <a16:creationId xmlns:a16="http://schemas.microsoft.com/office/drawing/2014/main" id="{476A2AE0-31EC-B0B0-9B16-A2FEC61ECB58}"/>
              </a:ext>
              <a:ext uri="{C183D7F6-B498-43B3-948B-1728B52AA6E4}">
                <adec:decorative xmlns:adec="http://schemas.microsoft.com/office/drawing/2017/decorative" val="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7738" y="5826320"/>
            <a:ext cx="742882" cy="74288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F387C2F-2C98-0C65-641D-3BFF28DD5C0E}"/>
              </a:ext>
              <a:ext uri="{C183D7F6-B498-43B3-948B-1728B52AA6E4}">
                <adec:decorative xmlns:adec="http://schemas.microsoft.com/office/drawing/2017/decorative" val="0"/>
              </a:ext>
            </a:extLst>
          </p:cNvPr>
          <p:cNvSpPr txBox="1"/>
          <p:nvPr/>
        </p:nvSpPr>
        <p:spPr>
          <a:xfrm>
            <a:off x="6225231" y="5121311"/>
            <a:ext cx="3258161" cy="646331"/>
          </a:xfrm>
          <a:prstGeom prst="rect">
            <a:avLst/>
          </a:prstGeom>
          <a:noFill/>
        </p:spPr>
        <p:txBody>
          <a:bodyPr wrap="square">
            <a:spAutoFit/>
          </a:bodyPr>
          <a:lstStyle/>
          <a:p>
            <a:pPr>
              <a:buNone/>
            </a:pPr>
            <a:r>
              <a:rPr lang="en-US" b="1"/>
              <a:t>Prime Companies Eligible to Present</a:t>
            </a:r>
            <a:endParaRPr lang="en-US"/>
          </a:p>
        </p:txBody>
      </p:sp>
      <p:pic>
        <p:nvPicPr>
          <p:cNvPr id="3" name="Picture 2" descr="A qr code for Prime Companies to sign up to present. https://forms.office.com/r/zmHt41H237">
            <a:extLst>
              <a:ext uri="{FF2B5EF4-FFF2-40B4-BE49-F238E27FC236}">
                <a16:creationId xmlns:a16="http://schemas.microsoft.com/office/drawing/2014/main" id="{792670AF-8DB2-8DBB-AA2A-71DCC5570674}"/>
              </a:ext>
              <a:ext uri="{C183D7F6-B498-43B3-948B-1728B52AA6E4}">
                <adec:decorative xmlns:adec="http://schemas.microsoft.com/office/drawing/2017/decorative" val="0"/>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8113752" y="5655546"/>
            <a:ext cx="812655" cy="819484"/>
          </a:xfrm>
          <a:prstGeom prst="rect">
            <a:avLst/>
          </a:prstGeom>
        </p:spPr>
      </p:pic>
    </p:spTree>
    <p:extLst>
      <p:ext uri="{BB962C8B-B14F-4D97-AF65-F5344CB8AC3E}">
        <p14:creationId xmlns:p14="http://schemas.microsoft.com/office/powerpoint/2010/main" val="35776504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B730D-845B-D49E-D31E-4831D5B4EEC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68EDC72-980F-DB3F-EFF3-61177BDBF5AF}"/>
              </a:ext>
            </a:extLst>
          </p:cNvPr>
          <p:cNvSpPr>
            <a:spLocks noGrp="1"/>
          </p:cNvSpPr>
          <p:nvPr>
            <p:ph type="title"/>
            <p:custDataLst>
              <p:tags r:id="rId2"/>
            </p:custDataLst>
          </p:nvPr>
        </p:nvSpPr>
        <p:spPr/>
        <p:txBody>
          <a:bodyPr/>
          <a:lstStyle/>
          <a:p>
            <a:r>
              <a:rPr lang="en-US"/>
              <a:t>Opportunities to engage with WSP</a:t>
            </a:r>
          </a:p>
        </p:txBody>
      </p:sp>
      <p:sp>
        <p:nvSpPr>
          <p:cNvPr id="8" name="Content Placeholder 7">
            <a:extLst>
              <a:ext uri="{FF2B5EF4-FFF2-40B4-BE49-F238E27FC236}">
                <a16:creationId xmlns:a16="http://schemas.microsoft.com/office/drawing/2014/main" id="{92B78BA7-ED7E-9BBB-B797-60386204BBC4}"/>
              </a:ext>
            </a:extLst>
          </p:cNvPr>
          <p:cNvSpPr>
            <a:spLocks noGrp="1"/>
          </p:cNvSpPr>
          <p:nvPr>
            <p:ph sz="quarter" idx="13"/>
          </p:nvPr>
        </p:nvSpPr>
        <p:spPr>
          <a:xfrm>
            <a:off x="342898" y="2057399"/>
            <a:ext cx="3657600" cy="3768725"/>
          </a:xfrm>
        </p:spPr>
        <p:txBody>
          <a:bodyPr>
            <a:normAutofit fontScale="92500" lnSpcReduction="10000"/>
          </a:bodyPr>
          <a:lstStyle/>
          <a:p>
            <a:r>
              <a:rPr lang="en-US" sz="1800"/>
              <a:t>Supplier diversity program</a:t>
            </a:r>
          </a:p>
          <a:p>
            <a:pPr lvl="1">
              <a:lnSpc>
                <a:spcPct val="100000"/>
              </a:lnSpc>
              <a:buFont typeface="Wingdings" panose="05000000000000000000" pitchFamily="2" charset="2"/>
              <a:buChar char="§"/>
            </a:pPr>
            <a:r>
              <a:rPr lang="en-US" sz="1800"/>
              <a:t>Host an annual HUB event—</a:t>
            </a:r>
            <a:r>
              <a:rPr lang="en-US" sz="1800">
                <a:solidFill>
                  <a:schemeClr val="accent2"/>
                </a:solidFill>
              </a:rPr>
              <a:t>Partnership 360 Denver</a:t>
            </a:r>
            <a:r>
              <a:rPr lang="en-US" sz="1800"/>
              <a:t>—next on will be in </a:t>
            </a:r>
            <a:r>
              <a:rPr lang="en-US" sz="1800">
                <a:solidFill>
                  <a:schemeClr val="accent2"/>
                </a:solidFill>
              </a:rPr>
              <a:t>April 2026</a:t>
            </a:r>
          </a:p>
          <a:p>
            <a:pPr lvl="1">
              <a:lnSpc>
                <a:spcPct val="100000"/>
              </a:lnSpc>
              <a:buFont typeface="Wingdings" panose="05000000000000000000" pitchFamily="2" charset="2"/>
              <a:buChar char="§"/>
            </a:pPr>
            <a:r>
              <a:rPr lang="en-US" sz="1800"/>
              <a:t>Participate in mentor/protégé programs</a:t>
            </a:r>
          </a:p>
          <a:p>
            <a:pPr lvl="1">
              <a:lnSpc>
                <a:spcPct val="100000"/>
              </a:lnSpc>
              <a:buFont typeface="Wingdings" panose="05000000000000000000" pitchFamily="2" charset="2"/>
              <a:buChar char="§"/>
            </a:pPr>
            <a:r>
              <a:rPr lang="en-US" sz="1800"/>
              <a:t>Engage in industry and HUB events, e.g. CEEA, WTS, COMTO, HCC, Commuting Solutions, etc. </a:t>
            </a:r>
          </a:p>
          <a:p>
            <a:pPr lvl="1">
              <a:lnSpc>
                <a:spcPct val="100000"/>
              </a:lnSpc>
              <a:buFont typeface="Wingdings" panose="05000000000000000000" pitchFamily="2" charset="2"/>
              <a:buChar char="§"/>
            </a:pPr>
            <a:r>
              <a:rPr lang="en-US" sz="1800"/>
              <a:t>Maintain a strong track record of exceeding DBE participation goals on airport projects across the country </a:t>
            </a:r>
          </a:p>
          <a:p>
            <a:pPr lvl="1">
              <a:buFont typeface="Wingdings" panose="05000000000000000000" pitchFamily="2" charset="2"/>
              <a:buChar char="§"/>
            </a:pPr>
            <a:endParaRPr lang="en-US" sz="1800"/>
          </a:p>
          <a:p>
            <a:pPr marL="0" lvl="1" indent="0">
              <a:buNone/>
            </a:pPr>
            <a:endParaRPr lang="en-US" sz="1800"/>
          </a:p>
          <a:p>
            <a:endParaRPr lang="en-US" sz="1800"/>
          </a:p>
          <a:p>
            <a:endParaRPr lang="en-US" sz="1800"/>
          </a:p>
        </p:txBody>
      </p:sp>
      <p:sp>
        <p:nvSpPr>
          <p:cNvPr id="9" name="Content Placeholder 8">
            <a:extLst>
              <a:ext uri="{FF2B5EF4-FFF2-40B4-BE49-F238E27FC236}">
                <a16:creationId xmlns:a16="http://schemas.microsoft.com/office/drawing/2014/main" id="{88B91D47-4F05-1E30-742C-008FC9AC47EF}"/>
              </a:ext>
            </a:extLst>
          </p:cNvPr>
          <p:cNvSpPr>
            <a:spLocks noGrp="1"/>
          </p:cNvSpPr>
          <p:nvPr>
            <p:ph sz="quarter" idx="14"/>
            <p:custDataLst>
              <p:tags r:id="rId3"/>
            </p:custDataLst>
          </p:nvPr>
        </p:nvSpPr>
        <p:spPr>
          <a:xfrm>
            <a:off x="4292599" y="2057399"/>
            <a:ext cx="4023360" cy="3768725"/>
          </a:xfrm>
        </p:spPr>
        <p:txBody>
          <a:bodyPr>
            <a:normAutofit fontScale="92500" lnSpcReduction="20000"/>
          </a:bodyPr>
          <a:lstStyle/>
          <a:p>
            <a:r>
              <a:rPr lang="en-US" sz="1800"/>
              <a:t>Current projects/on-calls</a:t>
            </a:r>
          </a:p>
          <a:p>
            <a:pPr lvl="1">
              <a:spcAft>
                <a:spcPts val="0"/>
              </a:spcAft>
              <a:buFont typeface="Wingdings" panose="05000000000000000000" pitchFamily="2" charset="2"/>
              <a:buChar char="§"/>
            </a:pPr>
            <a:r>
              <a:rPr lang="en-US" sz="1800"/>
              <a:t>CCD General Engineering (Bridge Design, Program/Project Mgt)</a:t>
            </a:r>
          </a:p>
          <a:p>
            <a:pPr lvl="1">
              <a:spcAft>
                <a:spcPts val="0"/>
              </a:spcAft>
              <a:buFont typeface="Wingdings" panose="05000000000000000000" pitchFamily="2" charset="2"/>
              <a:buChar char="§"/>
            </a:pPr>
            <a:r>
              <a:rPr lang="en-US" sz="1800"/>
              <a:t>CCD Transportation &amp; Mobility</a:t>
            </a:r>
          </a:p>
          <a:p>
            <a:r>
              <a:rPr lang="en-US" sz="1800"/>
              <a:t>Upcoming procurements</a:t>
            </a:r>
          </a:p>
          <a:p>
            <a:pPr lvl="1">
              <a:spcAft>
                <a:spcPts val="0"/>
              </a:spcAft>
              <a:buFont typeface="Wingdings" panose="05000000000000000000" pitchFamily="2" charset="2"/>
              <a:buChar char="§"/>
            </a:pPr>
            <a:r>
              <a:rPr lang="en-US" sz="1800"/>
              <a:t>DEN A&amp;E and PDSS on-calls </a:t>
            </a:r>
            <a:r>
              <a:rPr lang="en-US"/>
              <a:t>(submitted)</a:t>
            </a:r>
          </a:p>
          <a:p>
            <a:pPr lvl="1">
              <a:spcAft>
                <a:spcPts val="0"/>
              </a:spcAft>
              <a:buFont typeface="Wingdings" panose="05000000000000000000" pitchFamily="2" charset="2"/>
              <a:buChar char="§"/>
            </a:pPr>
            <a:r>
              <a:rPr lang="en-US" sz="1800"/>
              <a:t>DEN North Terminal Design</a:t>
            </a:r>
          </a:p>
          <a:p>
            <a:pPr lvl="1">
              <a:spcAft>
                <a:spcPts val="0"/>
              </a:spcAft>
              <a:buFont typeface="Wingdings" panose="05000000000000000000" pitchFamily="2" charset="2"/>
              <a:buChar char="§"/>
            </a:pPr>
            <a:r>
              <a:rPr lang="en-US" sz="1800"/>
              <a:t>DEN Alternative Energy </a:t>
            </a:r>
          </a:p>
          <a:p>
            <a:pPr lvl="1">
              <a:spcAft>
                <a:spcPts val="0"/>
              </a:spcAft>
              <a:buFont typeface="Wingdings" panose="05000000000000000000" pitchFamily="2" charset="2"/>
              <a:buChar char="§"/>
            </a:pPr>
            <a:r>
              <a:rPr lang="en-US" sz="1800"/>
              <a:t>DEN Electrification Capacity Planning</a:t>
            </a:r>
          </a:p>
          <a:p>
            <a:pPr lvl="1">
              <a:spcAft>
                <a:spcPts val="0"/>
              </a:spcAft>
              <a:buFont typeface="Wingdings" panose="05000000000000000000" pitchFamily="2" charset="2"/>
              <a:buChar char="§"/>
            </a:pPr>
            <a:r>
              <a:rPr lang="en-US" sz="1800"/>
              <a:t>CCD 6</a:t>
            </a:r>
            <a:r>
              <a:rPr lang="en-US" sz="1800" baseline="30000"/>
              <a:t>th</a:t>
            </a:r>
            <a:r>
              <a:rPr lang="en-US" sz="1800"/>
              <a:t> &amp; 8</a:t>
            </a:r>
            <a:r>
              <a:rPr lang="en-US" sz="1800" baseline="30000"/>
              <a:t>th</a:t>
            </a:r>
            <a:r>
              <a:rPr lang="en-US" sz="1800"/>
              <a:t> Avenue Viaduct</a:t>
            </a:r>
          </a:p>
          <a:p>
            <a:pPr lvl="1">
              <a:spcAft>
                <a:spcPts val="0"/>
              </a:spcAft>
              <a:buFont typeface="Wingdings" panose="05000000000000000000" pitchFamily="2" charset="2"/>
              <a:buChar char="§"/>
            </a:pPr>
            <a:r>
              <a:rPr lang="en-US" sz="1800"/>
              <a:t>RTD Planning for New Bus Facility</a:t>
            </a:r>
          </a:p>
          <a:p>
            <a:pPr lvl="1">
              <a:spcAft>
                <a:spcPts val="0"/>
              </a:spcAft>
              <a:buFont typeface="Wingdings" panose="05000000000000000000" pitchFamily="2" charset="2"/>
              <a:buChar char="§"/>
            </a:pPr>
            <a:r>
              <a:rPr lang="en-US" sz="1800"/>
              <a:t>Multiple municipal on-calls</a:t>
            </a:r>
          </a:p>
          <a:p>
            <a:pPr lvl="1">
              <a:buFont typeface="Wingdings" panose="05000000000000000000" pitchFamily="2" charset="2"/>
              <a:buChar char="§"/>
            </a:pPr>
            <a:r>
              <a:rPr lang="en-US" sz="1800"/>
              <a:t>Local agency support for FRPR</a:t>
            </a:r>
          </a:p>
          <a:p>
            <a:pPr marL="0" lvl="1" indent="0">
              <a:buNone/>
            </a:pPr>
            <a:endParaRPr lang="en-US" sz="1800"/>
          </a:p>
          <a:p>
            <a:endParaRPr lang="en-US" sz="1800"/>
          </a:p>
          <a:p>
            <a:endParaRPr lang="en-US" sz="1800"/>
          </a:p>
        </p:txBody>
      </p:sp>
      <p:sp>
        <p:nvSpPr>
          <p:cNvPr id="2" name="Slide Number Placeholder 1">
            <a:extLst>
              <a:ext uri="{FF2B5EF4-FFF2-40B4-BE49-F238E27FC236}">
                <a16:creationId xmlns:a16="http://schemas.microsoft.com/office/drawing/2014/main" id="{44BBBEBE-5493-0E55-7591-908E41857561}"/>
              </a:ext>
              <a:ext uri="{C183D7F6-B498-43B3-948B-1728B52AA6E4}">
                <adec:decorative xmlns:adec="http://schemas.microsoft.com/office/drawing/2017/decorative" val="1"/>
              </a:ext>
            </a:extLst>
          </p:cNvPr>
          <p:cNvSpPr>
            <a:spLocks noGrp="1"/>
          </p:cNvSpPr>
          <p:nvPr>
            <p:ph type="sldNum" sz="quarter" idx="12"/>
            <p:custDataLst>
              <p:tags r:id="rId4"/>
            </p:custDataLst>
          </p:nvPr>
        </p:nvSpPr>
        <p:spPr/>
        <p:txBody>
          <a:bodyPr/>
          <a:lstStyle/>
          <a:p>
            <a:fld id="{91D568E7-61F5-D04E-995D-81EF41C01A2A}" type="slidenum">
              <a:rPr lang="en-US" smtClean="0"/>
              <a:pPr/>
              <a:t>50</a:t>
            </a:fld>
            <a:endParaRPr lang="en-US"/>
          </a:p>
        </p:txBody>
      </p:sp>
      <p:pic>
        <p:nvPicPr>
          <p:cNvPr id="10" name="Picture 9" descr="Image of WSP USA's president standing at a podium next to DEN CEO, Phil Washington at the Equity Infrastructure Project pledge signing event in 2024 in Chicago, IL. ">
            <a:extLst>
              <a:ext uri="{FF2B5EF4-FFF2-40B4-BE49-F238E27FC236}">
                <a16:creationId xmlns:a16="http://schemas.microsoft.com/office/drawing/2014/main" id="{C52A6C4B-3979-6023-1A5E-72B3BF47412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a:fillRect/>
          </a:stretch>
        </p:blipFill>
        <p:spPr>
          <a:xfrm>
            <a:off x="8428943" y="1"/>
            <a:ext cx="3763057" cy="1892300"/>
          </a:xfrm>
          <a:prstGeom prst="rect">
            <a:avLst/>
          </a:prstGeom>
        </p:spPr>
      </p:pic>
      <p:pic>
        <p:nvPicPr>
          <p:cNvPr id="1026" name="Picture 2" descr="Image of the 2024 Partnership 360 event in Denver, where WSP hosted numerous Historically Underutilized Businesses (HUBs) to network and discuss partnership opportunities.  ">
            <a:extLst>
              <a:ext uri="{FF2B5EF4-FFF2-40B4-BE49-F238E27FC236}">
                <a16:creationId xmlns:a16="http://schemas.microsoft.com/office/drawing/2014/main" id="{B9B7AF36-6365-7838-D332-24515731E2CB}"/>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a:fillRect/>
          </a:stretch>
        </p:blipFill>
        <p:spPr bwMode="auto">
          <a:xfrm>
            <a:off x="8432871" y="2031096"/>
            <a:ext cx="3763056" cy="18923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of WSP staff at the DEN's Business Development Training Academy/ Center of Equity and Excellence in Aviation event in 2024. Image includes Larry Schneider, Jacob Hilton, and Zamy Silva. ">
            <a:extLst>
              <a:ext uri="{FF2B5EF4-FFF2-40B4-BE49-F238E27FC236}">
                <a16:creationId xmlns:a16="http://schemas.microsoft.com/office/drawing/2014/main" id="{1447FE99-0589-B446-E17C-E83D2C11E5FC}"/>
              </a:ext>
            </a:extLst>
          </p:cNvPr>
          <p:cNvPicPr preferRelativeResize="0">
            <a:picLocks noChangeArrowheads="1"/>
          </p:cNvPicPr>
          <p:nvPr/>
        </p:nvPicPr>
        <p:blipFill rotWithShape="1">
          <a:blip r:embed="rId9" cstate="email">
            <a:extLst>
              <a:ext uri="{28A0092B-C50C-407E-A947-70E740481C1C}">
                <a14:useLocalDpi xmlns:a14="http://schemas.microsoft.com/office/drawing/2010/main"/>
              </a:ext>
            </a:extLst>
          </a:blip>
          <a:srcRect/>
          <a:stretch>
            <a:fillRect/>
          </a:stretch>
        </p:blipFill>
        <p:spPr bwMode="auto">
          <a:xfrm>
            <a:off x="8432871" y="4062191"/>
            <a:ext cx="3759129" cy="189280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789453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233DD-47F5-2415-1144-69D732E4CB4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55A1777-1897-1A70-59BF-D74226C111B4}"/>
              </a:ext>
            </a:extLst>
          </p:cNvPr>
          <p:cNvSpPr>
            <a:spLocks noGrp="1"/>
          </p:cNvSpPr>
          <p:nvPr>
            <p:ph type="title"/>
            <p:custDataLst>
              <p:tags r:id="rId2"/>
            </p:custDataLst>
          </p:nvPr>
        </p:nvSpPr>
        <p:spPr/>
        <p:txBody>
          <a:bodyPr/>
          <a:lstStyle/>
          <a:p>
            <a:r>
              <a:rPr lang="en-US"/>
              <a:t>Next steps…</a:t>
            </a:r>
          </a:p>
        </p:txBody>
      </p:sp>
      <p:sp>
        <p:nvSpPr>
          <p:cNvPr id="8" name="Content Placeholder 7">
            <a:extLst>
              <a:ext uri="{FF2B5EF4-FFF2-40B4-BE49-F238E27FC236}">
                <a16:creationId xmlns:a16="http://schemas.microsoft.com/office/drawing/2014/main" id="{CB71E7C9-B45F-FC21-57D3-B71667AA788A}"/>
              </a:ext>
            </a:extLst>
          </p:cNvPr>
          <p:cNvSpPr>
            <a:spLocks noGrp="1"/>
          </p:cNvSpPr>
          <p:nvPr>
            <p:ph sz="quarter" idx="13"/>
          </p:nvPr>
        </p:nvSpPr>
        <p:spPr>
          <a:xfrm>
            <a:off x="342896" y="2400299"/>
            <a:ext cx="5111973" cy="3768725"/>
          </a:xfrm>
        </p:spPr>
        <p:txBody>
          <a:bodyPr>
            <a:normAutofit lnSpcReduction="10000"/>
          </a:bodyPr>
          <a:lstStyle/>
          <a:p>
            <a:r>
              <a:rPr lang="en-US" sz="1800"/>
              <a:t>Contact our local team</a:t>
            </a:r>
          </a:p>
          <a:p>
            <a:pPr lvl="1">
              <a:spcAft>
                <a:spcPts val="0"/>
              </a:spcAft>
              <a:buFont typeface="Wingdings" panose="05000000000000000000" pitchFamily="2" charset="2"/>
              <a:buChar char="§"/>
            </a:pPr>
            <a:r>
              <a:rPr lang="en-US" sz="1800" b="1">
                <a:hlinkClick r:id="rId17">
                  <a:extLst>
                    <a:ext uri="{A12FA001-AC4F-418D-AE19-62706E023703}">
                      <ahyp:hlinkClr xmlns:ahyp="http://schemas.microsoft.com/office/drawing/2018/hyperlinkcolor" val="tx"/>
                    </a:ext>
                  </a:extLst>
                </a:hlinkClick>
              </a:rPr>
              <a:t>Kelly Knowles</a:t>
            </a:r>
            <a:r>
              <a:rPr lang="en-US" sz="1800"/>
              <a:t>, DEN Account Lead </a:t>
            </a:r>
          </a:p>
          <a:p>
            <a:pPr lvl="1">
              <a:spcAft>
                <a:spcPts val="0"/>
              </a:spcAft>
              <a:buFont typeface="Wingdings" panose="05000000000000000000" pitchFamily="2" charset="2"/>
              <a:buChar char="§"/>
            </a:pPr>
            <a:r>
              <a:rPr lang="en-US" sz="1800" b="1">
                <a:hlinkClick r:id="rId18">
                  <a:extLst>
                    <a:ext uri="{A12FA001-AC4F-418D-AE19-62706E023703}">
                      <ahyp:hlinkClr xmlns:ahyp="http://schemas.microsoft.com/office/drawing/2018/hyperlinkcolor" val="tx"/>
                    </a:ext>
                  </a:extLst>
                </a:hlinkClick>
              </a:rPr>
              <a:t>Zamy Silva</a:t>
            </a:r>
            <a:r>
              <a:rPr lang="en-US" sz="1800"/>
              <a:t>, HUB Liaison and Civil Rights Compliance Advisor</a:t>
            </a:r>
          </a:p>
          <a:p>
            <a:pPr lvl="1">
              <a:spcAft>
                <a:spcPts val="0"/>
              </a:spcAft>
              <a:buFont typeface="Wingdings" panose="05000000000000000000" pitchFamily="2" charset="2"/>
              <a:buChar char="§"/>
            </a:pPr>
            <a:r>
              <a:rPr lang="en-US" sz="1800" b="1">
                <a:hlinkClick r:id="rId19">
                  <a:extLst>
                    <a:ext uri="{A12FA001-AC4F-418D-AE19-62706E023703}">
                      <ahyp:hlinkClr xmlns:ahyp="http://schemas.microsoft.com/office/drawing/2018/hyperlinkcolor" val="tx"/>
                    </a:ext>
                  </a:extLst>
                </a:hlinkClick>
              </a:rPr>
              <a:t>Natriece Bryant</a:t>
            </a:r>
            <a:r>
              <a:rPr lang="en-US" sz="1800"/>
              <a:t>, Strategic Advisor</a:t>
            </a:r>
          </a:p>
          <a:p>
            <a:pPr lvl="1">
              <a:spcAft>
                <a:spcPts val="0"/>
              </a:spcAft>
              <a:buFont typeface="Wingdings" panose="05000000000000000000" pitchFamily="2" charset="2"/>
              <a:buChar char="§"/>
            </a:pPr>
            <a:r>
              <a:rPr lang="en-US" sz="1800" b="1">
                <a:hlinkClick r:id="rId20">
                  <a:extLst>
                    <a:ext uri="{A12FA001-AC4F-418D-AE19-62706E023703}">
                      <ahyp:hlinkClr xmlns:ahyp="http://schemas.microsoft.com/office/drawing/2018/hyperlinkcolor" val="tx"/>
                    </a:ext>
                  </a:extLst>
                </a:hlinkClick>
              </a:rPr>
              <a:t>Natalie Stiffler</a:t>
            </a:r>
            <a:r>
              <a:rPr lang="en-US" sz="1800"/>
              <a:t>, Colorado Transportation Lead</a:t>
            </a:r>
          </a:p>
          <a:p>
            <a:pPr lvl="1">
              <a:buFont typeface="Wingdings" panose="05000000000000000000" pitchFamily="2" charset="2"/>
              <a:buChar char="§"/>
            </a:pPr>
            <a:r>
              <a:rPr lang="en-US" sz="1800" b="1">
                <a:hlinkClick r:id="rId21">
                  <a:extLst>
                    <a:ext uri="{A12FA001-AC4F-418D-AE19-62706E023703}">
                      <ahyp:hlinkClr xmlns:ahyp="http://schemas.microsoft.com/office/drawing/2018/hyperlinkcolor" val="tx"/>
                    </a:ext>
                  </a:extLst>
                </a:hlinkClick>
              </a:rPr>
              <a:t>Jacob Hilton</a:t>
            </a:r>
            <a:r>
              <a:rPr lang="en-US" sz="1800"/>
              <a:t>, Aviation Project Manager</a:t>
            </a:r>
          </a:p>
          <a:p>
            <a:r>
              <a:rPr lang="en-US" sz="1800"/>
              <a:t>National aviation leaders</a:t>
            </a:r>
          </a:p>
          <a:p>
            <a:pPr lvl="1">
              <a:spcAft>
                <a:spcPts val="0"/>
              </a:spcAft>
              <a:buFont typeface="Wingdings" panose="05000000000000000000" pitchFamily="2" charset="2"/>
              <a:buChar char="§"/>
            </a:pPr>
            <a:r>
              <a:rPr lang="en-US" sz="1800" b="1">
                <a:hlinkClick r:id="rId22">
                  <a:extLst>
                    <a:ext uri="{A12FA001-AC4F-418D-AE19-62706E023703}">
                      <ahyp:hlinkClr xmlns:ahyp="http://schemas.microsoft.com/office/drawing/2018/hyperlinkcolor" val="tx"/>
                    </a:ext>
                  </a:extLst>
                </a:hlinkClick>
              </a:rPr>
              <a:t>Indhira Figuero Blaney</a:t>
            </a:r>
            <a:r>
              <a:rPr lang="en-US" sz="1800"/>
              <a:t>, National Aviation Market Leader</a:t>
            </a:r>
          </a:p>
          <a:p>
            <a:pPr lvl="1">
              <a:spcAft>
                <a:spcPts val="0"/>
              </a:spcAft>
              <a:buFont typeface="Wingdings" panose="05000000000000000000" pitchFamily="2" charset="2"/>
              <a:buChar char="§"/>
            </a:pPr>
            <a:r>
              <a:rPr lang="en-US" sz="1800" b="1">
                <a:hlinkClick r:id="rId23">
                  <a:extLst>
                    <a:ext uri="{A12FA001-AC4F-418D-AE19-62706E023703}">
                      <ahyp:hlinkClr xmlns:ahyp="http://schemas.microsoft.com/office/drawing/2018/hyperlinkcolor" val="tx"/>
                    </a:ext>
                  </a:extLst>
                </a:hlinkClick>
              </a:rPr>
              <a:t>Natalie Rodriguez</a:t>
            </a:r>
            <a:r>
              <a:rPr lang="en-US" sz="1800"/>
              <a:t>, National Aviation Client Account Manager</a:t>
            </a:r>
          </a:p>
          <a:p>
            <a:endParaRPr lang="en-US" sz="1800"/>
          </a:p>
          <a:p>
            <a:endParaRPr lang="en-US" sz="1800"/>
          </a:p>
        </p:txBody>
      </p:sp>
      <p:sp>
        <p:nvSpPr>
          <p:cNvPr id="3" name="Content Placeholder 7">
            <a:extLst>
              <a:ext uri="{FF2B5EF4-FFF2-40B4-BE49-F238E27FC236}">
                <a16:creationId xmlns:a16="http://schemas.microsoft.com/office/drawing/2014/main" id="{70D56FA4-9C43-F0A6-FA9D-D77F4E878265}"/>
              </a:ext>
            </a:extLst>
          </p:cNvPr>
          <p:cNvSpPr txBox="1">
            <a:spLocks/>
          </p:cNvSpPr>
          <p:nvPr/>
        </p:nvSpPr>
        <p:spPr>
          <a:xfrm>
            <a:off x="5962569" y="1373188"/>
            <a:ext cx="5919700" cy="3768725"/>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r>
              <a:rPr lang="en-US" sz="1800"/>
              <a:t>Connect with us during today’s breakout</a:t>
            </a:r>
          </a:p>
          <a:p>
            <a:endParaRPr lang="en-US"/>
          </a:p>
          <a:p>
            <a:endParaRPr lang="en-US"/>
          </a:p>
        </p:txBody>
      </p:sp>
      <p:pic>
        <p:nvPicPr>
          <p:cNvPr id="35" name="Picture Placeholder 28" descr="Image of Kelly Knowles, DEN Account Lead with WSP.">
            <a:extLst>
              <a:ext uri="{FF2B5EF4-FFF2-40B4-BE49-F238E27FC236}">
                <a16:creationId xmlns:a16="http://schemas.microsoft.com/office/drawing/2014/main" id="{E47FCCF5-A7E8-18A4-5380-B40D854D83AC}"/>
              </a:ext>
              <a:ext uri="{C183D7F6-B498-43B3-948B-1728B52AA6E4}">
                <adec:decorative xmlns:adec="http://schemas.microsoft.com/office/drawing/2017/decorative" val="0"/>
              </a:ext>
            </a:extLst>
          </p:cNvPr>
          <p:cNvPicPr>
            <a:picLocks noChangeAspect="1"/>
          </p:cNvPicPr>
          <p:nvPr>
            <p:custDataLst>
              <p:tags r:id="rId3"/>
            </p:custDataLst>
          </p:nvPr>
        </p:nvPicPr>
        <p:blipFill>
          <a:blip r:embed="rId24" cstate="email">
            <a:extLst>
              <a:ext uri="{28A0092B-C50C-407E-A947-70E740481C1C}">
                <a14:useLocalDpi xmlns:a14="http://schemas.microsoft.com/office/drawing/2010/main"/>
              </a:ext>
            </a:extLst>
          </a:blip>
          <a:srcRect/>
          <a:stretch/>
        </p:blipFill>
        <p:spPr>
          <a:xfrm>
            <a:off x="5887462" y="1888856"/>
            <a:ext cx="1888927" cy="1888803"/>
          </a:xfrm>
          <a:prstGeom prst="ellipse">
            <a:avLst/>
          </a:prstGeom>
          <a:solidFill>
            <a:schemeClr val="accent1"/>
          </a:solidFill>
          <a:ln>
            <a:noFill/>
          </a:ln>
        </p:spPr>
      </p:pic>
      <p:sp>
        <p:nvSpPr>
          <p:cNvPr id="41" name="Text Placeholder 8">
            <a:extLst>
              <a:ext uri="{FF2B5EF4-FFF2-40B4-BE49-F238E27FC236}">
                <a16:creationId xmlns:a16="http://schemas.microsoft.com/office/drawing/2014/main" id="{44C07E4B-6E17-308C-AE3D-D86ABEF70C1C}"/>
              </a:ext>
              <a:ext uri="{C183D7F6-B498-43B3-948B-1728B52AA6E4}">
                <adec:decorative xmlns:adec="http://schemas.microsoft.com/office/drawing/2017/decorative" val="1"/>
              </a:ext>
            </a:extLst>
          </p:cNvPr>
          <p:cNvSpPr txBox="1">
            <a:spLocks/>
          </p:cNvSpPr>
          <p:nvPr>
            <p:custDataLst>
              <p:tags r:id="rId4"/>
            </p:custDataLst>
          </p:nvPr>
        </p:nvSpPr>
        <p:spPr>
          <a:xfrm>
            <a:off x="5883580" y="3852367"/>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a:solidFill>
                  <a:schemeClr val="tx1"/>
                </a:solidFill>
              </a:rPr>
              <a:t>Kelly</a:t>
            </a:r>
          </a:p>
        </p:txBody>
      </p:sp>
      <p:pic>
        <p:nvPicPr>
          <p:cNvPr id="33" name="Picture Placeholder 28" descr="Image of Zamy Silva, HUB Liaison and Civil Rights Compliance Advisor with WSP.">
            <a:extLst>
              <a:ext uri="{FF2B5EF4-FFF2-40B4-BE49-F238E27FC236}">
                <a16:creationId xmlns:a16="http://schemas.microsoft.com/office/drawing/2014/main" id="{5A5C5D59-0D08-A901-A65D-A4CA252E0146}"/>
              </a:ext>
              <a:ext uri="{C183D7F6-B498-43B3-948B-1728B52AA6E4}">
                <adec:decorative xmlns:adec="http://schemas.microsoft.com/office/drawing/2017/decorative" val="0"/>
              </a:ext>
            </a:extLst>
          </p:cNvPr>
          <p:cNvPicPr>
            <a:picLocks noChangeAspect="1"/>
          </p:cNvPicPr>
          <p:nvPr>
            <p:custDataLst>
              <p:tags r:id="rId5"/>
            </p:custDataLst>
          </p:nvPr>
        </p:nvPicPr>
        <p:blipFill>
          <a:blip r:embed="rId25" cstate="email">
            <a:extLst>
              <a:ext uri="{28A0092B-C50C-407E-A947-70E740481C1C}">
                <a14:useLocalDpi xmlns:a14="http://schemas.microsoft.com/office/drawing/2010/main"/>
              </a:ext>
            </a:extLst>
          </a:blip>
          <a:srcRect/>
          <a:stretch/>
        </p:blipFill>
        <p:spPr>
          <a:xfrm>
            <a:off x="7959088" y="1888856"/>
            <a:ext cx="1888927" cy="1888803"/>
          </a:xfrm>
          <a:prstGeom prst="ellipse">
            <a:avLst/>
          </a:prstGeom>
          <a:solidFill>
            <a:schemeClr val="accent1"/>
          </a:solidFill>
          <a:ln>
            <a:noFill/>
          </a:ln>
        </p:spPr>
      </p:pic>
      <p:sp>
        <p:nvSpPr>
          <p:cNvPr id="42" name="Text Placeholder 7">
            <a:extLst>
              <a:ext uri="{FF2B5EF4-FFF2-40B4-BE49-F238E27FC236}">
                <a16:creationId xmlns:a16="http://schemas.microsoft.com/office/drawing/2014/main" id="{8ECEE1F2-6214-D97B-BFFF-0CD5901105A9}"/>
              </a:ext>
              <a:ext uri="{C183D7F6-B498-43B3-948B-1728B52AA6E4}">
                <adec:decorative xmlns:adec="http://schemas.microsoft.com/office/drawing/2017/decorative" val="1"/>
              </a:ext>
            </a:extLst>
          </p:cNvPr>
          <p:cNvSpPr txBox="1">
            <a:spLocks/>
          </p:cNvSpPr>
          <p:nvPr>
            <p:custDataLst>
              <p:tags r:id="rId6"/>
            </p:custDataLst>
          </p:nvPr>
        </p:nvSpPr>
        <p:spPr>
          <a:xfrm>
            <a:off x="7976015" y="3852367"/>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a:solidFill>
                  <a:schemeClr val="tx1"/>
                </a:solidFill>
              </a:rPr>
              <a:t>Zamy</a:t>
            </a:r>
          </a:p>
        </p:txBody>
      </p:sp>
      <p:pic>
        <p:nvPicPr>
          <p:cNvPr id="36" name="Picture Placeholder 28" descr="Image of Natalie Rodriguez, National Aviation Marketing Manager with WSP.">
            <a:extLst>
              <a:ext uri="{FF2B5EF4-FFF2-40B4-BE49-F238E27FC236}">
                <a16:creationId xmlns:a16="http://schemas.microsoft.com/office/drawing/2014/main" id="{DC3EE7F8-0812-9C06-70E0-850D982AC0DC}"/>
              </a:ext>
              <a:ext uri="{C183D7F6-B498-43B3-948B-1728B52AA6E4}">
                <adec:decorative xmlns:adec="http://schemas.microsoft.com/office/drawing/2017/decorative" val="0"/>
              </a:ext>
            </a:extLst>
          </p:cNvPr>
          <p:cNvPicPr>
            <a:picLocks noChangeAspect="1"/>
          </p:cNvPicPr>
          <p:nvPr>
            <p:custDataLst>
              <p:tags r:id="rId7"/>
            </p:custDataLst>
          </p:nvPr>
        </p:nvPicPr>
        <p:blipFill>
          <a:blip r:embed="rId26" cstate="email">
            <a:extLst>
              <a:ext uri="{28A0092B-C50C-407E-A947-70E740481C1C}">
                <a14:useLocalDpi xmlns:a14="http://schemas.microsoft.com/office/drawing/2010/main"/>
              </a:ext>
            </a:extLst>
          </a:blip>
          <a:srcRect l="-2039" t="-2802"/>
          <a:stretch>
            <a:fillRect/>
          </a:stretch>
        </p:blipFill>
        <p:spPr>
          <a:xfrm>
            <a:off x="10030713" y="1888856"/>
            <a:ext cx="1888927" cy="1888803"/>
          </a:xfrm>
          <a:prstGeom prst="ellipse">
            <a:avLst/>
          </a:prstGeom>
          <a:solidFill>
            <a:schemeClr val="accent1"/>
          </a:solidFill>
          <a:ln>
            <a:noFill/>
          </a:ln>
        </p:spPr>
      </p:pic>
      <p:sp>
        <p:nvSpPr>
          <p:cNvPr id="43" name="Text Placeholder 7">
            <a:extLst>
              <a:ext uri="{FF2B5EF4-FFF2-40B4-BE49-F238E27FC236}">
                <a16:creationId xmlns:a16="http://schemas.microsoft.com/office/drawing/2014/main" id="{46894EB9-9106-CA04-6791-4E09460C9937}"/>
              </a:ext>
              <a:ext uri="{C183D7F6-B498-43B3-948B-1728B52AA6E4}">
                <adec:decorative xmlns:adec="http://schemas.microsoft.com/office/drawing/2017/decorative" val="1"/>
              </a:ext>
            </a:extLst>
          </p:cNvPr>
          <p:cNvSpPr txBox="1">
            <a:spLocks/>
          </p:cNvSpPr>
          <p:nvPr>
            <p:custDataLst>
              <p:tags r:id="rId8"/>
            </p:custDataLst>
          </p:nvPr>
        </p:nvSpPr>
        <p:spPr>
          <a:xfrm>
            <a:off x="9989461" y="3852367"/>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a:solidFill>
                  <a:schemeClr val="tx1"/>
                </a:solidFill>
              </a:rPr>
              <a:t>Natalie R.</a:t>
            </a:r>
          </a:p>
        </p:txBody>
      </p:sp>
      <p:pic>
        <p:nvPicPr>
          <p:cNvPr id="32" name="Picture Placeholder 28" descr="Image of Natalie Stiffler, Colorado Transportation Lead with WSP.">
            <a:extLst>
              <a:ext uri="{FF2B5EF4-FFF2-40B4-BE49-F238E27FC236}">
                <a16:creationId xmlns:a16="http://schemas.microsoft.com/office/drawing/2014/main" id="{9B3C4C62-7827-95DD-67F2-8B95AC76BF30}"/>
              </a:ext>
              <a:ext uri="{C183D7F6-B498-43B3-948B-1728B52AA6E4}">
                <adec:decorative xmlns:adec="http://schemas.microsoft.com/office/drawing/2017/decorative" val="0"/>
              </a:ext>
            </a:extLst>
          </p:cNvPr>
          <p:cNvPicPr>
            <a:picLocks noChangeAspect="1"/>
          </p:cNvPicPr>
          <p:nvPr>
            <p:custDataLst>
              <p:tags r:id="rId9"/>
            </p:custDataLst>
          </p:nvPr>
        </p:nvPicPr>
        <p:blipFill>
          <a:blip r:embed="rId27" cstate="email">
            <a:extLst>
              <a:ext uri="{28A0092B-C50C-407E-A947-70E740481C1C}">
                <a14:useLocalDpi xmlns:a14="http://schemas.microsoft.com/office/drawing/2010/main"/>
              </a:ext>
            </a:extLst>
          </a:blip>
          <a:srcRect l="-1" t="-3980" r="-3984"/>
          <a:stretch>
            <a:fillRect/>
          </a:stretch>
        </p:blipFill>
        <p:spPr>
          <a:xfrm>
            <a:off x="5887461" y="4272219"/>
            <a:ext cx="1888927" cy="1888803"/>
          </a:xfrm>
          <a:prstGeom prst="ellipse">
            <a:avLst/>
          </a:prstGeom>
          <a:solidFill>
            <a:schemeClr val="accent1"/>
          </a:solidFill>
          <a:ln>
            <a:noFill/>
          </a:ln>
        </p:spPr>
      </p:pic>
      <p:sp>
        <p:nvSpPr>
          <p:cNvPr id="44" name="Text Placeholder 8">
            <a:extLst>
              <a:ext uri="{FF2B5EF4-FFF2-40B4-BE49-F238E27FC236}">
                <a16:creationId xmlns:a16="http://schemas.microsoft.com/office/drawing/2014/main" id="{AE87BD6D-C4DC-53A2-B97E-B9673D0497A3}"/>
              </a:ext>
              <a:ext uri="{C183D7F6-B498-43B3-948B-1728B52AA6E4}">
                <adec:decorative xmlns:adec="http://schemas.microsoft.com/office/drawing/2017/decorative" val="1"/>
              </a:ext>
            </a:extLst>
          </p:cNvPr>
          <p:cNvSpPr txBox="1">
            <a:spLocks/>
          </p:cNvSpPr>
          <p:nvPr>
            <p:custDataLst>
              <p:tags r:id="rId10"/>
            </p:custDataLst>
          </p:nvPr>
        </p:nvSpPr>
        <p:spPr>
          <a:xfrm>
            <a:off x="5883580" y="6197309"/>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a:solidFill>
                  <a:schemeClr val="tx1"/>
                </a:solidFill>
              </a:rPr>
              <a:t>Natalie S.</a:t>
            </a:r>
          </a:p>
        </p:txBody>
      </p:sp>
      <p:pic>
        <p:nvPicPr>
          <p:cNvPr id="31" name="Picture Placeholder 28" descr="Image of Natriece Bryant, Strategic Advisor with WSP.">
            <a:extLst>
              <a:ext uri="{FF2B5EF4-FFF2-40B4-BE49-F238E27FC236}">
                <a16:creationId xmlns:a16="http://schemas.microsoft.com/office/drawing/2014/main" id="{A4BAB5FD-084F-AFDF-33F6-6F2DEA5AF36C}"/>
              </a:ext>
              <a:ext uri="{C183D7F6-B498-43B3-948B-1728B52AA6E4}">
                <adec:decorative xmlns:adec="http://schemas.microsoft.com/office/drawing/2017/decorative" val="0"/>
              </a:ext>
            </a:extLst>
          </p:cNvPr>
          <p:cNvPicPr>
            <a:picLocks noChangeAspect="1"/>
          </p:cNvPicPr>
          <p:nvPr>
            <p:custDataLst>
              <p:tags r:id="rId11"/>
            </p:custDataLst>
          </p:nvPr>
        </p:nvPicPr>
        <p:blipFill>
          <a:blip r:embed="rId28" cstate="email">
            <a:extLst>
              <a:ext uri="{28A0092B-C50C-407E-A947-70E740481C1C}">
                <a14:useLocalDpi xmlns:a14="http://schemas.microsoft.com/office/drawing/2010/main"/>
              </a:ext>
            </a:extLst>
          </a:blip>
          <a:srcRect l="-4978" t="-1670" r="-11088"/>
          <a:stretch>
            <a:fillRect/>
          </a:stretch>
        </p:blipFill>
        <p:spPr>
          <a:xfrm>
            <a:off x="7959087" y="4272219"/>
            <a:ext cx="1888927" cy="1888803"/>
          </a:xfrm>
          <a:prstGeom prst="ellipse">
            <a:avLst/>
          </a:prstGeom>
          <a:solidFill>
            <a:schemeClr val="accent1"/>
          </a:solidFill>
          <a:ln>
            <a:noFill/>
          </a:ln>
        </p:spPr>
      </p:pic>
      <p:sp>
        <p:nvSpPr>
          <p:cNvPr id="45" name="Text Placeholder 7">
            <a:extLst>
              <a:ext uri="{FF2B5EF4-FFF2-40B4-BE49-F238E27FC236}">
                <a16:creationId xmlns:a16="http://schemas.microsoft.com/office/drawing/2014/main" id="{043A2E7B-FE73-DD57-0630-F887E37E7983}"/>
              </a:ext>
              <a:ext uri="{C183D7F6-B498-43B3-948B-1728B52AA6E4}">
                <adec:decorative xmlns:adec="http://schemas.microsoft.com/office/drawing/2017/decorative" val="1"/>
              </a:ext>
            </a:extLst>
          </p:cNvPr>
          <p:cNvSpPr txBox="1">
            <a:spLocks/>
          </p:cNvSpPr>
          <p:nvPr>
            <p:custDataLst>
              <p:tags r:id="rId12"/>
            </p:custDataLst>
          </p:nvPr>
        </p:nvSpPr>
        <p:spPr>
          <a:xfrm>
            <a:off x="7976015" y="6197309"/>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err="1">
                <a:solidFill>
                  <a:schemeClr val="tx1"/>
                </a:solidFill>
              </a:rPr>
              <a:t>Natriece</a:t>
            </a:r>
            <a:endParaRPr lang="en-US" sz="1800">
              <a:solidFill>
                <a:schemeClr val="tx1"/>
              </a:solidFill>
            </a:endParaRPr>
          </a:p>
        </p:txBody>
      </p:sp>
      <p:pic>
        <p:nvPicPr>
          <p:cNvPr id="34" name="Picture Placeholder 28" descr="Image of Jacob Hilton, Aviation Project Manager with WSP.">
            <a:extLst>
              <a:ext uri="{FF2B5EF4-FFF2-40B4-BE49-F238E27FC236}">
                <a16:creationId xmlns:a16="http://schemas.microsoft.com/office/drawing/2014/main" id="{BC415ED4-F72B-B134-F66F-EFEC05BAA339}"/>
              </a:ext>
              <a:ext uri="{C183D7F6-B498-43B3-948B-1728B52AA6E4}">
                <adec:decorative xmlns:adec="http://schemas.microsoft.com/office/drawing/2017/decorative" val="0"/>
              </a:ext>
            </a:extLst>
          </p:cNvPr>
          <p:cNvPicPr>
            <a:picLocks noChangeAspect="1"/>
          </p:cNvPicPr>
          <p:nvPr>
            <p:custDataLst>
              <p:tags r:id="rId13"/>
            </p:custDataLst>
          </p:nvPr>
        </p:nvPicPr>
        <p:blipFill>
          <a:blip r:embed="rId29" cstate="email">
            <a:extLst>
              <a:ext uri="{28A0092B-C50C-407E-A947-70E740481C1C}">
                <a14:useLocalDpi xmlns:a14="http://schemas.microsoft.com/office/drawing/2010/main"/>
              </a:ext>
            </a:extLst>
          </a:blip>
          <a:srcRect/>
          <a:stretch/>
        </p:blipFill>
        <p:spPr>
          <a:xfrm>
            <a:off x="10030713" y="4272219"/>
            <a:ext cx="1888927" cy="1888803"/>
          </a:xfrm>
          <a:prstGeom prst="ellipse">
            <a:avLst/>
          </a:prstGeom>
          <a:solidFill>
            <a:schemeClr val="accent1"/>
          </a:solidFill>
          <a:ln>
            <a:noFill/>
          </a:ln>
        </p:spPr>
      </p:pic>
      <p:sp>
        <p:nvSpPr>
          <p:cNvPr id="46" name="Text Placeholder 7">
            <a:extLst>
              <a:ext uri="{FF2B5EF4-FFF2-40B4-BE49-F238E27FC236}">
                <a16:creationId xmlns:a16="http://schemas.microsoft.com/office/drawing/2014/main" id="{59CA5DAC-39A0-741F-2E15-91BB3BBD17C0}"/>
              </a:ext>
              <a:ext uri="{C183D7F6-B498-43B3-948B-1728B52AA6E4}">
                <adec:decorative xmlns:adec="http://schemas.microsoft.com/office/drawing/2017/decorative" val="1"/>
              </a:ext>
            </a:extLst>
          </p:cNvPr>
          <p:cNvSpPr txBox="1">
            <a:spLocks/>
          </p:cNvSpPr>
          <p:nvPr>
            <p:custDataLst>
              <p:tags r:id="rId14"/>
            </p:custDataLst>
          </p:nvPr>
        </p:nvSpPr>
        <p:spPr>
          <a:xfrm>
            <a:off x="9989461" y="6197309"/>
            <a:ext cx="1892808" cy="345606"/>
          </a:xfrm>
          <a:prstGeom prst="rect">
            <a:avLst/>
          </a:prstGeom>
        </p:spPr>
        <p:txBody>
          <a:bodyPr vert="horz" wrap="square" lIns="0" tIns="0" rIns="0" bIns="0" rtlCol="0">
            <a:noAutofit/>
          </a:bodyPr>
          <a:lst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a:lstStyle>
          <a:p>
            <a:pPr algn="ctr"/>
            <a:r>
              <a:rPr lang="en-US" sz="1800">
                <a:solidFill>
                  <a:schemeClr val="tx1"/>
                </a:solidFill>
              </a:rPr>
              <a:t>Jacob</a:t>
            </a:r>
          </a:p>
        </p:txBody>
      </p:sp>
    </p:spTree>
    <p:custDataLst>
      <p:tags r:id="rId1"/>
    </p:custDataLst>
    <p:extLst>
      <p:ext uri="{BB962C8B-B14F-4D97-AF65-F5344CB8AC3E}">
        <p14:creationId xmlns:p14="http://schemas.microsoft.com/office/powerpoint/2010/main" val="15298847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CECF0-1B84-4C72-9CF9-B5B2ECABC23D}"/>
              </a:ext>
            </a:extLst>
          </p:cNvPr>
          <p:cNvSpPr>
            <a:spLocks noGrp="1"/>
          </p:cNvSpPr>
          <p:nvPr>
            <p:ph type="ctrTitle"/>
          </p:nvPr>
        </p:nvSpPr>
        <p:spPr>
          <a:xfrm>
            <a:off x="112741" y="150958"/>
            <a:ext cx="8686800" cy="749587"/>
          </a:xfrm>
        </p:spPr>
        <p:txBody>
          <a:bodyPr/>
          <a:lstStyle/>
          <a:p>
            <a:r>
              <a:rPr lang="en-US" sz="4400">
                <a:solidFill>
                  <a:schemeClr val="tx1"/>
                </a:solidFill>
              </a:rPr>
              <a:t>DEN – Meet the Primes</a:t>
            </a:r>
          </a:p>
        </p:txBody>
      </p:sp>
      <p:sp>
        <p:nvSpPr>
          <p:cNvPr id="3" name="Text Placeholder 2">
            <a:extLst>
              <a:ext uri="{FF2B5EF4-FFF2-40B4-BE49-F238E27FC236}">
                <a16:creationId xmlns:a16="http://schemas.microsoft.com/office/drawing/2014/main" id="{CA44760C-5082-4137-BB9B-743783900474}"/>
              </a:ext>
            </a:extLst>
          </p:cNvPr>
          <p:cNvSpPr>
            <a:spLocks noGrp="1"/>
          </p:cNvSpPr>
          <p:nvPr>
            <p:ph type="body" sz="quarter" idx="10"/>
          </p:nvPr>
        </p:nvSpPr>
        <p:spPr>
          <a:xfrm>
            <a:off x="611505" y="5902035"/>
            <a:ext cx="11178713" cy="805007"/>
          </a:xfrm>
        </p:spPr>
        <p:txBody>
          <a:bodyPr>
            <a:normAutofit fontScale="92500" lnSpcReduction="10000"/>
          </a:bodyPr>
          <a:lstStyle/>
          <a:p>
            <a:r>
              <a:rPr lang="en-US" sz="2800" b="1"/>
              <a:t>Jacobs – SBE/MWBE partnership Opportunities at DEN</a:t>
            </a:r>
          </a:p>
          <a:p>
            <a:r>
              <a:rPr lang="en-US" sz="2000" b="1"/>
              <a:t>December 18, 2025</a:t>
            </a:r>
            <a:endParaRPr lang="en-US" sz="2000"/>
          </a:p>
        </p:txBody>
      </p:sp>
      <p:sp>
        <p:nvSpPr>
          <p:cNvPr id="4" name="TextBox 3">
            <a:extLst>
              <a:ext uri="{FF2B5EF4-FFF2-40B4-BE49-F238E27FC236}">
                <a16:creationId xmlns:a16="http://schemas.microsoft.com/office/drawing/2014/main" id="{F962E292-2B10-EE5C-C943-28D7854543D9}"/>
              </a:ext>
            </a:extLst>
          </p:cNvPr>
          <p:cNvSpPr txBox="1"/>
          <p:nvPr/>
        </p:nvSpPr>
        <p:spPr>
          <a:xfrm>
            <a:off x="263237" y="1216076"/>
            <a:ext cx="11014363" cy="4370427"/>
          </a:xfrm>
          <a:prstGeom prst="rect">
            <a:avLst/>
          </a:prstGeom>
          <a:noFill/>
        </p:spPr>
        <p:txBody>
          <a:bodyPr wrap="square" rtlCol="0">
            <a:spAutoFit/>
          </a:bodyPr>
          <a:lstStyle/>
          <a:p>
            <a:pPr marL="0" indent="0">
              <a:spcAft>
                <a:spcPts val="600"/>
              </a:spcAft>
              <a:buNone/>
            </a:pPr>
            <a:r>
              <a:rPr lang="en-AU" sz="2200" b="1">
                <a:solidFill>
                  <a:schemeClr val="bg1"/>
                </a:solidFill>
              </a:rPr>
              <a:t>Our Denver Aviation Team Leadership Contacts</a:t>
            </a:r>
          </a:p>
          <a:p>
            <a:pPr marL="285750" indent="-285750">
              <a:spcAft>
                <a:spcPts val="600"/>
              </a:spcAft>
              <a:buFont typeface="Arial" panose="020B0604020202020204" pitchFamily="34" charset="0"/>
              <a:buChar char="•"/>
            </a:pPr>
            <a:r>
              <a:rPr lang="en-US" b="1">
                <a:solidFill>
                  <a:schemeClr val="bg1"/>
                </a:solidFill>
              </a:rPr>
              <a:t>William “Bill” VanHercke, PE</a:t>
            </a:r>
          </a:p>
          <a:p>
            <a:pPr marL="742950" lvl="1" indent="-285750">
              <a:spcAft>
                <a:spcPts val="600"/>
              </a:spcAft>
              <a:buFont typeface="Arial" panose="020B0604020202020204" pitchFamily="34" charset="0"/>
              <a:buChar char="•"/>
            </a:pPr>
            <a:r>
              <a:rPr lang="en-US" b="1">
                <a:solidFill>
                  <a:schemeClr val="bg1"/>
                </a:solidFill>
              </a:rPr>
              <a:t>Vice President - US West Aviation - 32 years in Aviation Market - all at Jacobs</a:t>
            </a:r>
          </a:p>
          <a:p>
            <a:pPr marL="742950" lvl="1" indent="-285750">
              <a:spcAft>
                <a:spcPts val="600"/>
              </a:spcAft>
              <a:buFont typeface="Arial" panose="020B0604020202020204" pitchFamily="34" charset="0"/>
              <a:buChar char="•"/>
            </a:pPr>
            <a:r>
              <a:rPr lang="en-US">
                <a:solidFill>
                  <a:schemeClr val="bg1"/>
                </a:solidFill>
                <a:hlinkClick r:id="rId3">
                  <a:extLst>
                    <a:ext uri="{A12FA001-AC4F-418D-AE19-62706E023703}">
                      <ahyp:hlinkClr xmlns:ahyp="http://schemas.microsoft.com/office/drawing/2018/hyperlinkcolor" val="tx"/>
                    </a:ext>
                  </a:extLst>
                </a:hlinkClick>
              </a:rPr>
              <a:t>William.VanHercke@Jacobs.com</a:t>
            </a:r>
            <a:endParaRPr lang="en-US">
              <a:solidFill>
                <a:schemeClr val="bg1"/>
              </a:solidFill>
            </a:endParaRPr>
          </a:p>
          <a:p>
            <a:pPr marL="285750" indent="-285750">
              <a:spcAft>
                <a:spcPts val="600"/>
              </a:spcAft>
              <a:buFont typeface="Arial" panose="020B0604020202020204" pitchFamily="34" charset="0"/>
              <a:buChar char="•"/>
            </a:pPr>
            <a:r>
              <a:rPr lang="en-US" b="1">
                <a:solidFill>
                  <a:schemeClr val="bg1"/>
                </a:solidFill>
              </a:rPr>
              <a:t>Brett Hartle, AIA, LEED AP</a:t>
            </a:r>
          </a:p>
          <a:p>
            <a:pPr marL="742950" lvl="1" indent="-285750">
              <a:spcAft>
                <a:spcPts val="600"/>
              </a:spcAft>
              <a:buFont typeface="Arial" panose="020B0604020202020204" pitchFamily="34" charset="0"/>
              <a:buChar char="•"/>
            </a:pPr>
            <a:r>
              <a:rPr lang="en-US" b="1">
                <a:solidFill>
                  <a:schemeClr val="bg1"/>
                </a:solidFill>
              </a:rPr>
              <a:t>Vice President – US West Aviation Growth Lead</a:t>
            </a:r>
          </a:p>
          <a:p>
            <a:pPr marL="742950" lvl="1" indent="-285750">
              <a:spcAft>
                <a:spcPts val="600"/>
              </a:spcAft>
              <a:buFont typeface="Arial" panose="020B0604020202020204" pitchFamily="34" charset="0"/>
              <a:buChar char="•"/>
            </a:pPr>
            <a:r>
              <a:rPr lang="en-US" b="1">
                <a:solidFill>
                  <a:schemeClr val="bg1"/>
                </a:solidFill>
                <a:hlinkClick r:id="rId4">
                  <a:extLst>
                    <a:ext uri="{A12FA001-AC4F-418D-AE19-62706E023703}">
                      <ahyp:hlinkClr xmlns:ahyp="http://schemas.microsoft.com/office/drawing/2018/hyperlinkcolor" val="tx"/>
                    </a:ext>
                  </a:extLst>
                </a:hlinkClick>
              </a:rPr>
              <a:t>Brett.Hartle@Jacobs.com</a:t>
            </a:r>
            <a:r>
              <a:rPr lang="en-US" b="1">
                <a:solidFill>
                  <a:schemeClr val="bg1"/>
                </a:solidFill>
              </a:rPr>
              <a:t> </a:t>
            </a:r>
          </a:p>
          <a:p>
            <a:pPr marL="285750" indent="-285750">
              <a:spcAft>
                <a:spcPts val="600"/>
              </a:spcAft>
              <a:buFont typeface="Arial" panose="020B0604020202020204" pitchFamily="34" charset="0"/>
              <a:buChar char="•"/>
            </a:pPr>
            <a:r>
              <a:rPr lang="en-US" b="1">
                <a:solidFill>
                  <a:schemeClr val="bg1"/>
                </a:solidFill>
              </a:rPr>
              <a:t>Over the past seven years we have subbed out over 30% of our work at DEN to our local partners</a:t>
            </a:r>
          </a:p>
          <a:p>
            <a:pPr marL="742950" lvl="1" indent="-285750">
              <a:spcAft>
                <a:spcPts val="600"/>
              </a:spcAft>
              <a:buFont typeface="Courier New" panose="02070309020205020404" pitchFamily="49" charset="0"/>
              <a:buChar char="o"/>
            </a:pPr>
            <a:r>
              <a:rPr lang="en-US" sz="1600">
                <a:solidFill>
                  <a:schemeClr val="bg1"/>
                </a:solidFill>
              </a:rPr>
              <a:t>We have worked with over 35 different M/WBE firms at DEN in the last 7 years</a:t>
            </a:r>
          </a:p>
          <a:p>
            <a:pPr lvl="1">
              <a:spcAft>
                <a:spcPts val="600"/>
              </a:spcAft>
            </a:pPr>
            <a:endParaRPr lang="en-US" sz="1600">
              <a:solidFill>
                <a:schemeClr val="bg1"/>
              </a:solidFill>
            </a:endParaRPr>
          </a:p>
          <a:p>
            <a:pPr lvl="1" algn="ctr">
              <a:spcAft>
                <a:spcPts val="600"/>
              </a:spcAft>
            </a:pPr>
            <a:r>
              <a:rPr lang="en-US" sz="2400" b="1" u="sng">
                <a:solidFill>
                  <a:schemeClr val="bg1"/>
                </a:solidFill>
              </a:rPr>
              <a:t>Over $42 Million in fee delivered from Jacobs SBE and M/WBE partners in last 7 years at DEN over 14 different contracts</a:t>
            </a:r>
          </a:p>
        </p:txBody>
      </p:sp>
    </p:spTree>
    <p:extLst>
      <p:ext uri="{BB962C8B-B14F-4D97-AF65-F5344CB8AC3E}">
        <p14:creationId xmlns:p14="http://schemas.microsoft.com/office/powerpoint/2010/main" val="30979140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F29120-83B9-6B7F-4338-E5A018D0B33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 y="274320"/>
            <a:ext cx="9137101" cy="4270384"/>
          </a:xfrm>
          <a:prstGeom prst="rect">
            <a:avLst/>
          </a:prstGeom>
        </p:spPr>
      </p:pic>
      <p:sp>
        <p:nvSpPr>
          <p:cNvPr id="5" name="Title 4">
            <a:extLst>
              <a:ext uri="{FF2B5EF4-FFF2-40B4-BE49-F238E27FC236}">
                <a16:creationId xmlns:a16="http://schemas.microsoft.com/office/drawing/2014/main" id="{F6CDBF21-B59F-42B7-B793-995B76E18E6C}"/>
              </a:ext>
              <a:ext uri="{C183D7F6-B498-43B3-948B-1728B52AA6E4}">
                <adec:decorative xmlns:adec="http://schemas.microsoft.com/office/drawing/2017/decorative" val="1"/>
              </a:ext>
            </a:extLst>
          </p:cNvPr>
          <p:cNvSpPr txBox="1">
            <a:spLocks noGrp="1"/>
          </p:cNvSpPr>
          <p:nvPr>
            <p:ph type="title" idx="4294967295"/>
          </p:nvPr>
        </p:nvSpPr>
        <p:spPr>
          <a:xfrm>
            <a:off x="1101714" y="4544704"/>
            <a:ext cx="7770143" cy="235449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2400" b="1" i="0" u="none" strike="noStrike" kern="1200" cap="none" spc="0" normalizeH="0" baseline="0" noProof="0">
                <a:ln>
                  <a:noFill/>
                </a:ln>
                <a:solidFill>
                  <a:schemeClr val="accent1"/>
                </a:solidFill>
                <a:effectLst/>
                <a:uLnTx/>
                <a:uFillTx/>
                <a:latin typeface="+mn-lt"/>
                <a:ea typeface="+mn-ea"/>
                <a:cs typeface="+mn-cs"/>
              </a:rPr>
              <a:t>Our internal Networks create synergy with our partne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Jacobs promotes diversity, equity and inclusion internally and externall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We have been mentors to 3 different MWBE firms at DEN and support BDTA 101, 201 and the new BDTA 301 courses and graduat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Let me know if you would like more information on the Jacobs mentor-protégé program</a:t>
            </a:r>
            <a:br>
              <a:rPr kumimoji="0" lang="en-US" sz="1800" b="0" i="0" u="none" strike="noStrike" kern="1200" cap="none" spc="0" normalizeH="0" baseline="0" noProof="0">
                <a:ln>
                  <a:noFill/>
                </a:ln>
                <a:solidFill>
                  <a:schemeClr val="tx1"/>
                </a:solidFill>
                <a:effectLst/>
                <a:uLnTx/>
                <a:uFillTx/>
                <a:latin typeface="+mn-lt"/>
                <a:ea typeface="+mn-ea"/>
                <a:cs typeface="+mn-cs"/>
              </a:rPr>
            </a:b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nvGrpSpPr>
          <p:cNvPr id="15" name="Group 14">
            <a:extLst>
              <a:ext uri="{FF2B5EF4-FFF2-40B4-BE49-F238E27FC236}">
                <a16:creationId xmlns:a16="http://schemas.microsoft.com/office/drawing/2014/main" id="{0C2F2E77-5AAC-451D-BB28-085827CA347B}"/>
              </a:ext>
              <a:ext uri="{C183D7F6-B498-43B3-948B-1728B52AA6E4}">
                <adec:decorative xmlns:adec="http://schemas.microsoft.com/office/drawing/2017/decorative" val="1"/>
              </a:ext>
            </a:extLst>
          </p:cNvPr>
          <p:cNvGrpSpPr/>
          <p:nvPr/>
        </p:nvGrpSpPr>
        <p:grpSpPr>
          <a:xfrm>
            <a:off x="9005777" y="315536"/>
            <a:ext cx="3186223" cy="5993824"/>
            <a:chOff x="9005777" y="1126875"/>
            <a:chExt cx="3186223" cy="5111496"/>
          </a:xfrm>
        </p:grpSpPr>
        <p:sp>
          <p:nvSpPr>
            <p:cNvPr id="16" name="Rectangle 15">
              <a:extLst>
                <a:ext uri="{FF2B5EF4-FFF2-40B4-BE49-F238E27FC236}">
                  <a16:creationId xmlns:a16="http://schemas.microsoft.com/office/drawing/2014/main" id="{65A5433E-EF99-493C-B9B5-AE207DE3A5A9}"/>
                </a:ext>
              </a:extLst>
            </p:cNvPr>
            <p:cNvSpPr/>
            <p:nvPr/>
          </p:nvSpPr>
          <p:spPr>
            <a:xfrm>
              <a:off x="9197164" y="1126875"/>
              <a:ext cx="2994836" cy="51023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08064A8-37C0-4100-BD8C-982AA8EE11B4}"/>
                </a:ext>
              </a:extLst>
            </p:cNvPr>
            <p:cNvSpPr/>
            <p:nvPr/>
          </p:nvSpPr>
          <p:spPr>
            <a:xfrm>
              <a:off x="9005777" y="1126875"/>
              <a:ext cx="191387" cy="51114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Placeholder 1">
              <a:extLst>
                <a:ext uri="{FF2B5EF4-FFF2-40B4-BE49-F238E27FC236}">
                  <a16:creationId xmlns:a16="http://schemas.microsoft.com/office/drawing/2014/main" id="{1ECDF8AD-9BFB-4461-93C4-AA63CABC6E49}"/>
                </a:ext>
              </a:extLst>
            </p:cNvPr>
            <p:cNvSpPr txBox="1">
              <a:spLocks/>
            </p:cNvSpPr>
            <p:nvPr/>
          </p:nvSpPr>
          <p:spPr bwMode="white">
            <a:xfrm>
              <a:off x="9197164" y="1204560"/>
              <a:ext cx="2994836" cy="378842"/>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2800" b="1" kern="1200">
                  <a:solidFill>
                    <a:schemeClr val="bg1"/>
                  </a:solidFill>
                  <a:latin typeface="Jacobs Chronos" panose="010B0603030503030204" pitchFamily="34" charset="0"/>
                  <a:ea typeface="+mj-ea"/>
                  <a:cs typeface="Jacobs Chronos" panose="010B0603030503030204" pitchFamily="34" charset="0"/>
                </a:defRPr>
              </a:lvl1pPr>
            </a:lstStyle>
            <a:p>
              <a:pPr algn="ctr" rtl="0">
                <a:lnSpc>
                  <a:spcPct val="100000"/>
                </a:lnSpc>
              </a:pPr>
              <a:r>
                <a:rPr lang="en-US" sz="2400" b="0"/>
                <a:t>ABOUT JACOBS</a:t>
              </a:r>
            </a:p>
          </p:txBody>
        </p:sp>
      </p:grpSp>
      <p:sp>
        <p:nvSpPr>
          <p:cNvPr id="24" name="TextBox 23">
            <a:extLst>
              <a:ext uri="{FF2B5EF4-FFF2-40B4-BE49-F238E27FC236}">
                <a16:creationId xmlns:a16="http://schemas.microsoft.com/office/drawing/2014/main" id="{5283AA03-D322-4217-BFB5-A0FDD5FF91D1}"/>
              </a:ext>
            </a:extLst>
          </p:cNvPr>
          <p:cNvSpPr txBox="1"/>
          <p:nvPr/>
        </p:nvSpPr>
        <p:spPr>
          <a:xfrm>
            <a:off x="9328488" y="850867"/>
            <a:ext cx="2641840" cy="5186035"/>
          </a:xfrm>
          <a:prstGeom prst="rect">
            <a:avLst/>
          </a:prstGeom>
          <a:noFill/>
        </p:spPr>
        <p:txBody>
          <a:bodyPr wrap="square" rtlCol="0">
            <a:spAutoFit/>
          </a:bodyPr>
          <a:lstStyle/>
          <a:p>
            <a:pPr marL="0" indent="0">
              <a:buNone/>
            </a:pPr>
            <a:r>
              <a:rPr lang="en-AU" sz="1600" b="1">
                <a:solidFill>
                  <a:schemeClr val="bg1"/>
                </a:solidFill>
              </a:rPr>
              <a:t>#1 in Aviation Consulting (ENR 2025)</a:t>
            </a:r>
          </a:p>
          <a:p>
            <a:r>
              <a:rPr lang="en-AU" sz="1300">
                <a:solidFill>
                  <a:schemeClr val="bg1"/>
                </a:solidFill>
                <a:latin typeface="Jacobs Chronos" panose="010B0603030503030204" pitchFamily="34" charset="0"/>
                <a:cs typeface="Jacobs Chronos" panose="010B0603030503030204" pitchFamily="34" charset="0"/>
              </a:rPr>
              <a:t>Largest Airport Group at Jacobs in Denver with over 130 Airport Employees</a:t>
            </a:r>
          </a:p>
          <a:p>
            <a:endParaRPr lang="en-AU" sz="1300" b="1">
              <a:solidFill>
                <a:schemeClr val="bg1"/>
              </a:solidFill>
            </a:endParaRPr>
          </a:p>
          <a:p>
            <a:pPr marL="0" indent="0">
              <a:buNone/>
            </a:pPr>
            <a:r>
              <a:rPr lang="en-AU" sz="1600" b="1">
                <a:solidFill>
                  <a:schemeClr val="bg1"/>
                </a:solidFill>
              </a:rPr>
              <a:t>Challenging today.</a:t>
            </a:r>
          </a:p>
          <a:p>
            <a:pPr marL="0" indent="0">
              <a:buNone/>
            </a:pPr>
            <a:r>
              <a:rPr lang="en-AU" sz="1300" b="0">
                <a:solidFill>
                  <a:schemeClr val="bg1"/>
                </a:solidFill>
                <a:latin typeface="Jacobs Chronos" panose="010B0603030503030204" pitchFamily="34" charset="0"/>
                <a:cs typeface="Jacobs Chronos" panose="010B0603030503030204" pitchFamily="34" charset="0"/>
              </a:rPr>
              <a:t>Our unique approach to challenge what’s accepted, using our expertise and knowledge to rethink the way we solve problems. </a:t>
            </a:r>
          </a:p>
          <a:p>
            <a:pPr marL="0" indent="0">
              <a:buNone/>
            </a:pPr>
            <a:endParaRPr lang="en-AU" sz="1200" b="0">
              <a:solidFill>
                <a:schemeClr val="bg1"/>
              </a:solidFill>
              <a:latin typeface="Jacobs Chronos" panose="010B0603030503030204" pitchFamily="34" charset="0"/>
              <a:cs typeface="Jacobs Chronos" panose="010B0603030503030204" pitchFamily="34" charset="0"/>
            </a:endParaRPr>
          </a:p>
          <a:p>
            <a:pPr marL="0" indent="0">
              <a:buNone/>
            </a:pPr>
            <a:endParaRPr lang="en-AU" sz="1200">
              <a:solidFill>
                <a:schemeClr val="bg1"/>
              </a:solidFill>
              <a:latin typeface="Jacobs Chronos" panose="010B0603030503030204" pitchFamily="34" charset="0"/>
              <a:cs typeface="Jacobs Chronos" panose="010B0603030503030204" pitchFamily="34" charset="0"/>
            </a:endParaRPr>
          </a:p>
          <a:p>
            <a:pPr marL="0" indent="0">
              <a:buNone/>
            </a:pPr>
            <a:endParaRPr lang="en-AU" sz="1200" b="0">
              <a:solidFill>
                <a:schemeClr val="bg1"/>
              </a:solidFill>
              <a:latin typeface="Jacobs Chronos" panose="010B0603030503030204" pitchFamily="34" charset="0"/>
              <a:cs typeface="Jacobs Chronos" panose="010B0603030503030204" pitchFamily="34" charset="0"/>
            </a:endParaRPr>
          </a:p>
          <a:p>
            <a:pPr marL="0" indent="0">
              <a:buNone/>
            </a:pPr>
            <a:r>
              <a:rPr lang="en-AU" sz="1600" b="1">
                <a:solidFill>
                  <a:schemeClr val="bg1"/>
                </a:solidFill>
              </a:rPr>
              <a:t>Reinventing tomorrow.</a:t>
            </a:r>
          </a:p>
          <a:p>
            <a:pPr marL="0" indent="0">
              <a:buNone/>
            </a:pPr>
            <a:r>
              <a:rPr lang="en-AU" sz="1300" b="0">
                <a:solidFill>
                  <a:schemeClr val="bg1"/>
                </a:solidFill>
                <a:latin typeface="+mn-lt"/>
              </a:rPr>
              <a:t>The outcome, from the innovations we build for our clients to the positive impact our solutions have on the world. </a:t>
            </a:r>
          </a:p>
          <a:p>
            <a:pPr marL="0" indent="0">
              <a:buNone/>
            </a:pPr>
            <a:endParaRPr lang="en-AU" sz="1200" b="0">
              <a:solidFill>
                <a:schemeClr val="bg1"/>
              </a:solidFill>
              <a:latin typeface="+mn-lt"/>
            </a:endParaRPr>
          </a:p>
          <a:p>
            <a:pPr marL="0" indent="0">
              <a:buNone/>
            </a:pPr>
            <a:endParaRPr lang="en-AU" sz="1200">
              <a:solidFill>
                <a:schemeClr val="bg1"/>
              </a:solidFill>
            </a:endParaRPr>
          </a:p>
          <a:p>
            <a:pPr marL="0" indent="0">
              <a:buNone/>
            </a:pPr>
            <a:endParaRPr lang="en-AU" sz="1200" b="0">
              <a:solidFill>
                <a:schemeClr val="bg1"/>
              </a:solidFill>
              <a:latin typeface="+mn-lt"/>
            </a:endParaRPr>
          </a:p>
          <a:p>
            <a:r>
              <a:rPr lang="en-AU" sz="1300" b="1" i="0" u="none" strike="noStrike" kern="1200" baseline="0">
                <a:solidFill>
                  <a:schemeClr val="bg1"/>
                </a:solidFill>
                <a:latin typeface="+mn-lt"/>
                <a:ea typeface="+mn-ea"/>
                <a:cs typeface="+mn-cs"/>
              </a:rPr>
              <a:t>To create a more connected, </a:t>
            </a:r>
            <a:r>
              <a:rPr lang="en-US" sz="1300" b="1" i="0" u="none" strike="noStrike" kern="1200" baseline="0">
                <a:solidFill>
                  <a:schemeClr val="bg1"/>
                </a:solidFill>
                <a:latin typeface="+mn-lt"/>
              </a:rPr>
              <a:t>sustainable world.</a:t>
            </a:r>
            <a:endParaRPr lang="en-AU" sz="1300" b="0">
              <a:solidFill>
                <a:schemeClr val="bg1"/>
              </a:solidFill>
              <a:latin typeface="+mn-lt"/>
            </a:endParaRPr>
          </a:p>
        </p:txBody>
      </p:sp>
      <p:sp>
        <p:nvSpPr>
          <p:cNvPr id="2" name="Footer Placeholder 1">
            <a:extLst>
              <a:ext uri="{FF2B5EF4-FFF2-40B4-BE49-F238E27FC236}">
                <a16:creationId xmlns:a16="http://schemas.microsoft.com/office/drawing/2014/main" id="{4F8C0CAE-17A5-4601-876A-F1EF372B3230}"/>
              </a:ext>
            </a:extLst>
          </p:cNvPr>
          <p:cNvSpPr>
            <a:spLocks noGrp="1"/>
          </p:cNvSpPr>
          <p:nvPr>
            <p:ph type="ftr" sz="quarter" idx="10"/>
          </p:nvPr>
        </p:nvSpPr>
        <p:spPr/>
        <p:txBody>
          <a:bodyPr/>
          <a:lstStyle/>
          <a:p>
            <a:r>
              <a:rPr lang="en-AU"/>
              <a:t>©Jacobs 2025</a:t>
            </a:r>
          </a:p>
        </p:txBody>
      </p:sp>
    </p:spTree>
    <p:extLst>
      <p:ext uri="{BB962C8B-B14F-4D97-AF65-F5344CB8AC3E}">
        <p14:creationId xmlns:p14="http://schemas.microsoft.com/office/powerpoint/2010/main" val="37053303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25A8FAFF-4BC3-4C4A-AF05-0687778053C6}"/>
              </a:ext>
              <a:ext uri="{C183D7F6-B498-43B3-948B-1728B52AA6E4}">
                <adec:decorative xmlns:adec="http://schemas.microsoft.com/office/drawing/2017/decorative" val="1"/>
              </a:ext>
            </a:extLst>
          </p:cNvPr>
          <p:cNvGrpSpPr/>
          <p:nvPr/>
        </p:nvGrpSpPr>
        <p:grpSpPr>
          <a:xfrm>
            <a:off x="9005777" y="1126875"/>
            <a:ext cx="3186223" cy="5111496"/>
            <a:chOff x="9005777" y="1126875"/>
            <a:chExt cx="3186223" cy="5111496"/>
          </a:xfrm>
        </p:grpSpPr>
        <p:grpSp>
          <p:nvGrpSpPr>
            <p:cNvPr id="13" name="Group 12">
              <a:extLst>
                <a:ext uri="{FF2B5EF4-FFF2-40B4-BE49-F238E27FC236}">
                  <a16:creationId xmlns:a16="http://schemas.microsoft.com/office/drawing/2014/main" id="{053897C8-E665-4DF8-879E-E5A23C8D1C33}"/>
                </a:ext>
              </a:extLst>
            </p:cNvPr>
            <p:cNvGrpSpPr/>
            <p:nvPr/>
          </p:nvGrpSpPr>
          <p:grpSpPr>
            <a:xfrm>
              <a:off x="9005777" y="1126875"/>
              <a:ext cx="3186223" cy="5111496"/>
              <a:chOff x="9005777" y="1126875"/>
              <a:chExt cx="3186223" cy="5111496"/>
            </a:xfrm>
          </p:grpSpPr>
          <p:sp>
            <p:nvSpPr>
              <p:cNvPr id="15" name="Rectangle 14">
                <a:extLst>
                  <a:ext uri="{FF2B5EF4-FFF2-40B4-BE49-F238E27FC236}">
                    <a16:creationId xmlns:a16="http://schemas.microsoft.com/office/drawing/2014/main" id="{2F1B3684-74A0-4507-86C7-046675BE8ED2}"/>
                  </a:ext>
                </a:extLst>
              </p:cNvPr>
              <p:cNvSpPr/>
              <p:nvPr/>
            </p:nvSpPr>
            <p:spPr>
              <a:xfrm>
                <a:off x="9197164" y="1126875"/>
                <a:ext cx="2994836" cy="51023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E0F4F0C-87DB-492F-9DC2-CAF22A57A8AB}"/>
                  </a:ext>
                </a:extLst>
              </p:cNvPr>
              <p:cNvSpPr/>
              <p:nvPr/>
            </p:nvSpPr>
            <p:spPr>
              <a:xfrm>
                <a:off x="9005777" y="1126875"/>
                <a:ext cx="191387" cy="51114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Placeholder 1">
                <a:extLst>
                  <a:ext uri="{FF2B5EF4-FFF2-40B4-BE49-F238E27FC236}">
                    <a16:creationId xmlns:a16="http://schemas.microsoft.com/office/drawing/2014/main" id="{6E53FD17-557A-4706-B5FA-EF17BE7AB5E1}"/>
                  </a:ext>
                </a:extLst>
              </p:cNvPr>
              <p:cNvSpPr txBox="1">
                <a:spLocks/>
              </p:cNvSpPr>
              <p:nvPr/>
            </p:nvSpPr>
            <p:spPr bwMode="white">
              <a:xfrm>
                <a:off x="9197164" y="1204560"/>
                <a:ext cx="2994836" cy="378842"/>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2800" b="1" kern="1200">
                    <a:solidFill>
                      <a:schemeClr val="bg1"/>
                    </a:solidFill>
                    <a:latin typeface="Jacobs Chronos" panose="010B0603030503030204" pitchFamily="34" charset="0"/>
                    <a:ea typeface="+mj-ea"/>
                    <a:cs typeface="Jacobs Chronos" panose="010B0603030503030204" pitchFamily="34" charset="0"/>
                  </a:defRPr>
                </a:lvl1pPr>
              </a:lstStyle>
              <a:p>
                <a:pPr algn="ctr" rtl="0">
                  <a:lnSpc>
                    <a:spcPct val="100000"/>
                  </a:lnSpc>
                </a:pPr>
                <a:r>
                  <a:rPr lang="en-US" sz="2400" b="0"/>
                  <a:t>JACOBS VISION</a:t>
                </a:r>
              </a:p>
            </p:txBody>
          </p:sp>
        </p:grpSp>
        <p:sp>
          <p:nvSpPr>
            <p:cNvPr id="14" name="TextBox 13">
              <a:extLst>
                <a:ext uri="{FF2B5EF4-FFF2-40B4-BE49-F238E27FC236}">
                  <a16:creationId xmlns:a16="http://schemas.microsoft.com/office/drawing/2014/main" id="{6FDD3CBC-E84A-4B34-B054-C17BE428C74E}"/>
                </a:ext>
              </a:extLst>
            </p:cNvPr>
            <p:cNvSpPr txBox="1"/>
            <p:nvPr/>
          </p:nvSpPr>
          <p:spPr>
            <a:xfrm>
              <a:off x="9245534" y="2022347"/>
              <a:ext cx="2772295" cy="3754874"/>
            </a:xfrm>
            <a:prstGeom prst="rect">
              <a:avLst/>
            </a:prstGeom>
            <a:noFill/>
          </p:spPr>
          <p:txBody>
            <a:bodyPr wrap="square" rtlCol="0">
              <a:spAutoFit/>
            </a:bodyPr>
            <a:lstStyle/>
            <a:p>
              <a:r>
                <a:rPr lang="en-AU" sz="1600" b="1">
                  <a:solidFill>
                    <a:schemeClr val="bg1"/>
                  </a:solidFill>
                  <a:latin typeface="+mj-lt"/>
                </a:rPr>
                <a:t>To create a more connected, sustainable world.</a:t>
              </a:r>
            </a:p>
            <a:p>
              <a:endParaRPr lang="en-AU" sz="1600" b="1">
                <a:solidFill>
                  <a:schemeClr val="bg1"/>
                </a:solidFill>
                <a:latin typeface="+mj-lt"/>
              </a:endParaRPr>
            </a:p>
            <a:p>
              <a:endParaRPr lang="en-AU" sz="1600" b="1">
                <a:solidFill>
                  <a:schemeClr val="bg1"/>
                </a:solidFill>
                <a:latin typeface="+mj-lt"/>
              </a:endParaRPr>
            </a:p>
            <a:p>
              <a:r>
                <a:rPr lang="en-AU" sz="1600" b="0">
                  <a:solidFill>
                    <a:schemeClr val="bg1"/>
                  </a:solidFill>
                  <a:latin typeface="+mj-lt"/>
                </a:rPr>
                <a:t>We do things right.</a:t>
              </a:r>
            </a:p>
            <a:p>
              <a:endParaRPr lang="en-AU" sz="1600" b="0">
                <a:solidFill>
                  <a:schemeClr val="bg1"/>
                </a:solidFill>
                <a:latin typeface="+mj-lt"/>
              </a:endParaRPr>
            </a:p>
            <a:p>
              <a:endParaRPr lang="en-AU" sz="1600" b="0">
                <a:solidFill>
                  <a:schemeClr val="bg1"/>
                </a:solidFill>
                <a:latin typeface="+mj-lt"/>
              </a:endParaRPr>
            </a:p>
            <a:p>
              <a:r>
                <a:rPr lang="en-AU" sz="1600" b="0">
                  <a:solidFill>
                    <a:schemeClr val="bg1"/>
                  </a:solidFill>
                  <a:latin typeface="+mj-lt"/>
                </a:rPr>
                <a:t>We challenge the accepted.</a:t>
              </a:r>
            </a:p>
            <a:p>
              <a:endParaRPr lang="en-AU" sz="1600" b="0">
                <a:solidFill>
                  <a:schemeClr val="bg1"/>
                </a:solidFill>
                <a:latin typeface="+mj-lt"/>
              </a:endParaRPr>
            </a:p>
            <a:p>
              <a:endParaRPr lang="en-AU" sz="1600" b="0">
                <a:solidFill>
                  <a:schemeClr val="bg1"/>
                </a:solidFill>
                <a:latin typeface="+mj-lt"/>
              </a:endParaRPr>
            </a:p>
            <a:p>
              <a:r>
                <a:rPr lang="en-US" sz="1600" b="0">
                  <a:solidFill>
                    <a:schemeClr val="bg1"/>
                  </a:solidFill>
                  <a:latin typeface="+mj-lt"/>
                </a:rPr>
                <a:t>We aim higher.</a:t>
              </a:r>
            </a:p>
            <a:p>
              <a:endParaRPr lang="en-US" sz="1600" b="0">
                <a:solidFill>
                  <a:schemeClr val="bg1"/>
                </a:solidFill>
                <a:latin typeface="+mj-lt"/>
              </a:endParaRPr>
            </a:p>
            <a:p>
              <a:endParaRPr lang="en-US" sz="1600" b="0">
                <a:solidFill>
                  <a:schemeClr val="bg1"/>
                </a:solidFill>
                <a:latin typeface="+mj-lt"/>
              </a:endParaRPr>
            </a:p>
            <a:p>
              <a:r>
                <a:rPr lang="en-US" sz="1600" b="0">
                  <a:solidFill>
                    <a:schemeClr val="bg1"/>
                  </a:solidFill>
                  <a:latin typeface="+mj-lt"/>
                </a:rPr>
                <a:t>We live inclusion.</a:t>
              </a:r>
            </a:p>
            <a:p>
              <a:endParaRPr lang="en-US" sz="1400" b="1">
                <a:solidFill>
                  <a:schemeClr val="bg1"/>
                </a:solidFill>
                <a:latin typeface="+mj-lt"/>
              </a:endParaRPr>
            </a:p>
          </p:txBody>
        </p:sp>
      </p:grpSp>
      <p:sp>
        <p:nvSpPr>
          <p:cNvPr id="4" name="Title 3">
            <a:extLst>
              <a:ext uri="{FF2B5EF4-FFF2-40B4-BE49-F238E27FC236}">
                <a16:creationId xmlns:a16="http://schemas.microsoft.com/office/drawing/2014/main" id="{C5A7C339-97D6-40EB-A908-2C5534CEFBCB}"/>
              </a:ext>
            </a:extLst>
          </p:cNvPr>
          <p:cNvSpPr>
            <a:spLocks noGrp="1"/>
          </p:cNvSpPr>
          <p:nvPr>
            <p:ph type="title"/>
          </p:nvPr>
        </p:nvSpPr>
        <p:spPr>
          <a:xfrm>
            <a:off x="335280" y="267323"/>
            <a:ext cx="11521440" cy="640080"/>
          </a:xfrm>
        </p:spPr>
        <p:txBody>
          <a:bodyPr/>
          <a:lstStyle/>
          <a:p>
            <a:r>
              <a:rPr lang="en-US"/>
              <a:t>What is Jacobs looking for in our partners?</a:t>
            </a:r>
          </a:p>
        </p:txBody>
      </p:sp>
      <p:sp>
        <p:nvSpPr>
          <p:cNvPr id="6" name="TextBox 5">
            <a:extLst>
              <a:ext uri="{FF2B5EF4-FFF2-40B4-BE49-F238E27FC236}">
                <a16:creationId xmlns:a16="http://schemas.microsoft.com/office/drawing/2014/main" id="{76C217E6-AC54-468A-A05B-C49819C21352}"/>
              </a:ext>
            </a:extLst>
          </p:cNvPr>
          <p:cNvSpPr txBox="1"/>
          <p:nvPr/>
        </p:nvSpPr>
        <p:spPr>
          <a:xfrm>
            <a:off x="1219303" y="928047"/>
            <a:ext cx="7612303" cy="5463034"/>
          </a:xfrm>
          <a:prstGeom prst="rect">
            <a:avLst/>
          </a:prstGeom>
          <a:noFill/>
        </p:spPr>
        <p:txBody>
          <a:bodyPr wrap="square" rtlCol="0">
            <a:spAutoFit/>
          </a:bodyPr>
          <a:lstStyle/>
          <a:p>
            <a:pPr marL="0" indent="0">
              <a:spcAft>
                <a:spcPts val="600"/>
              </a:spcAft>
              <a:buNone/>
            </a:pPr>
            <a:r>
              <a:rPr lang="en-AU" sz="2000" b="1">
                <a:solidFill>
                  <a:schemeClr val="accent1"/>
                </a:solidFill>
              </a:rPr>
              <a:t>Approach for M/WBE’s to do business with Jacobs</a:t>
            </a:r>
          </a:p>
          <a:p>
            <a:pPr marL="285750" indent="-285750">
              <a:spcAft>
                <a:spcPts val="600"/>
              </a:spcAft>
              <a:buFont typeface="Arial" panose="020B0604020202020204" pitchFamily="34" charset="0"/>
              <a:buChar char="•"/>
            </a:pPr>
            <a:r>
              <a:rPr lang="en-US"/>
              <a:t>Help us understand your capabilities and business goals</a:t>
            </a:r>
          </a:p>
          <a:p>
            <a:pPr marL="285750" indent="-285750">
              <a:spcAft>
                <a:spcPts val="600"/>
              </a:spcAft>
              <a:buFont typeface="Arial" panose="020B0604020202020204" pitchFamily="34" charset="0"/>
              <a:buChar char="•"/>
            </a:pPr>
            <a:r>
              <a:rPr lang="en-US"/>
              <a:t>Explain your </a:t>
            </a:r>
            <a:r>
              <a:rPr lang="en-US" b="1"/>
              <a:t>VALUE OFFERING</a:t>
            </a:r>
          </a:p>
          <a:p>
            <a:pPr marL="285750" indent="-285750">
              <a:spcAft>
                <a:spcPts val="600"/>
              </a:spcAft>
              <a:buFont typeface="Arial" panose="020B0604020202020204" pitchFamily="34" charset="0"/>
              <a:buChar char="•"/>
            </a:pPr>
            <a:r>
              <a:rPr lang="en-US"/>
              <a:t>I will </a:t>
            </a:r>
            <a:r>
              <a:rPr lang="en-US" b="1" u="sng"/>
              <a:t>integrate you directly with our planned project leadership team</a:t>
            </a:r>
            <a:r>
              <a:rPr lang="en-US"/>
              <a:t>, where we can collaboratively see how your team fits our needs</a:t>
            </a:r>
          </a:p>
          <a:p>
            <a:pPr marL="285750" indent="-285750">
              <a:spcAft>
                <a:spcPts val="600"/>
              </a:spcAft>
              <a:buFont typeface="Arial" panose="020B0604020202020204" pitchFamily="34" charset="0"/>
              <a:buChar char="•"/>
            </a:pPr>
            <a:r>
              <a:rPr lang="en-US"/>
              <a:t>Reach out to our Project Managers and Client Leader (Bill VanHercke) prior to the RFP to ensure consideration on our team – we form our teams early</a:t>
            </a:r>
          </a:p>
          <a:p>
            <a:pPr marL="0" indent="0">
              <a:spcAft>
                <a:spcPts val="600"/>
              </a:spcAft>
              <a:buNone/>
            </a:pPr>
            <a:r>
              <a:rPr lang="en-AU" sz="2200" b="1">
                <a:solidFill>
                  <a:schemeClr val="accent1"/>
                </a:solidFill>
              </a:rPr>
              <a:t>Evaluation criteria and Performance Expectations</a:t>
            </a:r>
          </a:p>
          <a:p>
            <a:pPr marL="347663" lvl="0" indent="-347663">
              <a:spcAft>
                <a:spcPts val="600"/>
              </a:spcAft>
              <a:buFont typeface="Arial" panose="020B0604020202020204" pitchFamily="34" charset="0"/>
              <a:buChar char="•"/>
            </a:pPr>
            <a:r>
              <a:rPr lang="en-US"/>
              <a:t>Knowledge of the client - their goals, mission, and expectations</a:t>
            </a:r>
          </a:p>
          <a:p>
            <a:pPr marL="347663" lvl="0" indent="-347663">
              <a:spcAft>
                <a:spcPts val="600"/>
              </a:spcAft>
              <a:buFont typeface="Arial" panose="020B0604020202020204" pitchFamily="34" charset="0"/>
              <a:buChar char="•"/>
            </a:pPr>
            <a:r>
              <a:rPr lang="en-US"/>
              <a:t>Staff qualifications and </a:t>
            </a:r>
            <a:r>
              <a:rPr lang="en-US" b="1" u="sng"/>
              <a:t>availability of personnel</a:t>
            </a:r>
          </a:p>
          <a:p>
            <a:pPr marL="347663" indent="-347663">
              <a:spcAft>
                <a:spcPts val="600"/>
              </a:spcAft>
              <a:buFont typeface="Arial" panose="020B0604020202020204" pitchFamily="34" charset="0"/>
              <a:buChar char="•"/>
            </a:pPr>
            <a:r>
              <a:rPr lang="en-US"/>
              <a:t>Good references - </a:t>
            </a:r>
            <a:r>
              <a:rPr lang="en-US" b="1"/>
              <a:t>our combined reputations need to be strong with the client</a:t>
            </a:r>
            <a:endParaRPr lang="en-US" sz="200" b="1"/>
          </a:p>
          <a:p>
            <a:pPr marL="285750" indent="-285750">
              <a:spcAft>
                <a:spcPts val="600"/>
              </a:spcAft>
              <a:buFont typeface="Arial" panose="020B0604020202020204" pitchFamily="34" charset="0"/>
              <a:buChar char="•"/>
            </a:pPr>
            <a:r>
              <a:rPr lang="en-US"/>
              <a:t>Commitment to safety and to </a:t>
            </a:r>
            <a:r>
              <a:rPr lang="en-US" b="1" u="sng"/>
              <a:t>deliver high-quality work </a:t>
            </a:r>
            <a:endParaRPr lang="en-US"/>
          </a:p>
          <a:p>
            <a:pPr marL="285750" indent="-285750">
              <a:spcAft>
                <a:spcPts val="600"/>
              </a:spcAft>
              <a:buFont typeface="Arial" panose="020B0604020202020204" pitchFamily="34" charset="0"/>
              <a:buChar char="•"/>
            </a:pPr>
            <a:r>
              <a:rPr lang="en-US"/>
              <a:t>Adhere to schedule milestones</a:t>
            </a:r>
          </a:p>
          <a:p>
            <a:pPr marL="285750" indent="-285750">
              <a:spcAft>
                <a:spcPts val="600"/>
              </a:spcAft>
              <a:buFont typeface="Arial" panose="020B0604020202020204" pitchFamily="34" charset="0"/>
              <a:buChar char="•"/>
            </a:pPr>
            <a:r>
              <a:rPr lang="en-US" b="1" u="sng"/>
              <a:t>Focus on client service to not only Jacobs but our ultimate client</a:t>
            </a:r>
          </a:p>
        </p:txBody>
      </p:sp>
      <p:sp>
        <p:nvSpPr>
          <p:cNvPr id="2" name="Footer Placeholder 1">
            <a:extLst>
              <a:ext uri="{FF2B5EF4-FFF2-40B4-BE49-F238E27FC236}">
                <a16:creationId xmlns:a16="http://schemas.microsoft.com/office/drawing/2014/main" id="{4F8C0CAE-17A5-4601-876A-F1EF372B3230}"/>
              </a:ext>
            </a:extLst>
          </p:cNvPr>
          <p:cNvSpPr>
            <a:spLocks noGrp="1"/>
          </p:cNvSpPr>
          <p:nvPr>
            <p:ph type="ftr" sz="quarter" idx="10"/>
          </p:nvPr>
        </p:nvSpPr>
        <p:spPr/>
        <p:txBody>
          <a:bodyPr/>
          <a:lstStyle/>
          <a:p>
            <a:r>
              <a:rPr lang="en-AU"/>
              <a:t>©Jacobs 2025</a:t>
            </a:r>
          </a:p>
        </p:txBody>
      </p:sp>
    </p:spTree>
    <p:extLst>
      <p:ext uri="{BB962C8B-B14F-4D97-AF65-F5344CB8AC3E}">
        <p14:creationId xmlns:p14="http://schemas.microsoft.com/office/powerpoint/2010/main" val="17841176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A7C339-97D6-40EB-A908-2C5534CEFBCB}"/>
              </a:ext>
            </a:extLst>
          </p:cNvPr>
          <p:cNvSpPr>
            <a:spLocks noGrp="1"/>
          </p:cNvSpPr>
          <p:nvPr>
            <p:ph type="title"/>
          </p:nvPr>
        </p:nvSpPr>
        <p:spPr>
          <a:xfrm>
            <a:off x="320039" y="69604"/>
            <a:ext cx="11521440" cy="640080"/>
          </a:xfrm>
        </p:spPr>
        <p:txBody>
          <a:bodyPr>
            <a:normAutofit fontScale="90000"/>
          </a:bodyPr>
          <a:lstStyle/>
          <a:p>
            <a:r>
              <a:rPr lang="en-US"/>
              <a:t>Programs at DEN currently and recently delivered by Jacobs</a:t>
            </a:r>
          </a:p>
        </p:txBody>
      </p:sp>
      <p:sp>
        <p:nvSpPr>
          <p:cNvPr id="5" name="TextBox 4">
            <a:extLst>
              <a:ext uri="{FF2B5EF4-FFF2-40B4-BE49-F238E27FC236}">
                <a16:creationId xmlns:a16="http://schemas.microsoft.com/office/drawing/2014/main" id="{F6CDBF21-B59F-42B7-B793-995B76E18E6C}"/>
              </a:ext>
            </a:extLst>
          </p:cNvPr>
          <p:cNvSpPr txBox="1"/>
          <p:nvPr/>
        </p:nvSpPr>
        <p:spPr>
          <a:xfrm>
            <a:off x="1198594" y="709684"/>
            <a:ext cx="7612303" cy="6155531"/>
          </a:xfrm>
          <a:prstGeom prst="rect">
            <a:avLst/>
          </a:prstGeom>
          <a:noFill/>
        </p:spPr>
        <p:txBody>
          <a:bodyPr wrap="square" rtlCol="0">
            <a:spAutoFit/>
          </a:bodyPr>
          <a:lstStyle/>
          <a:p>
            <a:pPr>
              <a:spcAft>
                <a:spcPts val="400"/>
              </a:spcAft>
            </a:pPr>
            <a:r>
              <a:rPr lang="en-AU" sz="2200" b="1">
                <a:solidFill>
                  <a:schemeClr val="accent1"/>
                </a:solidFill>
              </a:rPr>
              <a:t>Consolidated Rental Car and CTS System – services through 2035</a:t>
            </a:r>
          </a:p>
          <a:p>
            <a:pPr marL="285750" indent="-285750">
              <a:spcAft>
                <a:spcPts val="400"/>
              </a:spcAft>
              <a:buFont typeface="Arial" panose="020B0604020202020204" pitchFamily="34" charset="0"/>
              <a:buChar char="•"/>
            </a:pPr>
            <a:r>
              <a:rPr lang="en-US"/>
              <a:t>Program Management, Procurement Strategies, QA/SI, Owners Rep, Project controls, scheduling, estimating, stakeholder communications</a:t>
            </a:r>
          </a:p>
          <a:p>
            <a:pPr marL="0" indent="0">
              <a:spcAft>
                <a:spcPts val="400"/>
              </a:spcAft>
              <a:buNone/>
            </a:pPr>
            <a:r>
              <a:rPr lang="en-AU" sz="2200" b="1">
                <a:solidFill>
                  <a:schemeClr val="accent1"/>
                </a:solidFill>
              </a:rPr>
              <a:t>Great Hall Program – Program Management Support Services – services through 2028</a:t>
            </a:r>
          </a:p>
          <a:p>
            <a:pPr marL="285750" indent="-285750">
              <a:spcAft>
                <a:spcPts val="400"/>
              </a:spcAft>
              <a:buFont typeface="Arial" panose="020B0604020202020204" pitchFamily="34" charset="0"/>
              <a:buChar char="•"/>
            </a:pPr>
            <a:r>
              <a:rPr lang="en-US"/>
              <a:t>Project controls, scheduling, estimating, stakeholder communications, special inspections, quality assurance</a:t>
            </a:r>
          </a:p>
          <a:p>
            <a:pPr marL="0" indent="0">
              <a:spcAft>
                <a:spcPts val="400"/>
              </a:spcAft>
              <a:buNone/>
            </a:pPr>
            <a:r>
              <a:rPr lang="en-AU" sz="2200" b="1">
                <a:solidFill>
                  <a:schemeClr val="accent1"/>
                </a:solidFill>
              </a:rPr>
              <a:t>7</a:t>
            </a:r>
            <a:r>
              <a:rPr lang="en-AU" sz="2200" b="1" baseline="30000">
                <a:solidFill>
                  <a:schemeClr val="accent1"/>
                </a:solidFill>
              </a:rPr>
              <a:t>th</a:t>
            </a:r>
            <a:r>
              <a:rPr lang="en-AU" sz="2200" b="1">
                <a:solidFill>
                  <a:schemeClr val="accent1"/>
                </a:solidFill>
              </a:rPr>
              <a:t> Runway Program – Design and CA Services</a:t>
            </a:r>
          </a:p>
          <a:p>
            <a:pPr marL="285750" indent="-285750">
              <a:spcAft>
                <a:spcPts val="400"/>
              </a:spcAft>
              <a:buFont typeface="Arial" panose="020B0604020202020204" pitchFamily="34" charset="0"/>
              <a:buChar char="•"/>
            </a:pPr>
            <a:r>
              <a:rPr lang="en-US"/>
              <a:t>Airfield design, civil, drainage, pavements, airfield electrical, navigational aids</a:t>
            </a:r>
          </a:p>
          <a:p>
            <a:pPr marL="0" indent="0">
              <a:spcAft>
                <a:spcPts val="400"/>
              </a:spcAft>
              <a:buNone/>
            </a:pPr>
            <a:r>
              <a:rPr lang="en-AU" sz="2200" b="1">
                <a:solidFill>
                  <a:schemeClr val="accent1"/>
                </a:solidFill>
              </a:rPr>
              <a:t>On-Calls</a:t>
            </a:r>
          </a:p>
          <a:p>
            <a:pPr marL="285750" indent="-285750">
              <a:spcAft>
                <a:spcPts val="400"/>
              </a:spcAft>
              <a:buFont typeface="Arial" panose="020B0604020202020204" pitchFamily="34" charset="0"/>
              <a:buChar char="•"/>
            </a:pPr>
            <a:r>
              <a:rPr lang="en-US"/>
              <a:t>Facility Condition Assessments, Airfield design, A/E design, A/E planning</a:t>
            </a:r>
          </a:p>
          <a:p>
            <a:pPr>
              <a:spcAft>
                <a:spcPts val="400"/>
              </a:spcAft>
            </a:pPr>
            <a:r>
              <a:rPr lang="en-AU" sz="2200" b="1">
                <a:solidFill>
                  <a:schemeClr val="accent1"/>
                </a:solidFill>
              </a:rPr>
              <a:t>Concourse Expansion Program – East (opened 2023)</a:t>
            </a:r>
          </a:p>
          <a:p>
            <a:pPr marL="285750" indent="-285750">
              <a:spcAft>
                <a:spcPts val="400"/>
              </a:spcAft>
              <a:buFont typeface="Arial" panose="020B0604020202020204" pitchFamily="34" charset="0"/>
              <a:buChar char="•"/>
            </a:pPr>
            <a:r>
              <a:rPr lang="en-US"/>
              <a:t>Design and Construction Admin for Concourse C and B East</a:t>
            </a:r>
          </a:p>
          <a:p>
            <a:pPr marL="285750" indent="-285750">
              <a:spcAft>
                <a:spcPts val="400"/>
              </a:spcAft>
              <a:buFont typeface="Arial" panose="020B0604020202020204" pitchFamily="34" charset="0"/>
              <a:buChar char="•"/>
            </a:pPr>
            <a:r>
              <a:rPr lang="en-US"/>
              <a:t>11 different M/WBE partners</a:t>
            </a:r>
          </a:p>
          <a:p>
            <a:pPr>
              <a:spcAft>
                <a:spcPts val="400"/>
              </a:spcAft>
            </a:pPr>
            <a:endParaRPr lang="en-US"/>
          </a:p>
          <a:p>
            <a:pPr>
              <a:spcAft>
                <a:spcPts val="400"/>
              </a:spcAft>
            </a:pPr>
            <a:endParaRPr lang="en-US" sz="200" b="1"/>
          </a:p>
        </p:txBody>
      </p:sp>
      <p:pic>
        <p:nvPicPr>
          <p:cNvPr id="8" name="Picture 7">
            <a:extLst>
              <a:ext uri="{FF2B5EF4-FFF2-40B4-BE49-F238E27FC236}">
                <a16:creationId xmlns:a16="http://schemas.microsoft.com/office/drawing/2014/main" id="{5EBF5625-6619-4FBC-922A-BA456FD9F42A}"/>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49741" y="4131835"/>
            <a:ext cx="3474720" cy="2738625"/>
          </a:xfrm>
          <a:prstGeom prst="rect">
            <a:avLst/>
          </a:prstGeom>
        </p:spPr>
      </p:pic>
      <p:pic>
        <p:nvPicPr>
          <p:cNvPr id="16" name="Picture 15">
            <a:extLst>
              <a:ext uri="{FF2B5EF4-FFF2-40B4-BE49-F238E27FC236}">
                <a16:creationId xmlns:a16="http://schemas.microsoft.com/office/drawing/2014/main" id="{BF0A9996-811F-A2FF-EFE2-C0D4F9E98A26}"/>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49741" y="2745414"/>
            <a:ext cx="3474720" cy="1954530"/>
          </a:xfrm>
          <a:prstGeom prst="rect">
            <a:avLst/>
          </a:prstGeom>
        </p:spPr>
      </p:pic>
      <p:pic>
        <p:nvPicPr>
          <p:cNvPr id="9" name="Picture 8">
            <a:extLst>
              <a:ext uri="{FF2B5EF4-FFF2-40B4-BE49-F238E27FC236}">
                <a16:creationId xmlns:a16="http://schemas.microsoft.com/office/drawing/2014/main" id="{7945F49C-EF17-0AD4-4265-F579B4B5C79D}"/>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49741" y="790884"/>
            <a:ext cx="3474720" cy="1954530"/>
          </a:xfrm>
          <a:prstGeom prst="rect">
            <a:avLst/>
          </a:prstGeom>
        </p:spPr>
      </p:pic>
      <p:sp>
        <p:nvSpPr>
          <p:cNvPr id="2" name="Footer Placeholder 1">
            <a:extLst>
              <a:ext uri="{FF2B5EF4-FFF2-40B4-BE49-F238E27FC236}">
                <a16:creationId xmlns:a16="http://schemas.microsoft.com/office/drawing/2014/main" id="{4F8C0CAE-17A5-4601-876A-F1EF372B3230}"/>
              </a:ext>
            </a:extLst>
          </p:cNvPr>
          <p:cNvSpPr>
            <a:spLocks noGrp="1"/>
          </p:cNvSpPr>
          <p:nvPr>
            <p:ph type="ftr" sz="quarter" idx="10"/>
          </p:nvPr>
        </p:nvSpPr>
        <p:spPr/>
        <p:txBody>
          <a:bodyPr/>
          <a:lstStyle/>
          <a:p>
            <a:r>
              <a:rPr lang="en-AU"/>
              <a:t>©Jacobs 2023</a:t>
            </a:r>
          </a:p>
        </p:txBody>
      </p:sp>
    </p:spTree>
    <p:extLst>
      <p:ext uri="{BB962C8B-B14F-4D97-AF65-F5344CB8AC3E}">
        <p14:creationId xmlns:p14="http://schemas.microsoft.com/office/powerpoint/2010/main" val="41305658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A7C339-97D6-40EB-A908-2C5534CEFBCB}"/>
              </a:ext>
            </a:extLst>
          </p:cNvPr>
          <p:cNvSpPr>
            <a:spLocks noGrp="1"/>
          </p:cNvSpPr>
          <p:nvPr>
            <p:ph type="title"/>
          </p:nvPr>
        </p:nvSpPr>
        <p:spPr>
          <a:xfrm>
            <a:off x="335280" y="267323"/>
            <a:ext cx="11521440" cy="640080"/>
          </a:xfrm>
        </p:spPr>
        <p:txBody>
          <a:bodyPr/>
          <a:lstStyle/>
          <a:p>
            <a:r>
              <a:rPr lang="en-US"/>
              <a:t>Services Jacobs offers at DEN </a:t>
            </a:r>
          </a:p>
        </p:txBody>
      </p:sp>
      <p:sp>
        <p:nvSpPr>
          <p:cNvPr id="6" name="TextBox 5">
            <a:extLst>
              <a:ext uri="{FF2B5EF4-FFF2-40B4-BE49-F238E27FC236}">
                <a16:creationId xmlns:a16="http://schemas.microsoft.com/office/drawing/2014/main" id="{76C217E6-AC54-468A-A05B-C49819C21352}"/>
              </a:ext>
            </a:extLst>
          </p:cNvPr>
          <p:cNvSpPr txBox="1"/>
          <p:nvPr/>
        </p:nvSpPr>
        <p:spPr>
          <a:xfrm>
            <a:off x="1293101" y="907403"/>
            <a:ext cx="7612303" cy="5955476"/>
          </a:xfrm>
          <a:prstGeom prst="rect">
            <a:avLst/>
          </a:prstGeom>
          <a:noFill/>
        </p:spPr>
        <p:txBody>
          <a:bodyPr wrap="square" rtlCol="0">
            <a:spAutoFit/>
          </a:bodyPr>
          <a:lstStyle/>
          <a:p>
            <a:pPr marL="0" indent="0">
              <a:spcAft>
                <a:spcPts val="600"/>
              </a:spcAft>
              <a:buNone/>
            </a:pPr>
            <a:r>
              <a:rPr lang="en-AU" sz="2200" b="1">
                <a:solidFill>
                  <a:schemeClr val="accent1"/>
                </a:solidFill>
              </a:rPr>
              <a:t>Design</a:t>
            </a:r>
          </a:p>
          <a:p>
            <a:pPr marL="347663" lvl="0" indent="-347663">
              <a:spcAft>
                <a:spcPts val="600"/>
              </a:spcAft>
              <a:buFont typeface="Arial" panose="020B0604020202020204" pitchFamily="34" charset="0"/>
              <a:buChar char="•"/>
            </a:pPr>
            <a:r>
              <a:rPr lang="en-US"/>
              <a:t>Airfield Civil, Electrical, Drainage, pavements, NAVAIDS</a:t>
            </a:r>
          </a:p>
          <a:p>
            <a:pPr marL="347663" lvl="0" indent="-347663">
              <a:spcAft>
                <a:spcPts val="600"/>
              </a:spcAft>
              <a:buFont typeface="Arial" panose="020B0604020202020204" pitchFamily="34" charset="0"/>
              <a:buChar char="•"/>
            </a:pPr>
            <a:r>
              <a:rPr lang="en-US"/>
              <a:t>Landside civil, electrical, drainage, traffic control</a:t>
            </a:r>
          </a:p>
          <a:p>
            <a:pPr marL="347663" lvl="0" indent="-347663">
              <a:spcAft>
                <a:spcPts val="600"/>
              </a:spcAft>
              <a:buFont typeface="Arial" panose="020B0604020202020204" pitchFamily="34" charset="0"/>
              <a:buChar char="•"/>
            </a:pPr>
            <a:r>
              <a:rPr lang="en-US"/>
              <a:t>Sustainable design</a:t>
            </a:r>
          </a:p>
          <a:p>
            <a:pPr marL="347663" lvl="0" indent="-347663">
              <a:spcAft>
                <a:spcPts val="600"/>
              </a:spcAft>
              <a:buFont typeface="Arial" panose="020B0604020202020204" pitchFamily="34" charset="0"/>
              <a:buChar char="•"/>
            </a:pPr>
            <a:r>
              <a:rPr lang="en-US"/>
              <a:t>Architecture, including Wayfinding/Signage, IT and Digital</a:t>
            </a:r>
            <a:endParaRPr lang="en-US" b="1" u="sng"/>
          </a:p>
          <a:p>
            <a:pPr marL="347663" indent="-347663">
              <a:spcAft>
                <a:spcPts val="600"/>
              </a:spcAft>
              <a:buFont typeface="Arial" panose="020B0604020202020204" pitchFamily="34" charset="0"/>
              <a:buChar char="•"/>
            </a:pPr>
            <a:r>
              <a:rPr lang="en-US"/>
              <a:t>Building Engineering – </a:t>
            </a:r>
            <a:r>
              <a:rPr lang="en-US" err="1"/>
              <a:t>MEP</a:t>
            </a:r>
            <a:r>
              <a:rPr lang="en-US"/>
              <a:t>, Fire Protection, Structural, IT</a:t>
            </a:r>
          </a:p>
          <a:p>
            <a:pPr marL="347663" indent="-347663">
              <a:spcAft>
                <a:spcPts val="600"/>
              </a:spcAft>
              <a:buFont typeface="Arial" panose="020B0604020202020204" pitchFamily="34" charset="0"/>
              <a:buChar char="•"/>
            </a:pPr>
            <a:endParaRPr lang="en-US" sz="200" b="1"/>
          </a:p>
          <a:p>
            <a:pPr>
              <a:spcAft>
                <a:spcPts val="600"/>
              </a:spcAft>
            </a:pPr>
            <a:r>
              <a:rPr lang="en-AU" sz="2200" b="1">
                <a:solidFill>
                  <a:schemeClr val="accent1"/>
                </a:solidFill>
              </a:rPr>
              <a:t>Program Management and Construction Management</a:t>
            </a:r>
          </a:p>
          <a:p>
            <a:pPr marL="285750" indent="-285750">
              <a:spcAft>
                <a:spcPts val="600"/>
              </a:spcAft>
              <a:buFont typeface="Arial" panose="020B0604020202020204" pitchFamily="34" charset="0"/>
              <a:buChar char="•"/>
            </a:pPr>
            <a:r>
              <a:rPr lang="en-US"/>
              <a:t> Program Leadership, Document Controls, Scheduling, Cost Estimating</a:t>
            </a:r>
          </a:p>
          <a:p>
            <a:pPr marL="347663" indent="-347663">
              <a:spcAft>
                <a:spcPts val="600"/>
              </a:spcAft>
              <a:buFont typeface="Arial" panose="020B0604020202020204" pitchFamily="34" charset="0"/>
              <a:buChar char="•"/>
            </a:pPr>
            <a:r>
              <a:rPr lang="en-US"/>
              <a:t>Quality Assurance testing, Special Inspections</a:t>
            </a:r>
          </a:p>
          <a:p>
            <a:pPr marL="347663" indent="-347663">
              <a:spcAft>
                <a:spcPts val="600"/>
              </a:spcAft>
              <a:buFont typeface="Arial" panose="020B0604020202020204" pitchFamily="34" charset="0"/>
              <a:buChar char="•"/>
            </a:pPr>
            <a:endParaRPr lang="en-US" sz="200" b="1"/>
          </a:p>
          <a:p>
            <a:pPr>
              <a:spcAft>
                <a:spcPts val="600"/>
              </a:spcAft>
            </a:pPr>
            <a:r>
              <a:rPr lang="en-AU" sz="2200" b="1">
                <a:solidFill>
                  <a:schemeClr val="accent1"/>
                </a:solidFill>
              </a:rPr>
              <a:t>Planning/Asset Management</a:t>
            </a:r>
          </a:p>
          <a:p>
            <a:pPr marL="285750" indent="-285750">
              <a:spcAft>
                <a:spcPts val="600"/>
              </a:spcAft>
              <a:buFont typeface="Arial" panose="020B0604020202020204" pitchFamily="34" charset="0"/>
              <a:buChar char="•"/>
            </a:pPr>
            <a:r>
              <a:rPr lang="en-US"/>
              <a:t>Aviation planning and forecasting</a:t>
            </a:r>
          </a:p>
          <a:p>
            <a:pPr marL="285750" indent="-285750">
              <a:spcAft>
                <a:spcPts val="600"/>
              </a:spcAft>
              <a:buFont typeface="Arial" panose="020B0604020202020204" pitchFamily="34" charset="0"/>
              <a:buChar char="•"/>
            </a:pPr>
            <a:r>
              <a:rPr lang="en-US"/>
              <a:t>Business/financial consulting including bankable feasibility studies</a:t>
            </a:r>
          </a:p>
          <a:p>
            <a:pPr marL="285750" indent="-285750">
              <a:spcAft>
                <a:spcPts val="600"/>
              </a:spcAft>
              <a:buFont typeface="Arial" panose="020B0604020202020204" pitchFamily="34" charset="0"/>
              <a:buChar char="•"/>
            </a:pPr>
            <a:r>
              <a:rPr lang="en-US"/>
              <a:t>Asset Management and Facility Condition Assessments</a:t>
            </a:r>
          </a:p>
          <a:p>
            <a:pPr marL="285750" indent="-285750">
              <a:spcAft>
                <a:spcPts val="600"/>
              </a:spcAft>
              <a:buFont typeface="Arial" panose="020B0604020202020204" pitchFamily="34" charset="0"/>
              <a:buChar char="•"/>
            </a:pPr>
            <a:r>
              <a:rPr lang="en-US"/>
              <a:t>Sustainability opportunities</a:t>
            </a:r>
          </a:p>
          <a:p>
            <a:pPr marL="285750" indent="-285750">
              <a:spcAft>
                <a:spcPts val="600"/>
              </a:spcAft>
              <a:buFont typeface="Arial" panose="020B0604020202020204" pitchFamily="34" charset="0"/>
              <a:buChar char="•"/>
            </a:pPr>
            <a:endParaRPr lang="en-US"/>
          </a:p>
          <a:p>
            <a:pPr marL="0" indent="0">
              <a:buNone/>
            </a:pPr>
            <a:endParaRPr lang="en-AU" sz="1000" b="0">
              <a:latin typeface="Jacobs Chronos" panose="010B0603030503030204" pitchFamily="34" charset="0"/>
              <a:cs typeface="Jacobs Chronos" panose="010B0603030503030204" pitchFamily="34" charset="0"/>
            </a:endParaRPr>
          </a:p>
        </p:txBody>
      </p:sp>
      <p:grpSp>
        <p:nvGrpSpPr>
          <p:cNvPr id="12" name="Group 11">
            <a:extLst>
              <a:ext uri="{FF2B5EF4-FFF2-40B4-BE49-F238E27FC236}">
                <a16:creationId xmlns:a16="http://schemas.microsoft.com/office/drawing/2014/main" id="{25A8FAFF-4BC3-4C4A-AF05-0687778053C6}"/>
              </a:ext>
              <a:ext uri="{C183D7F6-B498-43B3-948B-1728B52AA6E4}">
                <adec:decorative xmlns:adec="http://schemas.microsoft.com/office/drawing/2017/decorative" val="1"/>
              </a:ext>
            </a:extLst>
          </p:cNvPr>
          <p:cNvGrpSpPr/>
          <p:nvPr/>
        </p:nvGrpSpPr>
        <p:grpSpPr>
          <a:xfrm>
            <a:off x="9005777" y="1126875"/>
            <a:ext cx="3186223" cy="5111496"/>
            <a:chOff x="9005777" y="1126875"/>
            <a:chExt cx="3186223" cy="5111496"/>
          </a:xfrm>
        </p:grpSpPr>
        <p:grpSp>
          <p:nvGrpSpPr>
            <p:cNvPr id="13" name="Group 12">
              <a:extLst>
                <a:ext uri="{FF2B5EF4-FFF2-40B4-BE49-F238E27FC236}">
                  <a16:creationId xmlns:a16="http://schemas.microsoft.com/office/drawing/2014/main" id="{053897C8-E665-4DF8-879E-E5A23C8D1C33}"/>
                </a:ext>
              </a:extLst>
            </p:cNvPr>
            <p:cNvGrpSpPr/>
            <p:nvPr/>
          </p:nvGrpSpPr>
          <p:grpSpPr>
            <a:xfrm>
              <a:off x="9005777" y="1126875"/>
              <a:ext cx="3186223" cy="5111496"/>
              <a:chOff x="9005777" y="1126875"/>
              <a:chExt cx="3186223" cy="5111496"/>
            </a:xfrm>
          </p:grpSpPr>
          <p:sp>
            <p:nvSpPr>
              <p:cNvPr id="15" name="Rectangle 14">
                <a:extLst>
                  <a:ext uri="{FF2B5EF4-FFF2-40B4-BE49-F238E27FC236}">
                    <a16:creationId xmlns:a16="http://schemas.microsoft.com/office/drawing/2014/main" id="{2F1B3684-74A0-4507-86C7-046675BE8ED2}"/>
                  </a:ext>
                </a:extLst>
              </p:cNvPr>
              <p:cNvSpPr/>
              <p:nvPr/>
            </p:nvSpPr>
            <p:spPr>
              <a:xfrm>
                <a:off x="9197164" y="1126875"/>
                <a:ext cx="2994836" cy="51023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E0F4F0C-87DB-492F-9DC2-CAF22A57A8AB}"/>
                  </a:ext>
                </a:extLst>
              </p:cNvPr>
              <p:cNvSpPr/>
              <p:nvPr/>
            </p:nvSpPr>
            <p:spPr>
              <a:xfrm>
                <a:off x="9005777" y="1126875"/>
                <a:ext cx="191387" cy="51114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Placeholder 1">
                <a:extLst>
                  <a:ext uri="{FF2B5EF4-FFF2-40B4-BE49-F238E27FC236}">
                    <a16:creationId xmlns:a16="http://schemas.microsoft.com/office/drawing/2014/main" id="{6E53FD17-557A-4706-B5FA-EF17BE7AB5E1}"/>
                  </a:ext>
                </a:extLst>
              </p:cNvPr>
              <p:cNvSpPr txBox="1">
                <a:spLocks/>
              </p:cNvSpPr>
              <p:nvPr/>
            </p:nvSpPr>
            <p:spPr bwMode="white">
              <a:xfrm>
                <a:off x="9197164" y="1204560"/>
                <a:ext cx="2994836" cy="378842"/>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2800" b="1" kern="1200">
                    <a:solidFill>
                      <a:schemeClr val="bg1"/>
                    </a:solidFill>
                    <a:latin typeface="Jacobs Chronos" panose="010B0603030503030204" pitchFamily="34" charset="0"/>
                    <a:ea typeface="+mj-ea"/>
                    <a:cs typeface="Jacobs Chronos" panose="010B0603030503030204" pitchFamily="34" charset="0"/>
                  </a:defRPr>
                </a:lvl1pPr>
              </a:lstStyle>
              <a:p>
                <a:pPr algn="ctr" rtl="0">
                  <a:lnSpc>
                    <a:spcPct val="100000"/>
                  </a:lnSpc>
                </a:pPr>
                <a:r>
                  <a:rPr lang="en-US" sz="2400" b="0"/>
                  <a:t>OUR EXPERTISE</a:t>
                </a:r>
              </a:p>
            </p:txBody>
          </p:sp>
        </p:grpSp>
        <p:sp>
          <p:nvSpPr>
            <p:cNvPr id="14" name="TextBox 13">
              <a:extLst>
                <a:ext uri="{FF2B5EF4-FFF2-40B4-BE49-F238E27FC236}">
                  <a16:creationId xmlns:a16="http://schemas.microsoft.com/office/drawing/2014/main" id="{6FDD3CBC-E84A-4B34-B054-C17BE428C74E}"/>
                </a:ext>
              </a:extLst>
            </p:cNvPr>
            <p:cNvSpPr txBox="1"/>
            <p:nvPr/>
          </p:nvSpPr>
          <p:spPr>
            <a:xfrm>
              <a:off x="9245534" y="2022347"/>
              <a:ext cx="2772295" cy="3754874"/>
            </a:xfrm>
            <a:prstGeom prst="rect">
              <a:avLst/>
            </a:prstGeom>
            <a:noFill/>
          </p:spPr>
          <p:txBody>
            <a:bodyPr wrap="square" rtlCol="0">
              <a:spAutoFit/>
            </a:bodyPr>
            <a:lstStyle/>
            <a:p>
              <a:r>
                <a:rPr lang="en-AU" sz="1600" b="1">
                  <a:solidFill>
                    <a:schemeClr val="bg1"/>
                  </a:solidFill>
                  <a:latin typeface="+mj-lt"/>
                </a:rPr>
                <a:t>Airfield Design and </a:t>
              </a:r>
              <a:r>
                <a:rPr lang="en-AU" sz="1600" b="1" err="1">
                  <a:solidFill>
                    <a:schemeClr val="bg1"/>
                  </a:solidFill>
                  <a:latin typeface="+mj-lt"/>
                </a:rPr>
                <a:t>CA&amp;I</a:t>
              </a:r>
              <a:endParaRPr lang="en-AU" sz="1600" b="1">
                <a:solidFill>
                  <a:schemeClr val="bg1"/>
                </a:solidFill>
                <a:latin typeface="+mj-lt"/>
              </a:endParaRPr>
            </a:p>
            <a:p>
              <a:endParaRPr lang="en-AU" sz="1600" b="1">
                <a:solidFill>
                  <a:schemeClr val="bg1"/>
                </a:solidFill>
                <a:latin typeface="+mj-lt"/>
              </a:endParaRPr>
            </a:p>
            <a:p>
              <a:r>
                <a:rPr lang="en-AU" sz="1600" b="1">
                  <a:solidFill>
                    <a:schemeClr val="bg1"/>
                  </a:solidFill>
                  <a:latin typeface="+mj-lt"/>
                </a:rPr>
                <a:t>Building Design including Architecture and Building Engineering</a:t>
              </a:r>
            </a:p>
            <a:p>
              <a:endParaRPr lang="en-AU" sz="1600" b="1">
                <a:solidFill>
                  <a:schemeClr val="bg1"/>
                </a:solidFill>
                <a:latin typeface="+mj-lt"/>
              </a:endParaRPr>
            </a:p>
            <a:p>
              <a:r>
                <a:rPr lang="en-AU" sz="1600" b="1">
                  <a:solidFill>
                    <a:schemeClr val="bg1"/>
                  </a:solidFill>
                  <a:latin typeface="+mj-lt"/>
                </a:rPr>
                <a:t>Program Management</a:t>
              </a:r>
            </a:p>
            <a:p>
              <a:endParaRPr lang="en-AU" sz="1600" b="1">
                <a:solidFill>
                  <a:schemeClr val="bg1"/>
                </a:solidFill>
                <a:latin typeface="+mj-lt"/>
              </a:endParaRPr>
            </a:p>
            <a:p>
              <a:r>
                <a:rPr lang="en-US" sz="1600" b="1">
                  <a:solidFill>
                    <a:schemeClr val="bg1"/>
                  </a:solidFill>
                  <a:latin typeface="+mj-lt"/>
                </a:rPr>
                <a:t>QA/SI Services</a:t>
              </a:r>
            </a:p>
            <a:p>
              <a:endParaRPr lang="en-US" sz="1600" b="1">
                <a:solidFill>
                  <a:schemeClr val="bg1"/>
                </a:solidFill>
                <a:latin typeface="+mj-lt"/>
              </a:endParaRPr>
            </a:p>
            <a:p>
              <a:r>
                <a:rPr lang="en-US" sz="1600" b="1">
                  <a:solidFill>
                    <a:schemeClr val="bg1"/>
                  </a:solidFill>
                  <a:latin typeface="+mj-lt"/>
                </a:rPr>
                <a:t>Planning and Environmental</a:t>
              </a:r>
            </a:p>
            <a:p>
              <a:endParaRPr lang="en-US" sz="1600" b="1">
                <a:solidFill>
                  <a:schemeClr val="bg1"/>
                </a:solidFill>
                <a:latin typeface="+mj-lt"/>
              </a:endParaRPr>
            </a:p>
            <a:p>
              <a:r>
                <a:rPr lang="en-US" sz="1600" b="1">
                  <a:solidFill>
                    <a:schemeClr val="bg1"/>
                  </a:solidFill>
                  <a:latin typeface="+mj-lt"/>
                </a:rPr>
                <a:t>Asset Management</a:t>
              </a:r>
            </a:p>
            <a:p>
              <a:endParaRPr lang="en-US" sz="1400" b="1">
                <a:solidFill>
                  <a:schemeClr val="bg1"/>
                </a:solidFill>
                <a:latin typeface="+mj-lt"/>
              </a:endParaRPr>
            </a:p>
          </p:txBody>
        </p:sp>
      </p:grpSp>
      <p:sp>
        <p:nvSpPr>
          <p:cNvPr id="2" name="Footer Placeholder 1">
            <a:extLst>
              <a:ext uri="{FF2B5EF4-FFF2-40B4-BE49-F238E27FC236}">
                <a16:creationId xmlns:a16="http://schemas.microsoft.com/office/drawing/2014/main" id="{4F8C0CAE-17A5-4601-876A-F1EF372B3230}"/>
              </a:ext>
            </a:extLst>
          </p:cNvPr>
          <p:cNvSpPr>
            <a:spLocks noGrp="1"/>
          </p:cNvSpPr>
          <p:nvPr>
            <p:ph type="ftr" sz="quarter" idx="10"/>
          </p:nvPr>
        </p:nvSpPr>
        <p:spPr/>
        <p:txBody>
          <a:bodyPr/>
          <a:lstStyle/>
          <a:p>
            <a:r>
              <a:rPr lang="en-AU"/>
              <a:t>©Jacobs 2025</a:t>
            </a:r>
          </a:p>
        </p:txBody>
      </p:sp>
    </p:spTree>
    <p:extLst>
      <p:ext uri="{BB962C8B-B14F-4D97-AF65-F5344CB8AC3E}">
        <p14:creationId xmlns:p14="http://schemas.microsoft.com/office/powerpoint/2010/main" val="18171804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2EBBBC-FB49-4174-A455-1D4B7A706286}"/>
              </a:ext>
            </a:extLst>
          </p:cNvPr>
          <p:cNvSpPr>
            <a:spLocks noGrp="1"/>
          </p:cNvSpPr>
          <p:nvPr>
            <p:ph type="title"/>
          </p:nvPr>
        </p:nvSpPr>
        <p:spPr>
          <a:xfrm>
            <a:off x="320040" y="86616"/>
            <a:ext cx="11521440" cy="640080"/>
          </a:xfrm>
        </p:spPr>
        <p:txBody>
          <a:bodyPr>
            <a:normAutofit/>
          </a:bodyPr>
          <a:lstStyle/>
          <a:p>
            <a:r>
              <a:rPr lang="en-US"/>
              <a:t>List of Key Contacts for Jacobs at DEN</a:t>
            </a:r>
          </a:p>
        </p:txBody>
      </p:sp>
      <p:sp>
        <p:nvSpPr>
          <p:cNvPr id="5" name="TextBox 4">
            <a:extLst>
              <a:ext uri="{FF2B5EF4-FFF2-40B4-BE49-F238E27FC236}">
                <a16:creationId xmlns:a16="http://schemas.microsoft.com/office/drawing/2014/main" id="{89EE8F89-E36B-4B46-AFB8-31688F563A63}"/>
              </a:ext>
            </a:extLst>
          </p:cNvPr>
          <p:cNvSpPr txBox="1"/>
          <p:nvPr/>
        </p:nvSpPr>
        <p:spPr>
          <a:xfrm>
            <a:off x="1298238" y="548793"/>
            <a:ext cx="7685455" cy="7201972"/>
          </a:xfrm>
          <a:prstGeom prst="rect">
            <a:avLst/>
          </a:prstGeom>
          <a:noFill/>
        </p:spPr>
        <p:txBody>
          <a:bodyPr wrap="square" rtlCol="0">
            <a:spAutoFit/>
          </a:bodyPr>
          <a:lstStyle/>
          <a:p>
            <a:r>
              <a:rPr lang="en-US" sz="2800" b="1"/>
              <a:t>Client Leadership:</a:t>
            </a:r>
          </a:p>
          <a:p>
            <a:r>
              <a:rPr lang="en-US" sz="2400" b="1">
                <a:solidFill>
                  <a:srgbClr val="0070C0"/>
                </a:solidFill>
              </a:rPr>
              <a:t>Bill VanHercke, PE</a:t>
            </a:r>
            <a:endParaRPr lang="en-US" sz="2400" b="1" kern="800">
              <a:solidFill>
                <a:srgbClr val="0070C0"/>
              </a:solidFill>
            </a:endParaRPr>
          </a:p>
          <a:p>
            <a:r>
              <a:rPr lang="en-US" sz="1600" b="1" kern="800">
                <a:solidFill>
                  <a:srgbClr val="0070C0"/>
                </a:solidFill>
              </a:rPr>
              <a:t>Vice President – US West Aviation </a:t>
            </a:r>
            <a:r>
              <a:rPr lang="en-US" sz="1600" b="1" u="sng">
                <a:solidFill>
                  <a:srgbClr val="0070C0"/>
                </a:solidFill>
                <a:hlinkClick r:id="rId3"/>
              </a:rPr>
              <a:t>William.VanHercke@Jacobs.com</a:t>
            </a:r>
            <a:r>
              <a:rPr lang="en-US" sz="1600" b="1" u="sng">
                <a:solidFill>
                  <a:srgbClr val="0070C0"/>
                </a:solidFill>
              </a:rPr>
              <a:t>   </a:t>
            </a:r>
          </a:p>
          <a:p>
            <a:r>
              <a:rPr lang="en-US" sz="2400" b="1">
                <a:solidFill>
                  <a:srgbClr val="0070C0"/>
                </a:solidFill>
              </a:rPr>
              <a:t>Brett Hartle, AIA, LEED AP</a:t>
            </a:r>
          </a:p>
          <a:p>
            <a:r>
              <a:rPr lang="en-US" sz="1600" b="1">
                <a:solidFill>
                  <a:srgbClr val="0070C0"/>
                </a:solidFill>
              </a:rPr>
              <a:t>Vice President – US West Aviation </a:t>
            </a:r>
            <a:r>
              <a:rPr lang="en-US" sz="1600" b="1">
                <a:solidFill>
                  <a:srgbClr val="0070C0"/>
                </a:solidFill>
                <a:hlinkClick r:id="rId4"/>
              </a:rPr>
              <a:t>Brett.Hartle@Jacobs.com</a:t>
            </a:r>
            <a:r>
              <a:rPr lang="en-US" sz="1600" b="1">
                <a:solidFill>
                  <a:srgbClr val="0070C0"/>
                </a:solidFill>
              </a:rPr>
              <a:t> </a:t>
            </a:r>
          </a:p>
          <a:p>
            <a:r>
              <a:rPr lang="en-US" sz="2400" b="1" kern="800">
                <a:latin typeface="Jacobs Chronos" panose="010B0603030503030204" pitchFamily="34" charset="0"/>
                <a:cs typeface="Jacobs Chronos" panose="010B0603030503030204" pitchFamily="34" charset="0"/>
              </a:rPr>
              <a:t>Airfield Design and CA&amp;I</a:t>
            </a:r>
          </a:p>
          <a:p>
            <a:r>
              <a:rPr lang="en-US" sz="1600" b="1" kern="800">
                <a:solidFill>
                  <a:srgbClr val="0070C0"/>
                </a:solidFill>
              </a:rPr>
              <a:t>Claire Marshall, PE </a:t>
            </a:r>
            <a:r>
              <a:rPr lang="en-US" sz="1600" b="1">
                <a:solidFill>
                  <a:srgbClr val="0070C0"/>
                </a:solidFill>
              </a:rPr>
              <a:t>			Chad Picard, PE 	</a:t>
            </a:r>
            <a:endParaRPr lang="en-US" sz="1600" b="1" kern="800">
              <a:solidFill>
                <a:srgbClr val="0070C0"/>
              </a:solidFill>
            </a:endParaRPr>
          </a:p>
          <a:p>
            <a:r>
              <a:rPr lang="en-US" sz="1600" b="1" kern="800">
                <a:solidFill>
                  <a:srgbClr val="0070C0"/>
                </a:solidFill>
              </a:rPr>
              <a:t>Sr Project Manager/Ops Lead 		</a:t>
            </a:r>
            <a:r>
              <a:rPr lang="en-US" sz="1600">
                <a:solidFill>
                  <a:srgbClr val="0070C0"/>
                </a:solidFill>
              </a:rPr>
              <a:t> Sr. Project Manager		</a:t>
            </a:r>
          </a:p>
          <a:p>
            <a:r>
              <a:rPr lang="en-US" sz="1600" b="1" kern="800">
                <a:solidFill>
                  <a:srgbClr val="0070C0"/>
                </a:solidFill>
                <a:hlinkClick r:id="rId5"/>
              </a:rPr>
              <a:t>Claire.Marshall@Jacobs.com</a:t>
            </a:r>
            <a:r>
              <a:rPr lang="en-US" sz="1600" b="1" kern="800">
                <a:solidFill>
                  <a:srgbClr val="0070C0"/>
                </a:solidFill>
              </a:rPr>
              <a:t> </a:t>
            </a:r>
            <a:r>
              <a:rPr lang="en-US" sz="1600">
                <a:solidFill>
                  <a:srgbClr val="0070C0"/>
                </a:solidFill>
              </a:rPr>
              <a:t>	</a:t>
            </a:r>
            <a:r>
              <a:rPr lang="en-US" sz="1600" b="1" u="sng">
                <a:solidFill>
                  <a:srgbClr val="0070C0"/>
                </a:solidFill>
                <a:hlinkClick r:id="rId6"/>
              </a:rPr>
              <a:t>Chad.Picard@Jacobs.com</a:t>
            </a:r>
            <a:r>
              <a:rPr lang="en-US" sz="1600" b="1" u="sng">
                <a:solidFill>
                  <a:srgbClr val="0070C0"/>
                </a:solidFill>
              </a:rPr>
              <a:t>  </a:t>
            </a:r>
            <a:endParaRPr lang="en-US" sz="1600">
              <a:solidFill>
                <a:srgbClr val="0070C0"/>
              </a:solidFill>
            </a:endParaRPr>
          </a:p>
          <a:p>
            <a:r>
              <a:rPr lang="en-US" sz="2400" b="1" kern="800">
                <a:latin typeface="Jacobs Chronos" panose="010B0603030503030204" pitchFamily="34" charset="0"/>
                <a:cs typeface="Jacobs Chronos" panose="010B0603030503030204" pitchFamily="34" charset="0"/>
              </a:rPr>
              <a:t>Buildings Design and Engineering</a:t>
            </a:r>
          </a:p>
          <a:p>
            <a:r>
              <a:rPr lang="en-US" sz="1600" b="1">
                <a:solidFill>
                  <a:srgbClr val="0070C0"/>
                </a:solidFill>
              </a:rPr>
              <a:t>Bill Furman, AIA </a:t>
            </a:r>
            <a:r>
              <a:rPr lang="en-US" sz="1600" b="1" kern="800">
                <a:solidFill>
                  <a:srgbClr val="0070C0"/>
                </a:solidFill>
              </a:rPr>
              <a:t>			Ann Marie Roy, AIA LEED</a:t>
            </a:r>
          </a:p>
          <a:p>
            <a:r>
              <a:rPr lang="en-US" sz="1600">
                <a:solidFill>
                  <a:srgbClr val="0070C0"/>
                </a:solidFill>
              </a:rPr>
              <a:t>Buildings Group Leader</a:t>
            </a:r>
            <a:r>
              <a:rPr lang="en-US" sz="1600" b="1" kern="800">
                <a:solidFill>
                  <a:srgbClr val="0070C0"/>
                </a:solidFill>
              </a:rPr>
              <a:t>		Sr Project Manager/ Senior Architect</a:t>
            </a:r>
          </a:p>
          <a:p>
            <a:r>
              <a:rPr lang="en-US" sz="1600" b="1" u="sng">
                <a:solidFill>
                  <a:srgbClr val="0070C0"/>
                </a:solidFill>
                <a:hlinkClick r:id="rId7"/>
              </a:rPr>
              <a:t>Bill.Furman@Jacobs.com</a:t>
            </a:r>
            <a:r>
              <a:rPr lang="en-US" sz="1600" b="1" u="sng">
                <a:solidFill>
                  <a:srgbClr val="0070C0"/>
                </a:solidFill>
              </a:rPr>
              <a:t> </a:t>
            </a:r>
            <a:r>
              <a:rPr lang="en-US" sz="1600" b="1" kern="800">
                <a:solidFill>
                  <a:srgbClr val="0070C0"/>
                </a:solidFill>
              </a:rPr>
              <a:t>		</a:t>
            </a:r>
            <a:r>
              <a:rPr lang="en-US" sz="1600" b="1" kern="800">
                <a:solidFill>
                  <a:srgbClr val="0070C0"/>
                </a:solidFill>
                <a:hlinkClick r:id="rId8"/>
              </a:rPr>
              <a:t>AnnMarie.Roy@Jacobs.com</a:t>
            </a:r>
            <a:r>
              <a:rPr lang="en-US" sz="1600" b="1" kern="800">
                <a:solidFill>
                  <a:srgbClr val="0070C0"/>
                </a:solidFill>
              </a:rPr>
              <a:t>  </a:t>
            </a:r>
          </a:p>
          <a:p>
            <a:r>
              <a:rPr lang="en-US" sz="2400" b="1" kern="800">
                <a:latin typeface="Jacobs Chronos" panose="010B0603030503030204" pitchFamily="34" charset="0"/>
                <a:cs typeface="Jacobs Chronos" panose="010B0603030503030204" pitchFamily="34" charset="0"/>
              </a:rPr>
              <a:t>Program Management:</a:t>
            </a:r>
          </a:p>
          <a:p>
            <a:r>
              <a:rPr lang="en-US" sz="1600" b="1">
                <a:solidFill>
                  <a:srgbClr val="0070C0"/>
                </a:solidFill>
              </a:rPr>
              <a:t>Greg Straight</a:t>
            </a:r>
            <a:r>
              <a:rPr lang="en-US" sz="1600" b="1" kern="800">
                <a:solidFill>
                  <a:srgbClr val="0070C0"/>
                </a:solidFill>
              </a:rPr>
              <a:t>			Courtney Smith</a:t>
            </a:r>
          </a:p>
          <a:p>
            <a:r>
              <a:rPr lang="en-US" sz="1600">
                <a:solidFill>
                  <a:srgbClr val="0070C0"/>
                </a:solidFill>
              </a:rPr>
              <a:t>Sr. Program Manager</a:t>
            </a:r>
            <a:r>
              <a:rPr lang="en-US" sz="1600" b="1" kern="800">
                <a:solidFill>
                  <a:srgbClr val="0070C0"/>
                </a:solidFill>
              </a:rPr>
              <a:t>		Program Manager</a:t>
            </a:r>
          </a:p>
          <a:p>
            <a:r>
              <a:rPr lang="en-US" sz="1600" b="1" u="sng">
                <a:solidFill>
                  <a:srgbClr val="0070C0"/>
                </a:solidFill>
                <a:hlinkClick r:id="rId9"/>
              </a:rPr>
              <a:t>Greg.Straight@Jacobs.com</a:t>
            </a:r>
            <a:r>
              <a:rPr lang="en-US" sz="1600" b="1" u="sng">
                <a:solidFill>
                  <a:srgbClr val="0070C0"/>
                </a:solidFill>
              </a:rPr>
              <a:t>  </a:t>
            </a:r>
            <a:r>
              <a:rPr lang="en-US" sz="1600" b="1" kern="800">
                <a:solidFill>
                  <a:srgbClr val="0070C0"/>
                </a:solidFill>
              </a:rPr>
              <a:t>		</a:t>
            </a:r>
            <a:r>
              <a:rPr lang="en-US" sz="1600" b="1" kern="800">
                <a:solidFill>
                  <a:srgbClr val="0070C0"/>
                </a:solidFill>
                <a:hlinkClick r:id="rId10"/>
              </a:rPr>
              <a:t>Courtney.Smith@Jacobs.com</a:t>
            </a:r>
            <a:r>
              <a:rPr lang="en-US" sz="1600" b="1" kern="800">
                <a:solidFill>
                  <a:srgbClr val="0070C0"/>
                </a:solidFill>
              </a:rPr>
              <a:t> </a:t>
            </a:r>
          </a:p>
          <a:p>
            <a:r>
              <a:rPr lang="en-US" sz="2400" b="1" kern="800"/>
              <a:t>Asset Management and Bridge Planning</a:t>
            </a:r>
          </a:p>
          <a:p>
            <a:r>
              <a:rPr lang="en-US" sz="1600" b="1">
                <a:solidFill>
                  <a:srgbClr val="0070C0"/>
                </a:solidFill>
              </a:rPr>
              <a:t>Bryan Smith, PE, AIA, LEED AP</a:t>
            </a:r>
            <a:r>
              <a:rPr lang="en-US" sz="1600" b="1" kern="800">
                <a:solidFill>
                  <a:srgbClr val="0070C0"/>
                </a:solidFill>
              </a:rPr>
              <a:t>	Joey Garcia</a:t>
            </a:r>
          </a:p>
          <a:p>
            <a:r>
              <a:rPr lang="en-US" sz="1600">
                <a:solidFill>
                  <a:srgbClr val="0070C0"/>
                </a:solidFill>
              </a:rPr>
              <a:t>Sr. Aviation Architect</a:t>
            </a:r>
            <a:r>
              <a:rPr lang="en-US" sz="1600" b="1" kern="800">
                <a:solidFill>
                  <a:srgbClr val="0070C0"/>
                </a:solidFill>
              </a:rPr>
              <a:t>		Sr. Asset Manager </a:t>
            </a:r>
          </a:p>
          <a:p>
            <a:r>
              <a:rPr lang="en-US" sz="1600" b="1" u="sng">
                <a:solidFill>
                  <a:srgbClr val="0070C0"/>
                </a:solidFill>
                <a:hlinkClick r:id="rId11"/>
              </a:rPr>
              <a:t>Bryan.Smith2@Jacobs.com</a:t>
            </a:r>
            <a:r>
              <a:rPr lang="en-US" sz="1600" b="1" u="sng">
                <a:solidFill>
                  <a:srgbClr val="0070C0"/>
                </a:solidFill>
              </a:rPr>
              <a:t>  </a:t>
            </a:r>
            <a:r>
              <a:rPr lang="en-US" sz="1600" b="1" kern="800">
                <a:solidFill>
                  <a:srgbClr val="0070C0"/>
                </a:solidFill>
              </a:rPr>
              <a:t>		</a:t>
            </a:r>
            <a:r>
              <a:rPr lang="en-US" sz="1600" b="1" kern="800">
                <a:solidFill>
                  <a:srgbClr val="0070C0"/>
                </a:solidFill>
                <a:hlinkClick r:id="rId12"/>
              </a:rPr>
              <a:t>Joey.Garcia@Jacobs.com</a:t>
            </a:r>
            <a:r>
              <a:rPr lang="en-US" sz="1600" b="1" kern="800">
                <a:solidFill>
                  <a:srgbClr val="0070C0"/>
                </a:solidFill>
              </a:rPr>
              <a:t>  </a:t>
            </a:r>
          </a:p>
          <a:p>
            <a:endParaRPr lang="en-US" sz="2400" b="1" kern="800">
              <a:solidFill>
                <a:srgbClr val="0070C0"/>
              </a:solidFill>
            </a:endParaRPr>
          </a:p>
          <a:p>
            <a:endParaRPr lang="en-US" sz="2400" b="1" kern="800">
              <a:solidFill>
                <a:srgbClr val="0070C0"/>
              </a:solidFill>
              <a:latin typeface="Jacobs Chronos" panose="010B0603030503030204" pitchFamily="34" charset="0"/>
              <a:cs typeface="Jacobs Chronos" panose="010B0603030503030204" pitchFamily="34" charset="0"/>
            </a:endParaRPr>
          </a:p>
          <a:p>
            <a:endParaRPr lang="en-AU" sz="1800" b="0">
              <a:latin typeface="Jacobs Chronos" panose="010B0603030503030204" pitchFamily="34" charset="0"/>
              <a:cs typeface="Jacobs Chronos" panose="010B0603030503030204" pitchFamily="34" charset="0"/>
            </a:endParaRPr>
          </a:p>
        </p:txBody>
      </p:sp>
      <p:grpSp>
        <p:nvGrpSpPr>
          <p:cNvPr id="10" name="Group 9">
            <a:extLst>
              <a:ext uri="{FF2B5EF4-FFF2-40B4-BE49-F238E27FC236}">
                <a16:creationId xmlns:a16="http://schemas.microsoft.com/office/drawing/2014/main" id="{BDAA6188-7ADF-47E3-889E-B9DBC309B969}"/>
              </a:ext>
              <a:ext uri="{C183D7F6-B498-43B3-948B-1728B52AA6E4}">
                <adec:decorative xmlns:adec="http://schemas.microsoft.com/office/drawing/2017/decorative" val="1"/>
              </a:ext>
            </a:extLst>
          </p:cNvPr>
          <p:cNvGrpSpPr/>
          <p:nvPr/>
        </p:nvGrpSpPr>
        <p:grpSpPr>
          <a:xfrm>
            <a:off x="8659091" y="335889"/>
            <a:ext cx="3532909" cy="5924312"/>
            <a:chOff x="9005777" y="936334"/>
            <a:chExt cx="3186223" cy="5302037"/>
          </a:xfrm>
        </p:grpSpPr>
        <p:sp>
          <p:nvSpPr>
            <p:cNvPr id="11" name="Rectangle 10">
              <a:extLst>
                <a:ext uri="{FF2B5EF4-FFF2-40B4-BE49-F238E27FC236}">
                  <a16:creationId xmlns:a16="http://schemas.microsoft.com/office/drawing/2014/main" id="{A9F62D14-251D-4BA1-BCEA-22C15925F7D6}"/>
                </a:ext>
              </a:extLst>
            </p:cNvPr>
            <p:cNvSpPr/>
            <p:nvPr/>
          </p:nvSpPr>
          <p:spPr>
            <a:xfrm>
              <a:off x="9149316" y="1136017"/>
              <a:ext cx="2994836" cy="51023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23FA96-A3EC-4CCE-BF8B-4C92FF2AF90A}"/>
                </a:ext>
              </a:extLst>
            </p:cNvPr>
            <p:cNvSpPr/>
            <p:nvPr/>
          </p:nvSpPr>
          <p:spPr>
            <a:xfrm>
              <a:off x="9005777" y="1126875"/>
              <a:ext cx="191387" cy="51114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Placeholder 1">
              <a:extLst>
                <a:ext uri="{FF2B5EF4-FFF2-40B4-BE49-F238E27FC236}">
                  <a16:creationId xmlns:a16="http://schemas.microsoft.com/office/drawing/2014/main" id="{AB0C0246-3028-4272-8A9F-3C8389609952}"/>
                </a:ext>
              </a:extLst>
            </p:cNvPr>
            <p:cNvSpPr txBox="1">
              <a:spLocks/>
            </p:cNvSpPr>
            <p:nvPr/>
          </p:nvSpPr>
          <p:spPr bwMode="white">
            <a:xfrm>
              <a:off x="9149316" y="936334"/>
              <a:ext cx="3042684" cy="4735543"/>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2800" b="1" kern="1200">
                  <a:solidFill>
                    <a:schemeClr val="bg1"/>
                  </a:solidFill>
                  <a:latin typeface="Jacobs Chronos" panose="010B0603030503030204" pitchFamily="34" charset="0"/>
                  <a:ea typeface="+mj-ea"/>
                  <a:cs typeface="Jacobs Chronos" panose="010B0603030503030204" pitchFamily="34" charset="0"/>
                </a:defRPr>
              </a:lvl1pPr>
            </a:lstStyle>
            <a:p>
              <a:pPr algn="ctr" rtl="0">
                <a:lnSpc>
                  <a:spcPct val="100000"/>
                </a:lnSpc>
              </a:pPr>
              <a:r>
                <a:rPr lang="en-US" sz="2400" b="0"/>
                <a:t>Opportunities at DEN include:</a:t>
              </a:r>
            </a:p>
            <a:p>
              <a:pPr marL="457200" indent="-457200" rtl="0">
                <a:lnSpc>
                  <a:spcPct val="100000"/>
                </a:lnSpc>
                <a:buFont typeface="+mj-lt"/>
                <a:buAutoNum type="arabicPeriod"/>
              </a:pPr>
              <a:r>
                <a:rPr lang="en-US" sz="2400" b="0"/>
                <a:t>Concourse C West Expansion Design</a:t>
              </a:r>
            </a:p>
            <a:p>
              <a:pPr marL="457200" indent="-457200" rtl="0">
                <a:lnSpc>
                  <a:spcPct val="100000"/>
                </a:lnSpc>
                <a:buFont typeface="+mj-lt"/>
                <a:buAutoNum type="arabicPeriod"/>
              </a:pPr>
              <a:r>
                <a:rPr lang="en-US" sz="2400" b="0"/>
                <a:t>Design/Build Opps</a:t>
              </a:r>
            </a:p>
            <a:p>
              <a:pPr marL="457200" indent="-457200" rtl="0">
                <a:lnSpc>
                  <a:spcPct val="100000"/>
                </a:lnSpc>
                <a:buFont typeface="+mj-lt"/>
                <a:buAutoNum type="arabicPeriod"/>
              </a:pPr>
              <a:r>
                <a:rPr lang="en-US" sz="2400" b="0"/>
                <a:t>Potential Concourse Pedestrian Bridge</a:t>
              </a:r>
            </a:p>
            <a:p>
              <a:pPr marL="457200" indent="-457200" rtl="0">
                <a:lnSpc>
                  <a:spcPct val="100000"/>
                </a:lnSpc>
                <a:buFont typeface="+mj-lt"/>
                <a:buAutoNum type="arabicPeriod"/>
              </a:pPr>
              <a:r>
                <a:rPr lang="en-US" sz="2400" b="0"/>
                <a:t>Future Mod Zero Concourses</a:t>
              </a:r>
            </a:p>
            <a:p>
              <a:pPr marL="457200" indent="-457200" rtl="0">
                <a:lnSpc>
                  <a:spcPct val="100000"/>
                </a:lnSpc>
                <a:buFont typeface="+mj-lt"/>
                <a:buAutoNum type="arabicPeriod"/>
              </a:pPr>
              <a:r>
                <a:rPr lang="en-US" sz="2400" b="0"/>
                <a:t>Asset Management</a:t>
              </a:r>
            </a:p>
            <a:p>
              <a:pPr marL="457200" indent="-457200" rtl="0">
                <a:lnSpc>
                  <a:spcPct val="100000"/>
                </a:lnSpc>
                <a:buFont typeface="+mj-lt"/>
                <a:buAutoNum type="arabicPeriod"/>
              </a:pPr>
              <a:r>
                <a:rPr lang="en-US" sz="2400" b="0"/>
                <a:t>A/E Planning On-Call</a:t>
              </a:r>
            </a:p>
            <a:p>
              <a:pPr marL="457200" indent="-457200" rtl="0">
                <a:lnSpc>
                  <a:spcPct val="100000"/>
                </a:lnSpc>
                <a:buFont typeface="+mj-lt"/>
                <a:buAutoNum type="arabicPeriod"/>
              </a:pPr>
              <a:r>
                <a:rPr lang="en-US" sz="2400" b="0"/>
                <a:t>Electrification Master Plan and SMR</a:t>
              </a:r>
            </a:p>
          </p:txBody>
        </p:sp>
      </p:grpSp>
      <p:sp>
        <p:nvSpPr>
          <p:cNvPr id="2" name="Footer Placeholder 1">
            <a:extLst>
              <a:ext uri="{FF2B5EF4-FFF2-40B4-BE49-F238E27FC236}">
                <a16:creationId xmlns:a16="http://schemas.microsoft.com/office/drawing/2014/main" id="{0E3AF891-0BFC-480D-8B07-CED728AA8834}"/>
              </a:ext>
            </a:extLst>
          </p:cNvPr>
          <p:cNvSpPr>
            <a:spLocks noGrp="1"/>
          </p:cNvSpPr>
          <p:nvPr>
            <p:ph type="ftr" sz="quarter" idx="10"/>
          </p:nvPr>
        </p:nvSpPr>
        <p:spPr/>
        <p:txBody>
          <a:bodyPr/>
          <a:lstStyle/>
          <a:p>
            <a:r>
              <a:rPr lang="en-AU"/>
              <a:t>©Jacobs 2025</a:t>
            </a:r>
          </a:p>
        </p:txBody>
      </p:sp>
    </p:spTree>
    <p:extLst>
      <p:ext uri="{BB962C8B-B14F-4D97-AF65-F5344CB8AC3E}">
        <p14:creationId xmlns:p14="http://schemas.microsoft.com/office/powerpoint/2010/main" val="5331906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87FFE3-E2AE-D71D-CE13-746E1847FFA3}"/>
              </a:ext>
            </a:extLst>
          </p:cNvPr>
          <p:cNvSpPr>
            <a:spLocks noGrp="1"/>
          </p:cNvSpPr>
          <p:nvPr>
            <p:ph type="title" idx="4294967295"/>
          </p:nvPr>
        </p:nvSpPr>
        <p:spPr/>
        <p:txBody>
          <a:bodyPr/>
          <a:lstStyle/>
          <a:p>
            <a:r>
              <a:rPr lang="en-US"/>
              <a:t>Lift off with </a:t>
            </a:r>
            <a:r>
              <a:rPr lang="en-US" err="1"/>
              <a:t>AtkinsRealis</a:t>
            </a:r>
            <a:br>
              <a:rPr lang="en-US"/>
            </a:br>
            <a:endParaRPr lang="en-US"/>
          </a:p>
        </p:txBody>
      </p:sp>
      <p:pic>
        <p:nvPicPr>
          <p:cNvPr id="4" name="Picture 3" descr="Front view of a commercial airplane taking off from a runway, with concentric green circles in the background. Text at the top reads ‘Lift Off with AtkinsRéalis’ and at the bottom ‘Meet the Primes 2025.’ AtkinsRéalis logo is in the upper right corner">
            <a:extLst>
              <a:ext uri="{FF2B5EF4-FFF2-40B4-BE49-F238E27FC236}">
                <a16:creationId xmlns:a16="http://schemas.microsoft.com/office/drawing/2014/main" id="{7BF2D55D-AFC2-D533-1CF0-321DD2DA2A0D}"/>
              </a:ext>
            </a:extLst>
          </p:cNvPr>
          <p:cNvPicPr>
            <a:picLocks noChangeAspect="1"/>
          </p:cNvPicPr>
          <p:nvPr/>
        </p:nvPicPr>
        <p:blipFill>
          <a:blip r:embed="rId3"/>
          <a:stretch>
            <a:fillRect/>
          </a:stretch>
        </p:blipFill>
        <p:spPr>
          <a:xfrm>
            <a:off x="0" y="0"/>
            <a:ext cx="12338453" cy="6858000"/>
          </a:xfrm>
          <a:prstGeom prst="rect">
            <a:avLst/>
          </a:prstGeom>
        </p:spPr>
      </p:pic>
    </p:spTree>
    <p:extLst>
      <p:ext uri="{BB962C8B-B14F-4D97-AF65-F5344CB8AC3E}">
        <p14:creationId xmlns:p14="http://schemas.microsoft.com/office/powerpoint/2010/main" val="17171453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1F6B5D-4DD8-F66D-0D7C-7AF6A2F8E0BF}"/>
              </a:ext>
            </a:extLst>
          </p:cNvPr>
          <p:cNvSpPr>
            <a:spLocks noGrp="1"/>
          </p:cNvSpPr>
          <p:nvPr>
            <p:ph type="title" idx="4294967295"/>
          </p:nvPr>
        </p:nvSpPr>
        <p:spPr/>
        <p:txBody>
          <a:bodyPr/>
          <a:lstStyle/>
          <a:p>
            <a:r>
              <a:rPr lang="en-US"/>
              <a:t>Our Expertise at DEN</a:t>
            </a:r>
          </a:p>
        </p:txBody>
      </p:sp>
      <p:pic>
        <p:nvPicPr>
          <p:cNvPr id="3" name="Picture 2" descr="Our Expertise at DEN” featuring five green icons with corresponding labels: Engineering &amp; Architecture, Program, Project &amp; Construction Management, Planning, Technology &amp; BIM/GIS, and Grant Writing &amp; Financial Advisory. Below, a section titled “How We Win Work” lists four bullet points: Focus on Client Service and Safety, Reflect Diverse Perspectives, Deliver High Quality Work on Schedule, and Exceed Client Expectations. The background includes a photo of the iconic white tent roof structure of Denver International Airport under a blue sky.">
            <a:extLst>
              <a:ext uri="{FF2B5EF4-FFF2-40B4-BE49-F238E27FC236}">
                <a16:creationId xmlns:a16="http://schemas.microsoft.com/office/drawing/2014/main" id="{865E3218-5281-187D-2909-B366D729D42C}"/>
              </a:ext>
            </a:extLst>
          </p:cNvPr>
          <p:cNvPicPr>
            <a:picLocks noChangeAspect="1"/>
          </p:cNvPicPr>
          <p:nvPr/>
        </p:nvPicPr>
        <p:blipFill>
          <a:blip r:embed="rId2"/>
          <a:stretch>
            <a:fillRect/>
          </a:stretch>
        </p:blipFill>
        <p:spPr>
          <a:xfrm>
            <a:off x="-186291" y="0"/>
            <a:ext cx="12773993" cy="6972300"/>
          </a:xfrm>
          <a:prstGeom prst="rect">
            <a:avLst/>
          </a:prstGeom>
        </p:spPr>
      </p:pic>
    </p:spTree>
    <p:extLst>
      <p:ext uri="{BB962C8B-B14F-4D97-AF65-F5344CB8AC3E}">
        <p14:creationId xmlns:p14="http://schemas.microsoft.com/office/powerpoint/2010/main" val="2110469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descr="Community Panelist Program &#10;&#10;Volunteer program for those who want to participate in a procurement evaluation panel. &#10;">
            <a:extLst>
              <a:ext uri="{FF2B5EF4-FFF2-40B4-BE49-F238E27FC236}">
                <a16:creationId xmlns:a16="http://schemas.microsoft.com/office/drawing/2014/main" id="{4D3BE7C3-407C-CB0C-1D05-5719EECE40C2}"/>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Community Panelist Program </a:t>
            </a:r>
          </a:p>
        </p:txBody>
      </p:sp>
      <p:sp>
        <p:nvSpPr>
          <p:cNvPr id="4" name="Text Placeholder 3">
            <a:extLst>
              <a:ext uri="{FF2B5EF4-FFF2-40B4-BE49-F238E27FC236}">
                <a16:creationId xmlns:a16="http://schemas.microsoft.com/office/drawing/2014/main" id="{5A20C0F3-ED2C-DF10-367D-3F28E143BDD4}"/>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2" name="Slide Number Placeholder 1">
            <a:extLst>
              <a:ext uri="{FF2B5EF4-FFF2-40B4-BE49-F238E27FC236}">
                <a16:creationId xmlns:a16="http://schemas.microsoft.com/office/drawing/2014/main" id="{547E9D5B-86B6-45C2-9AA6-4F9BE0C7134C}"/>
              </a:ext>
              <a:ext uri="{C183D7F6-B498-43B3-948B-1728B52AA6E4}">
                <adec:decorative xmlns:adec="http://schemas.microsoft.com/office/drawing/2017/decorative" val="1"/>
              </a:ext>
            </a:extLst>
          </p:cNvPr>
          <p:cNvSpPr>
            <a:spLocks noGrp="1"/>
          </p:cNvSpPr>
          <p:nvPr>
            <p:ph type="sldNum" sz="quarter" idx="4294967295"/>
          </p:nvPr>
        </p:nvSpPr>
        <p:spPr>
          <a:xfrm>
            <a:off x="9347200" y="6356350"/>
            <a:ext cx="2844800" cy="365125"/>
          </a:xfrm>
          <a:prstGeom prst="rect">
            <a:avLst/>
          </a:prstGeom>
        </p:spPr>
        <p:txBody>
          <a:bodyPr vert="horz" lIns="121920" tIns="60960" rIns="121920" bIns="60960" rtlCol="0" anchor="ctr"/>
          <a:lstStyle>
            <a:defPPr>
              <a:defRPr lang="en-US"/>
            </a:defPPr>
            <a:lvl1pPr algn="r" defTabSz="609585" rtl="0" eaLnBrk="1" fontAlgn="auto" hangingPunct="1">
              <a:spcBef>
                <a:spcPts val="0"/>
              </a:spcBef>
              <a:spcAft>
                <a:spcPts val="0"/>
              </a:spcAft>
              <a:defRPr sz="1401" kern="1200" smtClean="0">
                <a:solidFill>
                  <a:srgbClr val="3B1D85"/>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219170"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828754"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438339" algn="l" defTabSz="609585"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047924" algn="l" defTabSz="1219170" rtl="0" eaLnBrk="1" latinLnBrk="0" hangingPunct="1">
              <a:defRPr kern="1200">
                <a:solidFill>
                  <a:schemeClr val="tx1"/>
                </a:solidFill>
                <a:latin typeface="Calibri" panose="020F0502020204030204" pitchFamily="34" charset="0"/>
                <a:ea typeface="+mn-ea"/>
                <a:cs typeface="+mn-cs"/>
              </a:defRPr>
            </a:lvl6pPr>
            <a:lvl7pPr marL="3657509" algn="l" defTabSz="1219170" rtl="0" eaLnBrk="1" latinLnBrk="0" hangingPunct="1">
              <a:defRPr kern="1200">
                <a:solidFill>
                  <a:schemeClr val="tx1"/>
                </a:solidFill>
                <a:latin typeface="Calibri" panose="020F0502020204030204" pitchFamily="34" charset="0"/>
                <a:ea typeface="+mn-ea"/>
                <a:cs typeface="+mn-cs"/>
              </a:defRPr>
            </a:lvl7pPr>
            <a:lvl8pPr marL="4267093" algn="l" defTabSz="1219170" rtl="0" eaLnBrk="1" latinLnBrk="0" hangingPunct="1">
              <a:defRPr kern="1200">
                <a:solidFill>
                  <a:schemeClr val="tx1"/>
                </a:solidFill>
                <a:latin typeface="Calibri" panose="020F0502020204030204" pitchFamily="34" charset="0"/>
                <a:ea typeface="+mn-ea"/>
                <a:cs typeface="+mn-cs"/>
              </a:defRPr>
            </a:lvl8pPr>
            <a:lvl9pPr marL="4876678" algn="l" defTabSz="1219170" rtl="0" eaLnBrk="1" latinLnBrk="0" hangingPunct="1">
              <a:defRPr kern="1200">
                <a:solidFill>
                  <a:schemeClr val="tx1"/>
                </a:solidFill>
                <a:latin typeface="Calibri" panose="020F0502020204030204" pitchFamily="34" charset="0"/>
                <a:ea typeface="+mn-ea"/>
                <a:cs typeface="+mn-cs"/>
              </a:defRPr>
            </a:lvl9pPr>
          </a:lstStyle>
          <a:p>
            <a:pPr>
              <a:defRPr/>
            </a:pPr>
            <a:fld id="{60743FD7-529B-4A2D-8A4F-19CDDB4BCB9B}" type="slidenum">
              <a:rPr lang="en-US" dirty="0" smtClean="0"/>
              <a:pPr>
                <a:defRPr/>
              </a:pPr>
              <a:t>6</a:t>
            </a:fld>
            <a:endParaRPr lang="en-US"/>
          </a:p>
        </p:txBody>
      </p:sp>
      <p:pic>
        <p:nvPicPr>
          <p:cNvPr id="11" name="Picture Placeholder 10">
            <a:extLst>
              <a:ext uri="{FF2B5EF4-FFF2-40B4-BE49-F238E27FC236}">
                <a16:creationId xmlns:a16="http://schemas.microsoft.com/office/drawing/2014/main" id="{C5CA412B-F2AB-D9E9-0EE1-61D9BF9E02B5}"/>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3" cstate="email">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b="-233"/>
          <a:stretch/>
        </p:blipFill>
        <p:spPr>
          <a:xfrm>
            <a:off x="8647113" y="-16042"/>
            <a:ext cx="3863085" cy="6922168"/>
          </a:xfrm>
        </p:spPr>
      </p:pic>
      <p:sp>
        <p:nvSpPr>
          <p:cNvPr id="8" name="Text Placeholder 7">
            <a:extLst>
              <a:ext uri="{FF2B5EF4-FFF2-40B4-BE49-F238E27FC236}">
                <a16:creationId xmlns:a16="http://schemas.microsoft.com/office/drawing/2014/main" id="{9F4AF085-AA31-E952-48A0-C5208C95F98A}"/>
              </a:ext>
              <a:ext uri="{C183D7F6-B498-43B3-948B-1728B52AA6E4}">
                <adec:decorative xmlns:adec="http://schemas.microsoft.com/office/drawing/2017/decorative" val="0"/>
              </a:ext>
            </a:extLst>
          </p:cNvPr>
          <p:cNvSpPr>
            <a:spLocks noGrp="1"/>
          </p:cNvSpPr>
          <p:nvPr>
            <p:ph type="body" sz="quarter" idx="14"/>
          </p:nvPr>
        </p:nvSpPr>
        <p:spPr>
          <a:xfrm>
            <a:off x="770439" y="1624272"/>
            <a:ext cx="6400883" cy="1820770"/>
          </a:xfrm>
        </p:spPr>
        <p:txBody>
          <a:bodyPr/>
          <a:lstStyle/>
          <a:p>
            <a:pPr marL="0" indent="0">
              <a:buClr>
                <a:srgbClr val="E35B2A"/>
              </a:buClr>
              <a:buNone/>
            </a:pPr>
            <a:r>
              <a:rPr lang="en-US" sz="1800" b="1"/>
              <a:t>Volunteer program for those who want to participate in a procurement evaluation panel. </a:t>
            </a:r>
          </a:p>
          <a:p>
            <a:pPr marL="0" indent="0">
              <a:buClr>
                <a:srgbClr val="E35B2A"/>
              </a:buClr>
              <a:buNone/>
            </a:pPr>
            <a:endParaRPr lang="en-US" sz="1800"/>
          </a:p>
          <a:p>
            <a:pPr>
              <a:buClr>
                <a:srgbClr val="E35B2A"/>
              </a:buClr>
            </a:pPr>
            <a:r>
              <a:rPr lang="en-US" sz="1800"/>
              <a:t>Great experience for potential primes</a:t>
            </a:r>
          </a:p>
          <a:p>
            <a:pPr>
              <a:buClr>
                <a:srgbClr val="E35B2A"/>
              </a:buClr>
            </a:pPr>
            <a:r>
              <a:rPr lang="en-US" sz="1800"/>
              <a:t>Attain an understanding of the evaluation process </a:t>
            </a:r>
          </a:p>
          <a:p>
            <a:pPr>
              <a:buClr>
                <a:srgbClr val="E35B2A"/>
              </a:buClr>
            </a:pPr>
            <a:r>
              <a:rPr lang="en-US" sz="1800"/>
              <a:t>Become familiar with DEN’s values </a:t>
            </a:r>
          </a:p>
          <a:p>
            <a:pPr>
              <a:buClr>
                <a:srgbClr val="E35B2A"/>
              </a:buClr>
            </a:pPr>
            <a:r>
              <a:rPr lang="en-US" sz="1800"/>
              <a:t>Gain experience with DEN’s interview format</a:t>
            </a:r>
          </a:p>
        </p:txBody>
      </p:sp>
      <p:sp>
        <p:nvSpPr>
          <p:cNvPr id="10" name="TextBox 9">
            <a:extLst>
              <a:ext uri="{FF2B5EF4-FFF2-40B4-BE49-F238E27FC236}">
                <a16:creationId xmlns:a16="http://schemas.microsoft.com/office/drawing/2014/main" id="{318F9294-102E-4AF6-4190-4ECFA2D9BC2B}"/>
              </a:ext>
            </a:extLst>
          </p:cNvPr>
          <p:cNvSpPr txBox="1"/>
          <p:nvPr/>
        </p:nvSpPr>
        <p:spPr>
          <a:xfrm>
            <a:off x="540970" y="4684934"/>
            <a:ext cx="2509183" cy="369332"/>
          </a:xfrm>
          <a:prstGeom prst="rect">
            <a:avLst/>
          </a:prstGeom>
          <a:noFill/>
        </p:spPr>
        <p:txBody>
          <a:bodyPr wrap="square">
            <a:spAutoFit/>
          </a:bodyPr>
          <a:lstStyle/>
          <a:p>
            <a:pPr>
              <a:buNone/>
            </a:pPr>
            <a:r>
              <a:rPr lang="en-US" b="1"/>
              <a:t>Scan to Sign Up Today!</a:t>
            </a:r>
            <a:endParaRPr lang="en-US"/>
          </a:p>
        </p:txBody>
      </p:sp>
      <p:pic>
        <p:nvPicPr>
          <p:cNvPr id="12" name="Picture 11" descr="Sign up to be a Community Panelist via https://www.flydenver.com/business-and-community/community-panelist-program/">
            <a:extLst>
              <a:ext uri="{FF2B5EF4-FFF2-40B4-BE49-F238E27FC236}">
                <a16:creationId xmlns:a16="http://schemas.microsoft.com/office/drawing/2014/main" id="{FB8F6921-F9F6-2F5A-9B44-46AF9E5282E5}"/>
              </a:ext>
              <a:ext uri="{C183D7F6-B498-43B3-948B-1728B52AA6E4}">
                <adec:decorative xmlns:adec="http://schemas.microsoft.com/office/drawing/2017/decorative" val="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2033" y="5150806"/>
            <a:ext cx="865517" cy="877824"/>
          </a:xfrm>
          <a:prstGeom prst="rect">
            <a:avLst/>
          </a:prstGeom>
        </p:spPr>
      </p:pic>
      <p:sp>
        <p:nvSpPr>
          <p:cNvPr id="14" name="TextBox 13">
            <a:extLst>
              <a:ext uri="{FF2B5EF4-FFF2-40B4-BE49-F238E27FC236}">
                <a16:creationId xmlns:a16="http://schemas.microsoft.com/office/drawing/2014/main" id="{2556FEF5-CF0C-4C18-4466-63235E343015}"/>
              </a:ext>
            </a:extLst>
          </p:cNvPr>
          <p:cNvSpPr txBox="1"/>
          <p:nvPr/>
        </p:nvSpPr>
        <p:spPr>
          <a:xfrm>
            <a:off x="7138737" y="4707777"/>
            <a:ext cx="3562359" cy="369332"/>
          </a:xfrm>
          <a:prstGeom prst="rect">
            <a:avLst/>
          </a:prstGeom>
          <a:noFill/>
        </p:spPr>
        <p:txBody>
          <a:bodyPr wrap="square">
            <a:spAutoFit/>
          </a:bodyPr>
          <a:lstStyle/>
          <a:p>
            <a:r>
              <a:rPr lang="en-US" b="1"/>
              <a:t>We Want Your Story!</a:t>
            </a:r>
            <a:endParaRPr lang="en-US"/>
          </a:p>
        </p:txBody>
      </p:sp>
      <p:pic>
        <p:nvPicPr>
          <p:cNvPr id="19" name="Picture 18" descr="If you have participated in the ">
            <a:extLst>
              <a:ext uri="{FF2B5EF4-FFF2-40B4-BE49-F238E27FC236}">
                <a16:creationId xmlns:a16="http://schemas.microsoft.com/office/drawing/2014/main" id="{07F94893-36B9-B67A-5BD6-1943E422942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35459" y="5134161"/>
            <a:ext cx="877887" cy="877887"/>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91B048-5155-58DD-FF00-71D3F30A9873}"/>
              </a:ext>
            </a:extLst>
          </p:cNvPr>
          <p:cNvSpPr>
            <a:spLocks noGrp="1"/>
          </p:cNvSpPr>
          <p:nvPr>
            <p:ph type="title" idx="4294967295"/>
          </p:nvPr>
        </p:nvSpPr>
        <p:spPr>
          <a:xfrm>
            <a:off x="966787" y="1536700"/>
            <a:ext cx="10515600" cy="1325563"/>
          </a:xfrm>
        </p:spPr>
        <p:txBody>
          <a:bodyPr/>
          <a:lstStyle/>
          <a:p>
            <a:r>
              <a:rPr lang="en-US">
                <a:solidFill>
                  <a:schemeClr val="bg1"/>
                </a:solidFill>
              </a:rPr>
              <a:t>Partnering with </a:t>
            </a:r>
            <a:r>
              <a:rPr lang="en-US" err="1">
                <a:solidFill>
                  <a:schemeClr val="bg1"/>
                </a:solidFill>
              </a:rPr>
              <a:t>AtkinsRealis</a:t>
            </a:r>
            <a:endParaRPr lang="en-US">
              <a:solidFill>
                <a:schemeClr val="bg1"/>
              </a:solidFill>
            </a:endParaRPr>
          </a:p>
        </p:txBody>
      </p:sp>
      <p:pic>
        <p:nvPicPr>
          <p:cNvPr id="3" name="Picture 2" descr="A dark blue slide titled “Partnering With AtkinsRéalis.” On the left, under “WHAT WE LOOK FOR,” there is a bulleted list: Accountability, Transparency, Communication, Complementary skill sets, Unique perspectives, and Relationships that help us win. On the right, under “WHAT WE OFFER,” there are three items with icons: Mentorship, Business Development Support, and Operational Support. The text for offerings is in bright green, and each has a corresponding white icon inside a green-outlined square">
            <a:extLst>
              <a:ext uri="{FF2B5EF4-FFF2-40B4-BE49-F238E27FC236}">
                <a16:creationId xmlns:a16="http://schemas.microsoft.com/office/drawing/2014/main" id="{859BD2F8-3904-7FA1-4FED-1148BDE61311}"/>
              </a:ext>
            </a:extLst>
          </p:cNvPr>
          <p:cNvPicPr>
            <a:picLocks noChangeAspect="1"/>
          </p:cNvPicPr>
          <p:nvPr/>
        </p:nvPicPr>
        <p:blipFill>
          <a:blip r:embed="rId3"/>
          <a:stretch>
            <a:fillRect/>
          </a:stretch>
        </p:blipFill>
        <p:spPr>
          <a:xfrm>
            <a:off x="0" y="1"/>
            <a:ext cx="12224111" cy="6840030"/>
          </a:xfrm>
          <a:prstGeom prst="rect">
            <a:avLst/>
          </a:prstGeom>
        </p:spPr>
      </p:pic>
    </p:spTree>
    <p:extLst>
      <p:ext uri="{BB962C8B-B14F-4D97-AF65-F5344CB8AC3E}">
        <p14:creationId xmlns:p14="http://schemas.microsoft.com/office/powerpoint/2010/main" val="25543754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resentation slide titled “Success Story: Civil Technology, Inc.” The left side features a green triangle divided into three sections labeled “Diversified Growth,” “Continued Partnership,” and “Mentor-Protégé Program,” with “IPMSS Contract” at the bottom. On the right side, there is a photo of three individuals standing in front of a screen displaying the text “2024 Citywide Mentor-Protégé Kickoff Event, Thursday, August 22, 2024.” The background shows a city skyline image.">
            <a:extLst>
              <a:ext uri="{FF2B5EF4-FFF2-40B4-BE49-F238E27FC236}">
                <a16:creationId xmlns:a16="http://schemas.microsoft.com/office/drawing/2014/main" id="{4904FCC8-DF6E-9607-1F55-1E0558BCC2A8}"/>
              </a:ext>
            </a:extLst>
          </p:cNvPr>
          <p:cNvPicPr>
            <a:picLocks noChangeAspect="1"/>
          </p:cNvPicPr>
          <p:nvPr/>
        </p:nvPicPr>
        <p:blipFill>
          <a:blip r:embed="rId2"/>
          <a:stretch>
            <a:fillRect/>
          </a:stretch>
        </p:blipFill>
        <p:spPr>
          <a:xfrm>
            <a:off x="0" y="-71437"/>
            <a:ext cx="12475078" cy="7000874"/>
          </a:xfrm>
          <a:prstGeom prst="rect">
            <a:avLst/>
          </a:prstGeom>
        </p:spPr>
      </p:pic>
      <p:sp>
        <p:nvSpPr>
          <p:cNvPr id="4" name="Title 3">
            <a:extLst>
              <a:ext uri="{FF2B5EF4-FFF2-40B4-BE49-F238E27FC236}">
                <a16:creationId xmlns:a16="http://schemas.microsoft.com/office/drawing/2014/main" id="{C03EF5C7-DCE4-4E74-FD6B-61952B515D91}"/>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a:t>Success Story</a:t>
            </a:r>
          </a:p>
        </p:txBody>
      </p:sp>
    </p:spTree>
    <p:extLst>
      <p:ext uri="{BB962C8B-B14F-4D97-AF65-F5344CB8AC3E}">
        <p14:creationId xmlns:p14="http://schemas.microsoft.com/office/powerpoint/2010/main" val="1248666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94A23F-DAF3-6575-80BB-5778227D9320}"/>
              </a:ext>
            </a:extLst>
          </p:cNvPr>
          <p:cNvSpPr>
            <a:spLocks noGrp="1"/>
          </p:cNvSpPr>
          <p:nvPr>
            <p:ph type="title" idx="4294967295"/>
          </p:nvPr>
        </p:nvSpPr>
        <p:spPr/>
        <p:txBody>
          <a:bodyPr/>
          <a:lstStyle/>
          <a:p>
            <a:r>
              <a:rPr lang="en-US"/>
              <a:t>Current &amp; Upcoming Opportunities</a:t>
            </a:r>
          </a:p>
        </p:txBody>
      </p:sp>
      <p:pic>
        <p:nvPicPr>
          <p:cNvPr id="3" name="Picture 2" descr="A dark blue presentation slide titled “AtkinsRéalis at DEN” in large white text. Below, in bright green text, it says “CURRENT &amp; UPCOMING CONTRACTING OPPORTUNITIES.” Two columns of bullet points list services:&#10;Left column: Project Management, Controls, Contract Administration, Architecture, Civil Engineering, NEPA Support.&#10;Right column: Utility Engineering, Permit Coordination, ORAT Support, Master Planning.&#10;At the bottom right, there is a white silhouette of an airplane with a blue spotlight beam pointing toward it. The AtkinsRéalis logo appears in the bottom left corner.">
            <a:extLst>
              <a:ext uri="{FF2B5EF4-FFF2-40B4-BE49-F238E27FC236}">
                <a16:creationId xmlns:a16="http://schemas.microsoft.com/office/drawing/2014/main" id="{D5E62800-E9FB-BF6B-D0F3-D2824E5C7503}"/>
              </a:ext>
            </a:extLst>
          </p:cNvPr>
          <p:cNvPicPr>
            <a:picLocks noChangeAspect="1"/>
          </p:cNvPicPr>
          <p:nvPr/>
        </p:nvPicPr>
        <p:blipFill>
          <a:blip r:embed="rId2"/>
          <a:stretch>
            <a:fillRect/>
          </a:stretch>
        </p:blipFill>
        <p:spPr>
          <a:xfrm>
            <a:off x="-400457" y="0"/>
            <a:ext cx="12992916" cy="6858000"/>
          </a:xfrm>
          <a:prstGeom prst="rect">
            <a:avLst/>
          </a:prstGeom>
        </p:spPr>
      </p:pic>
    </p:spTree>
    <p:extLst>
      <p:ext uri="{BB962C8B-B14F-4D97-AF65-F5344CB8AC3E}">
        <p14:creationId xmlns:p14="http://schemas.microsoft.com/office/powerpoint/2010/main" val="2951669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F30F1D-8C8C-E836-2CDC-89EA06EFD76D}"/>
              </a:ext>
            </a:extLst>
          </p:cNvPr>
          <p:cNvSpPr>
            <a:spLocks noGrp="1"/>
          </p:cNvSpPr>
          <p:nvPr>
            <p:ph type="title" idx="4294967295"/>
          </p:nvPr>
        </p:nvSpPr>
        <p:spPr/>
        <p:txBody>
          <a:bodyPr/>
          <a:lstStyle/>
          <a:p>
            <a:r>
              <a:rPr lang="en-US"/>
              <a:t>Contact </a:t>
            </a:r>
            <a:r>
              <a:rPr lang="en-US" err="1"/>
              <a:t>AtkinsRealis</a:t>
            </a:r>
            <a:endParaRPr lang="en-US"/>
          </a:p>
        </p:txBody>
      </p:sp>
      <p:pic>
        <p:nvPicPr>
          <p:cNvPr id="3" name="Picture 2" descr="image.png&#10;You said:&#10;alt text&#10;Copilot said:&#10;Copilot&#10;Here’s an appropriate alt text for the image:&#10;&#10;Alt Text:&#10;A presentation slide titled “Contact AtkinsRéalis” featuring four rectangular headshot placeholders with colorful backgrounds. Each headshot is accompanied by a name, job title, and in one case, an email address. The names and titles are:&#10;&#10;Matt Cirulli, DEN Client Account Manager&#10;Todd Gnospelius, Aviation Market Lead&#10;Tom Cotton, DEN Client Account Deputy Manager&#10;Kate Dill, MWBE Outreach Coordinator (email: Kate.Dill@atkinsrealis.com)&#10;At the bottom, there is a message in white text: “Please join us in our Breakout Room!” The AtkinsRéalis logo appears in the lower-left corner on a dark background.">
            <a:extLst>
              <a:ext uri="{FF2B5EF4-FFF2-40B4-BE49-F238E27FC236}">
                <a16:creationId xmlns:a16="http://schemas.microsoft.com/office/drawing/2014/main" id="{C6AB6B0B-85AC-ADEA-A7B1-A499212BF531}"/>
              </a:ext>
            </a:extLst>
          </p:cNvPr>
          <p:cNvPicPr>
            <a:picLocks noChangeAspect="1"/>
          </p:cNvPicPr>
          <p:nvPr/>
        </p:nvPicPr>
        <p:blipFill>
          <a:blip r:embed="rId2"/>
          <a:stretch>
            <a:fillRect/>
          </a:stretch>
        </p:blipFill>
        <p:spPr>
          <a:xfrm>
            <a:off x="-40671" y="0"/>
            <a:ext cx="12273342" cy="6857999"/>
          </a:xfrm>
          <a:prstGeom prst="rect">
            <a:avLst/>
          </a:prstGeom>
        </p:spPr>
      </p:pic>
    </p:spTree>
    <p:extLst>
      <p:ext uri="{BB962C8B-B14F-4D97-AF65-F5344CB8AC3E}">
        <p14:creationId xmlns:p14="http://schemas.microsoft.com/office/powerpoint/2010/main" val="20404460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76">
            <a:extLst>
              <a:ext uri="{FF2B5EF4-FFF2-40B4-BE49-F238E27FC236}">
                <a16:creationId xmlns:a16="http://schemas.microsoft.com/office/drawing/2014/main" id="{FE2C3FA6-3C5B-DA1D-820F-9451D659A78A}"/>
              </a:ext>
            </a:extLst>
          </p:cNvPr>
          <p:cNvSpPr>
            <a:spLocks noGrp="1"/>
          </p:cNvSpPr>
          <p:nvPr>
            <p:ph type="ctrTitle"/>
          </p:nvPr>
        </p:nvSpPr>
        <p:spPr>
          <a:xfrm>
            <a:off x="0" y="-419358"/>
            <a:ext cx="12192000" cy="251325"/>
          </a:xfrm>
        </p:spPr>
        <p:txBody>
          <a:bodyPr anchor="t">
            <a:normAutofit fontScale="90000"/>
          </a:bodyPr>
          <a:lstStyle/>
          <a:p>
            <a:pPr algn="l"/>
            <a:r>
              <a:rPr lang="en-US" sz="1600"/>
              <a:t>Garver Introduction and Cover Slide</a:t>
            </a:r>
          </a:p>
        </p:txBody>
      </p:sp>
      <p:pic>
        <p:nvPicPr>
          <p:cNvPr id="11" name="Picture 10" descr="Garver 66 years of aviation logo">
            <a:extLst>
              <a:ext uri="{FF2B5EF4-FFF2-40B4-BE49-F238E27FC236}">
                <a16:creationId xmlns:a16="http://schemas.microsoft.com/office/drawing/2014/main" id="{60ADE5C1-061B-9B82-50A4-C1E38C5B1F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7297" y="623758"/>
            <a:ext cx="1569860" cy="800425"/>
          </a:xfrm>
          <a:prstGeom prst="rect">
            <a:avLst/>
          </a:prstGeom>
        </p:spPr>
      </p:pic>
      <p:pic>
        <p:nvPicPr>
          <p:cNvPr id="16" name="Picture 15" descr="Garver Logo">
            <a:extLst>
              <a:ext uri="{FF2B5EF4-FFF2-40B4-BE49-F238E27FC236}">
                <a16:creationId xmlns:a16="http://schemas.microsoft.com/office/drawing/2014/main" id="{1BAB1897-7D35-5CD6-4CD1-6B4C6C7693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7297" y="3084576"/>
            <a:ext cx="3846584" cy="688849"/>
          </a:xfrm>
          <a:prstGeom prst="rect">
            <a:avLst/>
          </a:prstGeom>
        </p:spPr>
      </p:pic>
      <p:sp>
        <p:nvSpPr>
          <p:cNvPr id="19" name="TextBox 18" descr="DEN&#10;Meet the Primes">
            <a:extLst>
              <a:ext uri="{FF2B5EF4-FFF2-40B4-BE49-F238E27FC236}">
                <a16:creationId xmlns:a16="http://schemas.microsoft.com/office/drawing/2014/main" id="{535D9C92-06DD-5775-360C-5168F6974BC0}"/>
              </a:ext>
            </a:extLst>
          </p:cNvPr>
          <p:cNvSpPr txBox="1"/>
          <p:nvPr/>
        </p:nvSpPr>
        <p:spPr>
          <a:xfrm>
            <a:off x="415304" y="4253335"/>
            <a:ext cx="4827114" cy="147732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ts val="2700"/>
              </a:lnSpc>
              <a:spcBef>
                <a:spcPts val="0"/>
              </a:spcBef>
              <a:spcAft>
                <a:spcPts val="0"/>
              </a:spcAft>
              <a:buClrTx/>
              <a:buSzTx/>
              <a:buFontTx/>
              <a:buNone/>
              <a:tabLst/>
              <a:defRPr/>
            </a:pPr>
            <a:r>
              <a:rPr kumimoji="0" lang="en-US" sz="2800" b="0" i="0" u="none" strike="noStrike" kern="1200" cap="none" spc="0" normalizeH="0" baseline="0" noProof="0">
                <a:ln>
                  <a:noFill/>
                </a:ln>
                <a:solidFill>
                  <a:srgbClr val="E8E8E8">
                    <a:lumMod val="25000"/>
                  </a:srgbClr>
                </a:solidFill>
                <a:effectLst/>
                <a:uLnTx/>
                <a:uFillTx/>
                <a:latin typeface="Roboto Black"/>
                <a:ea typeface="Roboto Black"/>
                <a:cs typeface="Roboto Black"/>
              </a:rPr>
              <a:t>Denver International Airport (DEN)</a:t>
            </a:r>
            <a:endParaRPr kumimoji="0" lang="en-US" sz="1800" b="0" i="0" u="none" strike="noStrike" kern="1200" cap="none" spc="0" normalizeH="0" baseline="0" noProof="0">
              <a:ln>
                <a:noFill/>
              </a:ln>
              <a:solidFill>
                <a:srgbClr val="E8E8E8">
                  <a:lumMod val="25000"/>
                </a:srgbClr>
              </a:solidFill>
              <a:effectLst/>
              <a:uLnTx/>
              <a:uFillTx/>
              <a:latin typeface="Aptos" panose="02110004020202020204"/>
              <a:ea typeface="+mn-ea"/>
              <a:cs typeface="+mn-cs"/>
            </a:endParaRPr>
          </a:p>
          <a:p>
            <a:pPr marL="0" marR="0" lvl="0" indent="0" algn="l" defTabSz="914400" rtl="0" eaLnBrk="1" fontAlgn="auto" latinLnBrk="0" hangingPunct="1">
              <a:lnSpc>
                <a:spcPts val="2700"/>
              </a:lnSpc>
              <a:spcBef>
                <a:spcPts val="0"/>
              </a:spcBef>
              <a:spcAft>
                <a:spcPts val="0"/>
              </a:spcAft>
              <a:buClrTx/>
              <a:buSzTx/>
              <a:buFontTx/>
              <a:buNone/>
              <a:tabLst/>
              <a:defRPr/>
            </a:pPr>
            <a:br>
              <a:rPr kumimoji="0" lang="en-US" sz="2800" b="0" i="0" u="none" strike="noStrike" kern="1200" cap="none" spc="0" normalizeH="0" baseline="0" noProof="0">
                <a:ln>
                  <a:noFill/>
                </a:ln>
                <a:solidFill>
                  <a:prstClr val="black"/>
                </a:solidFill>
                <a:effectLst/>
                <a:uLnTx/>
                <a:uFillTx/>
                <a:latin typeface="Roboto Black" panose="02000000000000000000" pitchFamily="2" charset="0"/>
                <a:ea typeface="Roboto Black" panose="02000000000000000000" pitchFamily="2" charset="0"/>
                <a:cs typeface="+mn-cs"/>
              </a:rPr>
            </a:br>
            <a:r>
              <a:rPr kumimoji="0" lang="en-US" sz="2400" b="0" i="0" u="none" strike="noStrike" kern="1200" cap="none" spc="0" normalizeH="0" baseline="0" noProof="0">
                <a:ln>
                  <a:noFill/>
                </a:ln>
                <a:solidFill>
                  <a:srgbClr val="E8E8E8">
                    <a:lumMod val="25000"/>
                  </a:srgbClr>
                </a:solidFill>
                <a:effectLst/>
                <a:uLnTx/>
                <a:uFillTx/>
                <a:latin typeface="Open Sans Light"/>
                <a:ea typeface="Open Sans Light"/>
                <a:cs typeface="Open Sans Light"/>
              </a:rPr>
              <a:t>Meet the Primes</a:t>
            </a:r>
            <a:endParaRPr kumimoji="0" lang="en-US" sz="1800" b="0" i="0" u="none" strike="noStrike" kern="1200" cap="none" spc="0" normalizeH="0" baseline="0" noProof="0">
              <a:ln>
                <a:noFill/>
              </a:ln>
              <a:solidFill>
                <a:srgbClr val="E8E8E8">
                  <a:lumMod val="25000"/>
                </a:srgbClr>
              </a:solidFill>
              <a:effectLst/>
              <a:uLnTx/>
              <a:uFillTx/>
              <a:latin typeface="Aptos" panose="02110004020202020204"/>
              <a:ea typeface="+mn-ea"/>
              <a:cs typeface="+mn-cs"/>
            </a:endParaRPr>
          </a:p>
        </p:txBody>
      </p:sp>
      <p:grpSp>
        <p:nvGrpSpPr>
          <p:cNvPr id="20" name="Group 19" descr="A picture of Denver International Airport">
            <a:extLst>
              <a:ext uri="{FF2B5EF4-FFF2-40B4-BE49-F238E27FC236}">
                <a16:creationId xmlns:a16="http://schemas.microsoft.com/office/drawing/2014/main" id="{3EF27AE6-75FA-A835-CF54-75B8B407CDD2}"/>
              </a:ext>
            </a:extLst>
          </p:cNvPr>
          <p:cNvGrpSpPr/>
          <p:nvPr/>
        </p:nvGrpSpPr>
        <p:grpSpPr>
          <a:xfrm>
            <a:off x="5120072" y="311877"/>
            <a:ext cx="7071927" cy="6234242"/>
            <a:chOff x="5120072" y="311877"/>
            <a:chExt cx="7071927" cy="6234242"/>
          </a:xfrm>
        </p:grpSpPr>
        <p:pic>
          <p:nvPicPr>
            <p:cNvPr id="12" name="Picture 11" descr="A large airport with a tower and airplanes">
              <a:extLst>
                <a:ext uri="{FF2B5EF4-FFF2-40B4-BE49-F238E27FC236}">
                  <a16:creationId xmlns:a16="http://schemas.microsoft.com/office/drawing/2014/main" id="{89F5CDE5-69EA-693C-9B9E-050363C05DB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a:fillRect/>
            </a:stretch>
          </p:blipFill>
          <p:spPr>
            <a:xfrm>
              <a:off x="5237161" y="311877"/>
              <a:ext cx="6954838" cy="6234242"/>
            </a:xfrm>
            <a:prstGeom prst="rect">
              <a:avLst/>
            </a:prstGeom>
          </p:spPr>
        </p:pic>
        <p:sp>
          <p:nvSpPr>
            <p:cNvPr id="9" name="Rectangle 8">
              <a:extLst>
                <a:ext uri="{FF2B5EF4-FFF2-40B4-BE49-F238E27FC236}">
                  <a16:creationId xmlns:a16="http://schemas.microsoft.com/office/drawing/2014/main" id="{2F6A8116-60DF-BF28-1D13-B69D745A0D05}"/>
                </a:ext>
              </a:extLst>
            </p:cNvPr>
            <p:cNvSpPr/>
            <p:nvPr/>
          </p:nvSpPr>
          <p:spPr>
            <a:xfrm>
              <a:off x="5120072" y="311877"/>
              <a:ext cx="232514" cy="62342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26081586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838E9-AB8D-04C9-AF43-E31C2DB48739}"/>
            </a:ext>
          </a:extLst>
        </p:cNvPr>
        <p:cNvGrpSpPr/>
        <p:nvPr/>
      </p:nvGrpSpPr>
      <p:grpSpPr>
        <a:xfrm>
          <a:off x="0" y="0"/>
          <a:ext cx="0" cy="0"/>
          <a:chOff x="0" y="0"/>
          <a:chExt cx="0" cy="0"/>
        </a:xfrm>
      </p:grpSpPr>
      <p:sp>
        <p:nvSpPr>
          <p:cNvPr id="45" name="Title 76">
            <a:extLst>
              <a:ext uri="{FF2B5EF4-FFF2-40B4-BE49-F238E27FC236}">
                <a16:creationId xmlns:a16="http://schemas.microsoft.com/office/drawing/2014/main" id="{F7EB1A39-7B61-D509-521D-923255EE0E04}"/>
              </a:ext>
            </a:extLst>
          </p:cNvPr>
          <p:cNvSpPr>
            <a:spLocks noGrp="1"/>
          </p:cNvSpPr>
          <p:nvPr>
            <p:ph type="ctrTitle"/>
          </p:nvPr>
        </p:nvSpPr>
        <p:spPr>
          <a:xfrm>
            <a:off x="0" y="-419358"/>
            <a:ext cx="12192000" cy="251325"/>
          </a:xfrm>
        </p:spPr>
        <p:txBody>
          <a:bodyPr anchor="t">
            <a:normAutofit fontScale="90000"/>
          </a:bodyPr>
          <a:lstStyle/>
          <a:p>
            <a:pPr algn="l"/>
            <a:r>
              <a:rPr lang="en-US" sz="1600"/>
              <a:t>Meet the Team – Colin Bible, Justin Cooper &amp; Jessica Hoffman</a:t>
            </a:r>
          </a:p>
        </p:txBody>
      </p:sp>
      <p:sp>
        <p:nvSpPr>
          <p:cNvPr id="6" name="Rectangle 5">
            <a:extLst>
              <a:ext uri="{FF2B5EF4-FFF2-40B4-BE49-F238E27FC236}">
                <a16:creationId xmlns:a16="http://schemas.microsoft.com/office/drawing/2014/main" id="{313CEE39-7541-5D39-FC64-E59A9F3A5042}"/>
              </a:ext>
              <a:ext uri="{C183D7F6-B498-43B3-948B-1728B52AA6E4}">
                <adec:decorative xmlns:adec="http://schemas.microsoft.com/office/drawing/2017/decorative" val="1"/>
              </a:ext>
            </a:extLst>
          </p:cNvPr>
          <p:cNvSpPr/>
          <p:nvPr/>
        </p:nvSpPr>
        <p:spPr>
          <a:xfrm>
            <a:off x="-1" y="0"/>
            <a:ext cx="7953153" cy="13986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descr="Meet the Team">
            <a:extLst>
              <a:ext uri="{FF2B5EF4-FFF2-40B4-BE49-F238E27FC236}">
                <a16:creationId xmlns:a16="http://schemas.microsoft.com/office/drawing/2014/main" id="{A8799DC1-ECC7-4789-0813-E367443599EF}"/>
              </a:ext>
            </a:extLst>
          </p:cNvPr>
          <p:cNvSpPr txBox="1"/>
          <p:nvPr/>
        </p:nvSpPr>
        <p:spPr>
          <a:xfrm>
            <a:off x="513248" y="607642"/>
            <a:ext cx="687638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Meet the Team</a:t>
            </a:r>
          </a:p>
        </p:txBody>
      </p:sp>
      <p:pic>
        <p:nvPicPr>
          <p:cNvPr id="21" name="Picture 20" descr="A picture of Colin Bible">
            <a:extLst>
              <a:ext uri="{FF2B5EF4-FFF2-40B4-BE49-F238E27FC236}">
                <a16:creationId xmlns:a16="http://schemas.microsoft.com/office/drawing/2014/main" id="{EA1C15F3-F861-D0BF-A9FC-6AF31CBB5E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6535" y="1923170"/>
            <a:ext cx="2066245" cy="2524804"/>
          </a:xfrm>
          <a:prstGeom prst="rect">
            <a:avLst/>
          </a:prstGeom>
        </p:spPr>
      </p:pic>
      <p:sp>
        <p:nvSpPr>
          <p:cNvPr id="22" name="TextBox 21" descr="Colin Bible, PE&#10;Aviation Region Leader&#10;CMBible@GarverUSA.com&#10;720-744-4757">
            <a:extLst>
              <a:ext uri="{FF2B5EF4-FFF2-40B4-BE49-F238E27FC236}">
                <a16:creationId xmlns:a16="http://schemas.microsoft.com/office/drawing/2014/main" id="{F91629A4-50CE-E8F6-F009-257BE4078DDB}"/>
              </a:ext>
            </a:extLst>
          </p:cNvPr>
          <p:cNvSpPr txBox="1"/>
          <p:nvPr/>
        </p:nvSpPr>
        <p:spPr>
          <a:xfrm>
            <a:off x="1265346" y="4469516"/>
            <a:ext cx="3208838"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lin Bible, PE</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Aviation Region Leader</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MBible@GarverUSA.com</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720-744-4757</a:t>
            </a:r>
          </a:p>
        </p:txBody>
      </p:sp>
      <p:pic>
        <p:nvPicPr>
          <p:cNvPr id="19" name="Picture 18" descr="A picture of Justin Cooper">
            <a:extLst>
              <a:ext uri="{FF2B5EF4-FFF2-40B4-BE49-F238E27FC236}">
                <a16:creationId xmlns:a16="http://schemas.microsoft.com/office/drawing/2014/main" id="{C9A24D23-8DA0-FD9A-2875-E170A17359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62824" y="1933803"/>
            <a:ext cx="2066245" cy="2524804"/>
          </a:xfrm>
          <a:prstGeom prst="rect">
            <a:avLst/>
          </a:prstGeom>
        </p:spPr>
      </p:pic>
      <p:sp>
        <p:nvSpPr>
          <p:cNvPr id="23" name="TextBox 22" descr="Justin Cooper, PE&#10;Aviation Leader&#10;JMCooper@GarverUSA.com&#10;720-744-4747">
            <a:extLst>
              <a:ext uri="{FF2B5EF4-FFF2-40B4-BE49-F238E27FC236}">
                <a16:creationId xmlns:a16="http://schemas.microsoft.com/office/drawing/2014/main" id="{EEC8AF9A-99D4-A698-F8E8-F54B4C031C1B}"/>
              </a:ext>
            </a:extLst>
          </p:cNvPr>
          <p:cNvSpPr txBox="1"/>
          <p:nvPr/>
        </p:nvSpPr>
        <p:spPr>
          <a:xfrm>
            <a:off x="4491581" y="4469516"/>
            <a:ext cx="3208838"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Justin Cooper, PE</a:t>
            </a:r>
            <a:br>
              <a:rPr kumimoji="0" lang="en-US" sz="1600" b="1"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Aviation Leader</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JMCooper@GarverUSA.com</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720-744-4747</a:t>
            </a:r>
          </a:p>
        </p:txBody>
      </p:sp>
      <p:pic>
        <p:nvPicPr>
          <p:cNvPr id="4" name="Picture 3" descr="A picture of Jessica Hoffman">
            <a:extLst>
              <a:ext uri="{FF2B5EF4-FFF2-40B4-BE49-F238E27FC236}">
                <a16:creationId xmlns:a16="http://schemas.microsoft.com/office/drawing/2014/main" id="{6CE51D5B-BEFA-4F05-E2D1-8512B7843A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89113" y="1933802"/>
            <a:ext cx="2066246" cy="2524805"/>
          </a:xfrm>
          <a:prstGeom prst="rect">
            <a:avLst/>
          </a:prstGeom>
        </p:spPr>
      </p:pic>
      <p:sp>
        <p:nvSpPr>
          <p:cNvPr id="5" name="TextBox 4" descr="Jessica Hoffman, PE&#10;Senior Project Manager/Special Projects Leader&#10;JJHoffman@GarverUSA.com&#10;501-255-3581">
            <a:extLst>
              <a:ext uri="{FF2B5EF4-FFF2-40B4-BE49-F238E27FC236}">
                <a16:creationId xmlns:a16="http://schemas.microsoft.com/office/drawing/2014/main" id="{6260E10E-C711-6DF5-4B81-F288561A937D}"/>
              </a:ext>
            </a:extLst>
          </p:cNvPr>
          <p:cNvSpPr txBox="1"/>
          <p:nvPr/>
        </p:nvSpPr>
        <p:spPr>
          <a:xfrm>
            <a:off x="7717817" y="4469516"/>
            <a:ext cx="3208838"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Jessica Hoffman, PE</a:t>
            </a:r>
            <a:br>
              <a:rPr kumimoji="0" lang="en-US" sz="1600" b="1"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Senior Project Manager/Special Projects Leader</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JJHoffman@GarverUSA.com</a:t>
            </a:r>
            <a:b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501-255-3581</a:t>
            </a:r>
          </a:p>
        </p:txBody>
      </p:sp>
      <p:pic>
        <p:nvPicPr>
          <p:cNvPr id="38" name="Picture 37" descr="Garver Logo">
            <a:extLst>
              <a:ext uri="{FF2B5EF4-FFF2-40B4-BE49-F238E27FC236}">
                <a16:creationId xmlns:a16="http://schemas.microsoft.com/office/drawing/2014/main" id="{B0C53F31-6FE9-7DAC-E5E5-60258C6E4D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21096" y="5788258"/>
            <a:ext cx="657656" cy="657656"/>
          </a:xfrm>
          <a:prstGeom prst="rect">
            <a:avLst/>
          </a:prstGeom>
        </p:spPr>
      </p:pic>
    </p:spTree>
    <p:extLst>
      <p:ext uri="{BB962C8B-B14F-4D97-AF65-F5344CB8AC3E}">
        <p14:creationId xmlns:p14="http://schemas.microsoft.com/office/powerpoint/2010/main" val="3458349580"/>
      </p:ext>
    </p:extLst>
  </p:cSld>
  <p:clrMapOvr>
    <a:masterClrMapping/>
  </p:clrMapOvr>
  <p:extLst>
    <p:ext uri="{6950BFC3-D8DA-4A85-94F7-54DA5524770B}">
      <p188:commentRel xmlns:p188="http://schemas.microsoft.com/office/powerpoint/2018/8/main" r:id="rId2"/>
    </p:ext>
  </p:extLs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DCA96-1FD9-9170-9DF0-6E67F2CD6067}"/>
            </a:ext>
          </a:extLst>
        </p:cNvPr>
        <p:cNvGrpSpPr/>
        <p:nvPr/>
      </p:nvGrpSpPr>
      <p:grpSpPr>
        <a:xfrm>
          <a:off x="0" y="0"/>
          <a:ext cx="0" cy="0"/>
          <a:chOff x="0" y="0"/>
          <a:chExt cx="0" cy="0"/>
        </a:xfrm>
      </p:grpSpPr>
      <p:sp>
        <p:nvSpPr>
          <p:cNvPr id="97" name="Title 76">
            <a:extLst>
              <a:ext uri="{FF2B5EF4-FFF2-40B4-BE49-F238E27FC236}">
                <a16:creationId xmlns:a16="http://schemas.microsoft.com/office/drawing/2014/main" id="{7787AB77-6365-8D6B-1772-BA3C14E70636}"/>
              </a:ext>
            </a:extLst>
          </p:cNvPr>
          <p:cNvSpPr>
            <a:spLocks noGrp="1"/>
          </p:cNvSpPr>
          <p:nvPr>
            <p:ph type="ctrTitle"/>
          </p:nvPr>
        </p:nvSpPr>
        <p:spPr>
          <a:xfrm>
            <a:off x="0" y="-419358"/>
            <a:ext cx="12192000" cy="251325"/>
          </a:xfrm>
        </p:spPr>
        <p:txBody>
          <a:bodyPr anchor="t">
            <a:normAutofit fontScale="90000"/>
          </a:bodyPr>
          <a:lstStyle/>
          <a:p>
            <a:pPr algn="l"/>
            <a:r>
              <a:rPr lang="en-US" sz="1600"/>
              <a:t>General Garver Information: Stats and facts about Garver</a:t>
            </a:r>
          </a:p>
        </p:txBody>
      </p:sp>
      <p:sp>
        <p:nvSpPr>
          <p:cNvPr id="47" name="Rectangle 46">
            <a:extLst>
              <a:ext uri="{FF2B5EF4-FFF2-40B4-BE49-F238E27FC236}">
                <a16:creationId xmlns:a16="http://schemas.microsoft.com/office/drawing/2014/main" id="{6BCB3A8F-5D41-F30E-4309-A7974D63AEC2}"/>
              </a:ext>
              <a:ext uri="{C183D7F6-B498-43B3-948B-1728B52AA6E4}">
                <adec:decorative xmlns:adec="http://schemas.microsoft.com/office/drawing/2017/decorative" val="1"/>
              </a:ext>
            </a:extLst>
          </p:cNvPr>
          <p:cNvSpPr/>
          <p:nvPr/>
        </p:nvSpPr>
        <p:spPr>
          <a:xfrm>
            <a:off x="0" y="311877"/>
            <a:ext cx="4039438" cy="62342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descr="The Garver Footprint">
            <a:extLst>
              <a:ext uri="{FF2B5EF4-FFF2-40B4-BE49-F238E27FC236}">
                <a16:creationId xmlns:a16="http://schemas.microsoft.com/office/drawing/2014/main" id="{A6AF9BB8-3C2B-DA55-2063-2C2C54687A5C}"/>
              </a:ext>
            </a:extLst>
          </p:cNvPr>
          <p:cNvSpPr txBox="1"/>
          <p:nvPr/>
        </p:nvSpPr>
        <p:spPr>
          <a:xfrm>
            <a:off x="513248" y="607642"/>
            <a:ext cx="4393289"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The Garver Footprint</a:t>
            </a:r>
          </a:p>
        </p:txBody>
      </p:sp>
      <p:grpSp>
        <p:nvGrpSpPr>
          <p:cNvPr id="88" name="Group 87" descr="An infographics showing Garver stats.&#10;100+ Years of Services&#10;22 States&#10;62 Offices&#10;1,400+ Employees">
            <a:extLst>
              <a:ext uri="{FF2B5EF4-FFF2-40B4-BE49-F238E27FC236}">
                <a16:creationId xmlns:a16="http://schemas.microsoft.com/office/drawing/2014/main" id="{6E111287-C25A-6A95-B91D-67F171B6D03E}"/>
              </a:ext>
            </a:extLst>
          </p:cNvPr>
          <p:cNvGrpSpPr/>
          <p:nvPr/>
        </p:nvGrpSpPr>
        <p:grpSpPr>
          <a:xfrm>
            <a:off x="607703" y="2173156"/>
            <a:ext cx="2859218" cy="3913483"/>
            <a:chOff x="607703" y="2173156"/>
            <a:chExt cx="2859218" cy="3913483"/>
          </a:xfrm>
        </p:grpSpPr>
        <p:sp>
          <p:nvSpPr>
            <p:cNvPr id="39" name="Rectangle 38">
              <a:extLst>
                <a:ext uri="{FF2B5EF4-FFF2-40B4-BE49-F238E27FC236}">
                  <a16:creationId xmlns:a16="http://schemas.microsoft.com/office/drawing/2014/main" id="{35353F64-8492-91A8-6BBA-2F7985FC3DB4}"/>
                </a:ext>
                <a:ext uri="{C183D7F6-B498-43B3-948B-1728B52AA6E4}">
                  <adec:decorative xmlns:adec="http://schemas.microsoft.com/office/drawing/2017/decorative" val="0"/>
                </a:ext>
              </a:extLst>
            </p:cNvPr>
            <p:cNvSpPr/>
            <p:nvPr/>
          </p:nvSpPr>
          <p:spPr>
            <a:xfrm>
              <a:off x="607893" y="2173156"/>
              <a:ext cx="2858966"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100+</a:t>
              </a:r>
            </a:p>
          </p:txBody>
        </p:sp>
        <p:sp>
          <p:nvSpPr>
            <p:cNvPr id="40" name="Text Placeholder 1">
              <a:extLst>
                <a:ext uri="{FF2B5EF4-FFF2-40B4-BE49-F238E27FC236}">
                  <a16:creationId xmlns:a16="http://schemas.microsoft.com/office/drawing/2014/main" id="{D215D6BB-5535-7754-7EC8-2BD5A74B5107}"/>
                </a:ext>
              </a:extLst>
            </p:cNvPr>
            <p:cNvSpPr txBox="1">
              <a:spLocks/>
            </p:cNvSpPr>
            <p:nvPr/>
          </p:nvSpPr>
          <p:spPr>
            <a:xfrm>
              <a:off x="607703" y="2579319"/>
              <a:ext cx="2859218" cy="33796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Years of Service</a:t>
              </a:r>
            </a:p>
          </p:txBody>
        </p:sp>
        <p:sp>
          <p:nvSpPr>
            <p:cNvPr id="41" name="Rectangle 40">
              <a:extLst>
                <a:ext uri="{FF2B5EF4-FFF2-40B4-BE49-F238E27FC236}">
                  <a16:creationId xmlns:a16="http://schemas.microsoft.com/office/drawing/2014/main" id="{EEC0EA33-9CCC-497D-A3BA-B552FE857DD2}"/>
                </a:ext>
                <a:ext uri="{C183D7F6-B498-43B3-948B-1728B52AA6E4}">
                  <adec:decorative xmlns:adec="http://schemas.microsoft.com/office/drawing/2017/decorative" val="0"/>
                </a:ext>
              </a:extLst>
            </p:cNvPr>
            <p:cNvSpPr/>
            <p:nvPr/>
          </p:nvSpPr>
          <p:spPr>
            <a:xfrm>
              <a:off x="607893" y="3230503"/>
              <a:ext cx="2858966"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22</a:t>
              </a:r>
            </a:p>
          </p:txBody>
        </p:sp>
        <p:sp>
          <p:nvSpPr>
            <p:cNvPr id="42" name="Text Placeholder 1">
              <a:extLst>
                <a:ext uri="{FF2B5EF4-FFF2-40B4-BE49-F238E27FC236}">
                  <a16:creationId xmlns:a16="http://schemas.microsoft.com/office/drawing/2014/main" id="{B1193ED2-A6F0-3187-8CB8-343130E7A176}"/>
                </a:ext>
              </a:extLst>
            </p:cNvPr>
            <p:cNvSpPr txBox="1">
              <a:spLocks/>
            </p:cNvSpPr>
            <p:nvPr/>
          </p:nvSpPr>
          <p:spPr>
            <a:xfrm>
              <a:off x="607703" y="3636666"/>
              <a:ext cx="2859218" cy="33796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States</a:t>
              </a:r>
            </a:p>
          </p:txBody>
        </p:sp>
        <p:sp>
          <p:nvSpPr>
            <p:cNvPr id="43" name="Rectangle 42">
              <a:extLst>
                <a:ext uri="{FF2B5EF4-FFF2-40B4-BE49-F238E27FC236}">
                  <a16:creationId xmlns:a16="http://schemas.microsoft.com/office/drawing/2014/main" id="{710E972B-8B2E-3DF8-7763-D2BFA0E8BFD9}"/>
                </a:ext>
                <a:ext uri="{C183D7F6-B498-43B3-948B-1728B52AA6E4}">
                  <adec:decorative xmlns:adec="http://schemas.microsoft.com/office/drawing/2017/decorative" val="0"/>
                </a:ext>
              </a:extLst>
            </p:cNvPr>
            <p:cNvSpPr/>
            <p:nvPr/>
          </p:nvSpPr>
          <p:spPr>
            <a:xfrm>
              <a:off x="607893" y="4286509"/>
              <a:ext cx="2858966"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62</a:t>
              </a:r>
            </a:p>
          </p:txBody>
        </p:sp>
        <p:sp>
          <p:nvSpPr>
            <p:cNvPr id="44" name="Text Placeholder 1">
              <a:extLst>
                <a:ext uri="{FF2B5EF4-FFF2-40B4-BE49-F238E27FC236}">
                  <a16:creationId xmlns:a16="http://schemas.microsoft.com/office/drawing/2014/main" id="{B71DE13E-3E28-DA63-676F-0CCFDE8C47F9}"/>
                </a:ext>
              </a:extLst>
            </p:cNvPr>
            <p:cNvSpPr txBox="1">
              <a:spLocks/>
            </p:cNvSpPr>
            <p:nvPr/>
          </p:nvSpPr>
          <p:spPr>
            <a:xfrm>
              <a:off x="607703" y="4692672"/>
              <a:ext cx="2859218" cy="33796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Offices</a:t>
              </a:r>
            </a:p>
          </p:txBody>
        </p:sp>
        <p:sp>
          <p:nvSpPr>
            <p:cNvPr id="45" name="Rectangle 44">
              <a:extLst>
                <a:ext uri="{FF2B5EF4-FFF2-40B4-BE49-F238E27FC236}">
                  <a16:creationId xmlns:a16="http://schemas.microsoft.com/office/drawing/2014/main" id="{55351BF5-CD6C-162B-7168-9155E8ECD23D}"/>
                </a:ext>
                <a:ext uri="{C183D7F6-B498-43B3-948B-1728B52AA6E4}">
                  <adec:decorative xmlns:adec="http://schemas.microsoft.com/office/drawing/2017/decorative" val="0"/>
                </a:ext>
              </a:extLst>
            </p:cNvPr>
            <p:cNvSpPr/>
            <p:nvPr/>
          </p:nvSpPr>
          <p:spPr>
            <a:xfrm>
              <a:off x="607893" y="5342515"/>
              <a:ext cx="2858966"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1,400+</a:t>
              </a:r>
            </a:p>
          </p:txBody>
        </p:sp>
        <p:sp>
          <p:nvSpPr>
            <p:cNvPr id="46" name="Text Placeholder 1">
              <a:extLst>
                <a:ext uri="{FF2B5EF4-FFF2-40B4-BE49-F238E27FC236}">
                  <a16:creationId xmlns:a16="http://schemas.microsoft.com/office/drawing/2014/main" id="{C29A2394-5E21-B5CB-57DF-5D2986CED1CB}"/>
                </a:ext>
              </a:extLst>
            </p:cNvPr>
            <p:cNvSpPr txBox="1">
              <a:spLocks/>
            </p:cNvSpPr>
            <p:nvPr/>
          </p:nvSpPr>
          <p:spPr>
            <a:xfrm>
              <a:off x="607703" y="5748678"/>
              <a:ext cx="2859218" cy="33796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Employees</a:t>
              </a:r>
            </a:p>
          </p:txBody>
        </p:sp>
      </p:grpSp>
      <p:pic>
        <p:nvPicPr>
          <p:cNvPr id="50" name="Picture 49" descr="Garver Logo">
            <a:extLst>
              <a:ext uri="{FF2B5EF4-FFF2-40B4-BE49-F238E27FC236}">
                <a16:creationId xmlns:a16="http://schemas.microsoft.com/office/drawing/2014/main" id="{72C7BDBA-1AA4-8330-A9F0-0BF3611C52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21096" y="301350"/>
            <a:ext cx="657656" cy="657656"/>
          </a:xfrm>
          <a:prstGeom prst="rect">
            <a:avLst/>
          </a:prstGeom>
        </p:spPr>
      </p:pic>
      <p:pic>
        <p:nvPicPr>
          <p:cNvPr id="38" name="Picture 37" descr="A map of the United States that shows all the Garver office locations.">
            <a:extLst>
              <a:ext uri="{FF2B5EF4-FFF2-40B4-BE49-F238E27FC236}">
                <a16:creationId xmlns:a16="http://schemas.microsoft.com/office/drawing/2014/main" id="{51233A80-3E23-E493-9C64-495C0F1C140A}"/>
              </a:ext>
              <a:ext uri="{C183D7F6-B498-43B3-948B-1728B52AA6E4}">
                <adec:decorative xmlns:adec="http://schemas.microsoft.com/office/drawing/2017/decorative" val="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466" y="248467"/>
            <a:ext cx="8725080" cy="5372653"/>
          </a:xfrm>
          <a:prstGeom prst="rect">
            <a:avLst/>
          </a:prstGeom>
          <a:effectLst>
            <a:outerShdw blurRad="76200" dist="63500" dir="2700000" algn="tl" rotWithShape="0">
              <a:prstClr val="black">
                <a:alpha val="40000"/>
              </a:prstClr>
            </a:outerShdw>
          </a:effectLst>
        </p:spPr>
      </p:pic>
      <p:grpSp>
        <p:nvGrpSpPr>
          <p:cNvPr id="12" name="Group 11" descr="Garver Business Lines - Aviation, Buildings, Construction &amp; Survey, Federal, Transportation, Water and Wastewater.">
            <a:extLst>
              <a:ext uri="{FF2B5EF4-FFF2-40B4-BE49-F238E27FC236}">
                <a16:creationId xmlns:a16="http://schemas.microsoft.com/office/drawing/2014/main" id="{6A1EC091-6652-30FC-B995-BB950479EFD4}"/>
              </a:ext>
            </a:extLst>
          </p:cNvPr>
          <p:cNvGrpSpPr/>
          <p:nvPr/>
        </p:nvGrpSpPr>
        <p:grpSpPr>
          <a:xfrm>
            <a:off x="4207193" y="5106449"/>
            <a:ext cx="7475691" cy="1503084"/>
            <a:chOff x="4207193" y="5106449"/>
            <a:chExt cx="7475691" cy="1503084"/>
          </a:xfrm>
        </p:grpSpPr>
        <p:sp>
          <p:nvSpPr>
            <p:cNvPr id="21" name="Text Placeholder 1">
              <a:extLst>
                <a:ext uri="{FF2B5EF4-FFF2-40B4-BE49-F238E27FC236}">
                  <a16:creationId xmlns:a16="http://schemas.microsoft.com/office/drawing/2014/main" id="{23BF1ED1-2462-CC52-0B4D-8647E54F7AF3}"/>
                </a:ext>
              </a:extLst>
            </p:cNvPr>
            <p:cNvSpPr txBox="1">
              <a:spLocks/>
            </p:cNvSpPr>
            <p:nvPr/>
          </p:nvSpPr>
          <p:spPr>
            <a:xfrm>
              <a:off x="4207193" y="5106449"/>
              <a:ext cx="1918967" cy="9128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Business Lines</a:t>
              </a:r>
            </a:p>
          </p:txBody>
        </p:sp>
        <p:cxnSp>
          <p:nvCxnSpPr>
            <p:cNvPr id="22" name="Straight Connector 21">
              <a:extLst>
                <a:ext uri="{FF2B5EF4-FFF2-40B4-BE49-F238E27FC236}">
                  <a16:creationId xmlns:a16="http://schemas.microsoft.com/office/drawing/2014/main" id="{6923F29B-F2A7-4DFB-701B-F59B4385D57F}"/>
                </a:ext>
                <a:ext uri="{C183D7F6-B498-43B3-948B-1728B52AA6E4}">
                  <adec:decorative xmlns:adec="http://schemas.microsoft.com/office/drawing/2017/decorative" val="1"/>
                </a:ext>
              </a:extLst>
            </p:cNvPr>
            <p:cNvCxnSpPr>
              <a:cxnSpLocks/>
            </p:cNvCxnSpPr>
            <p:nvPr/>
          </p:nvCxnSpPr>
          <p:spPr>
            <a:xfrm>
              <a:off x="6146749" y="5258597"/>
              <a:ext cx="5536135" cy="0"/>
            </a:xfrm>
            <a:prstGeom prst="line">
              <a:avLst/>
            </a:prstGeom>
            <a:ln>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pic>
          <p:nvPicPr>
            <p:cNvPr id="23" name="Graphic 22">
              <a:extLst>
                <a:ext uri="{FF2B5EF4-FFF2-40B4-BE49-F238E27FC236}">
                  <a16:creationId xmlns:a16="http://schemas.microsoft.com/office/drawing/2014/main" id="{517B5D6F-BAF0-BCF3-EB41-78DDDEB91CC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25896" y="5702137"/>
              <a:ext cx="584941" cy="226665"/>
            </a:xfrm>
            <a:prstGeom prst="rect">
              <a:avLst/>
            </a:prstGeom>
          </p:spPr>
        </p:pic>
        <p:pic>
          <p:nvPicPr>
            <p:cNvPr id="24" name="Graphic 23">
              <a:extLst>
                <a:ext uri="{FF2B5EF4-FFF2-40B4-BE49-F238E27FC236}">
                  <a16:creationId xmlns:a16="http://schemas.microsoft.com/office/drawing/2014/main" id="{97107185-E17D-DC4D-449C-A43B5A268B8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33380" y="5680201"/>
              <a:ext cx="599564" cy="270535"/>
            </a:xfrm>
            <a:prstGeom prst="rect">
              <a:avLst/>
            </a:prstGeom>
          </p:spPr>
        </p:pic>
        <p:pic>
          <p:nvPicPr>
            <p:cNvPr id="25" name="Graphic 24">
              <a:extLst>
                <a:ext uri="{FF2B5EF4-FFF2-40B4-BE49-F238E27FC236}">
                  <a16:creationId xmlns:a16="http://schemas.microsoft.com/office/drawing/2014/main" id="{B72C2C37-BD31-49A9-CFAC-3EC2A7FD59A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32842" y="5512079"/>
              <a:ext cx="380212" cy="533759"/>
            </a:xfrm>
            <a:prstGeom prst="rect">
              <a:avLst/>
            </a:prstGeom>
          </p:spPr>
        </p:pic>
        <p:pic>
          <p:nvPicPr>
            <p:cNvPr id="27" name="Graphic 26">
              <a:extLst>
                <a:ext uri="{FF2B5EF4-FFF2-40B4-BE49-F238E27FC236}">
                  <a16:creationId xmlns:a16="http://schemas.microsoft.com/office/drawing/2014/main" id="{25DC9075-0CEA-6622-354D-5F36BCC38AA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57913" y="5570573"/>
              <a:ext cx="511823" cy="416771"/>
            </a:xfrm>
            <a:prstGeom prst="rect">
              <a:avLst/>
            </a:prstGeom>
          </p:spPr>
        </p:pic>
        <p:pic>
          <p:nvPicPr>
            <p:cNvPr id="28" name="Graphic 27">
              <a:extLst>
                <a:ext uri="{FF2B5EF4-FFF2-40B4-BE49-F238E27FC236}">
                  <a16:creationId xmlns:a16="http://schemas.microsoft.com/office/drawing/2014/main" id="{D1DD11C1-9F1B-D597-8F73-9694EEAC656C}"/>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95361" y="5490144"/>
              <a:ext cx="409459" cy="497200"/>
            </a:xfrm>
            <a:prstGeom prst="rect">
              <a:avLst/>
            </a:prstGeom>
          </p:spPr>
        </p:pic>
        <p:pic>
          <p:nvPicPr>
            <p:cNvPr id="29" name="Graphic 28">
              <a:extLst>
                <a:ext uri="{FF2B5EF4-FFF2-40B4-BE49-F238E27FC236}">
                  <a16:creationId xmlns:a16="http://schemas.microsoft.com/office/drawing/2014/main" id="{C8E9DA71-8CFB-C3CC-29E7-F515D379EA10}"/>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10408" y="5530358"/>
              <a:ext cx="336341" cy="497200"/>
            </a:xfrm>
            <a:prstGeom prst="rect">
              <a:avLst/>
            </a:prstGeom>
          </p:spPr>
        </p:pic>
        <p:sp>
          <p:nvSpPr>
            <p:cNvPr id="30" name="Text Placeholder 1">
              <a:extLst>
                <a:ext uri="{FF2B5EF4-FFF2-40B4-BE49-F238E27FC236}">
                  <a16:creationId xmlns:a16="http://schemas.microsoft.com/office/drawing/2014/main" id="{39B9C45D-06F4-93EA-6EF7-6090D016CD4E}"/>
                </a:ext>
              </a:extLst>
            </p:cNvPr>
            <p:cNvSpPr txBox="1">
              <a:spLocks/>
            </p:cNvSpPr>
            <p:nvPr/>
          </p:nvSpPr>
          <p:spPr>
            <a:xfrm>
              <a:off x="5309519" y="6086639"/>
              <a:ext cx="1338117"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Buildings</a:t>
              </a:r>
            </a:p>
          </p:txBody>
        </p:sp>
        <p:sp>
          <p:nvSpPr>
            <p:cNvPr id="31" name="Text Placeholder 1">
              <a:extLst>
                <a:ext uri="{FF2B5EF4-FFF2-40B4-BE49-F238E27FC236}">
                  <a16:creationId xmlns:a16="http://schemas.microsoft.com/office/drawing/2014/main" id="{62282488-A8F3-FB72-103A-AAE9AB3F2976}"/>
                </a:ext>
              </a:extLst>
            </p:cNvPr>
            <p:cNvSpPr txBox="1">
              <a:spLocks/>
            </p:cNvSpPr>
            <p:nvPr/>
          </p:nvSpPr>
          <p:spPr>
            <a:xfrm>
              <a:off x="6553889" y="6086639"/>
              <a:ext cx="1338117"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Construction</a:t>
              </a:r>
              <a:b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b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mp; Survey</a:t>
              </a:r>
            </a:p>
          </p:txBody>
        </p:sp>
        <p:sp>
          <p:nvSpPr>
            <p:cNvPr id="33" name="Text Placeholder 1">
              <a:extLst>
                <a:ext uri="{FF2B5EF4-FFF2-40B4-BE49-F238E27FC236}">
                  <a16:creationId xmlns:a16="http://schemas.microsoft.com/office/drawing/2014/main" id="{C49F0B5B-08D0-4A14-757C-CB9D567FE24E}"/>
                </a:ext>
              </a:extLst>
            </p:cNvPr>
            <p:cNvSpPr txBox="1">
              <a:spLocks/>
            </p:cNvSpPr>
            <p:nvPr/>
          </p:nvSpPr>
          <p:spPr>
            <a:xfrm>
              <a:off x="7731031" y="6086639"/>
              <a:ext cx="1338117"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ederal</a:t>
              </a:r>
            </a:p>
          </p:txBody>
        </p:sp>
        <p:sp>
          <p:nvSpPr>
            <p:cNvPr id="34" name="Text Placeholder 1">
              <a:extLst>
                <a:ext uri="{FF2B5EF4-FFF2-40B4-BE49-F238E27FC236}">
                  <a16:creationId xmlns:a16="http://schemas.microsoft.com/office/drawing/2014/main" id="{CAC85E57-2119-CE61-C5FB-BC2C30D31C57}"/>
                </a:ext>
              </a:extLst>
            </p:cNvPr>
            <p:cNvSpPr txBox="1">
              <a:spLocks/>
            </p:cNvSpPr>
            <p:nvPr/>
          </p:nvSpPr>
          <p:spPr>
            <a:xfrm>
              <a:off x="8921557" y="6086639"/>
              <a:ext cx="1423210"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ransportation</a:t>
              </a:r>
            </a:p>
          </p:txBody>
        </p:sp>
        <p:sp>
          <p:nvSpPr>
            <p:cNvPr id="35" name="Text Placeholder 1">
              <a:extLst>
                <a:ext uri="{FF2B5EF4-FFF2-40B4-BE49-F238E27FC236}">
                  <a16:creationId xmlns:a16="http://schemas.microsoft.com/office/drawing/2014/main" id="{79117F5F-7225-656F-6A30-96562F4FE5BB}"/>
                </a:ext>
              </a:extLst>
            </p:cNvPr>
            <p:cNvSpPr txBox="1">
              <a:spLocks/>
            </p:cNvSpPr>
            <p:nvPr/>
          </p:nvSpPr>
          <p:spPr>
            <a:xfrm>
              <a:off x="10344767" y="6086639"/>
              <a:ext cx="1338117"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Water &amp; Wastewater</a:t>
              </a:r>
            </a:p>
          </p:txBody>
        </p:sp>
        <p:sp>
          <p:nvSpPr>
            <p:cNvPr id="36" name="Text Placeholder 1">
              <a:extLst>
                <a:ext uri="{FF2B5EF4-FFF2-40B4-BE49-F238E27FC236}">
                  <a16:creationId xmlns:a16="http://schemas.microsoft.com/office/drawing/2014/main" id="{E8FB6358-B0CA-2A1B-D806-37E3696F499A}"/>
                </a:ext>
              </a:extLst>
            </p:cNvPr>
            <p:cNvSpPr txBox="1">
              <a:spLocks/>
            </p:cNvSpPr>
            <p:nvPr/>
          </p:nvSpPr>
          <p:spPr>
            <a:xfrm>
              <a:off x="4248081" y="6086639"/>
              <a:ext cx="1338117" cy="522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Autofit/>
            </a:bodyPr>
            <a:lstStyle>
              <a:lvl1pPr marL="0" marR="0" indent="0" algn="l" defTabSz="825500" rtl="0" eaLnBrk="1" latinLnBrk="0" hangingPunct="1">
                <a:lnSpc>
                  <a:spcPct val="80000"/>
                </a:lnSpc>
                <a:spcBef>
                  <a:spcPts val="0"/>
                </a:spcBef>
                <a:spcAft>
                  <a:spcPts val="0"/>
                </a:spcAft>
                <a:buClrTx/>
                <a:buSzTx/>
                <a:buFontTx/>
                <a:buNone/>
                <a:tabLst/>
                <a:defRPr sz="6000" b="1" i="0" u="none" strike="noStrike" cap="none" spc="-400" baseline="0" dirty="0">
                  <a:ln>
                    <a:noFill/>
                  </a:ln>
                  <a:solidFill>
                    <a:schemeClr val="bg1"/>
                  </a:solidFill>
                  <a:uFillTx/>
                  <a:latin typeface="+mn-lt"/>
                  <a:ea typeface="+mn-ea"/>
                  <a:cs typeface="+mn-cs"/>
                  <a:sym typeface="Open Sans"/>
                </a:defRPr>
              </a:lvl1pPr>
              <a:lvl2pPr marL="127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2pPr>
              <a:lvl3pPr marL="190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3pPr>
              <a:lvl4pPr marL="254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4pPr>
              <a:lvl5pPr marL="317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tx1">
                      <a:lumMod val="75000"/>
                      <a:lumOff val="25000"/>
                    </a:schemeClr>
                  </a:solidFill>
                  <a:uFillTx/>
                  <a:latin typeface="Helvetica Light"/>
                  <a:ea typeface="Helvetica Light"/>
                  <a:cs typeface="Helvetica Light"/>
                  <a:sym typeface="Helvetica Light"/>
                </a:defRPr>
              </a:lvl5pPr>
              <a:lvl6pPr marL="381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6pPr>
              <a:lvl7pPr marL="444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7pPr>
              <a:lvl8pPr marL="5080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8pPr>
              <a:lvl9pPr marL="5715000" marR="0" indent="-635000" algn="l" defTabSz="825500" eaLnBrk="1" latinLnBrk="0" hangingPunct="1">
                <a:lnSpc>
                  <a:spcPct val="100000"/>
                </a:lnSpc>
                <a:spcBef>
                  <a:spcPts val="5200"/>
                </a:spcBef>
                <a:spcAft>
                  <a:spcPts val="0"/>
                </a:spcAft>
                <a:buClrTx/>
                <a:buSzPct val="75000"/>
                <a:buFontTx/>
                <a:buChar char="•"/>
                <a:tabLst/>
                <a:defRPr sz="5200" b="0" i="0" u="none" strike="noStrike" cap="none" spc="0" baseline="0">
                  <a:ln>
                    <a:noFill/>
                  </a:ln>
                  <a:solidFill>
                    <a:schemeClr val="accent4">
                      <a:hueOff val="-1578387"/>
                      <a:satOff val="-86563"/>
                      <a:lumOff val="-46744"/>
                    </a:schemeClr>
                  </a:solidFill>
                  <a:uFillTx/>
                  <a:latin typeface="Helvetica Light"/>
                  <a:ea typeface="Helvetica Light"/>
                  <a:cs typeface="Helvetica Light"/>
                  <a:sym typeface="Helvetica Light"/>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viation</a:t>
              </a:r>
            </a:p>
          </p:txBody>
        </p:sp>
      </p:grpSp>
    </p:spTree>
    <p:extLst>
      <p:ext uri="{BB962C8B-B14F-4D97-AF65-F5344CB8AC3E}">
        <p14:creationId xmlns:p14="http://schemas.microsoft.com/office/powerpoint/2010/main" val="23989688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77ACE-C9E0-DA1E-5A46-0AEB8450B065}"/>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9AE326CA-5589-380A-B59C-88EF2AADD51A}"/>
              </a:ext>
              <a:ext uri="{C183D7F6-B498-43B3-948B-1728B52AA6E4}">
                <adec:decorative xmlns:adec="http://schemas.microsoft.com/office/drawing/2017/decorative" val="1"/>
              </a:ext>
            </a:extLst>
          </p:cNvPr>
          <p:cNvSpPr/>
          <p:nvPr/>
        </p:nvSpPr>
        <p:spPr>
          <a:xfrm>
            <a:off x="0" y="311877"/>
            <a:ext cx="4039438" cy="62342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8" name="Title 76">
            <a:extLst>
              <a:ext uri="{FF2B5EF4-FFF2-40B4-BE49-F238E27FC236}">
                <a16:creationId xmlns:a16="http://schemas.microsoft.com/office/drawing/2014/main" id="{2EECAE61-FEBA-6B76-E96B-CD103A72CA85}"/>
              </a:ext>
            </a:extLst>
          </p:cNvPr>
          <p:cNvSpPr>
            <a:spLocks noGrp="1"/>
          </p:cNvSpPr>
          <p:nvPr>
            <p:ph type="ctrTitle"/>
          </p:nvPr>
        </p:nvSpPr>
        <p:spPr>
          <a:xfrm>
            <a:off x="0" y="-419358"/>
            <a:ext cx="12192000" cy="251325"/>
          </a:xfrm>
        </p:spPr>
        <p:txBody>
          <a:bodyPr anchor="t">
            <a:normAutofit fontScale="90000"/>
          </a:bodyPr>
          <a:lstStyle/>
          <a:p>
            <a:pPr algn="l"/>
            <a:r>
              <a:rPr lang="en-US" sz="1600"/>
              <a:t>Local Garver Information: Local stats and facts about Garver</a:t>
            </a:r>
          </a:p>
        </p:txBody>
      </p:sp>
      <p:sp>
        <p:nvSpPr>
          <p:cNvPr id="3" name="TextBox 2" descr="Local&#10;Experience">
            <a:extLst>
              <a:ext uri="{FF2B5EF4-FFF2-40B4-BE49-F238E27FC236}">
                <a16:creationId xmlns:a16="http://schemas.microsoft.com/office/drawing/2014/main" id="{3187545B-1CF7-E033-BD8B-C0FF5BDF8A15}"/>
              </a:ext>
            </a:extLst>
          </p:cNvPr>
          <p:cNvSpPr txBox="1"/>
          <p:nvPr/>
        </p:nvSpPr>
        <p:spPr>
          <a:xfrm>
            <a:off x="513248" y="607642"/>
            <a:ext cx="4393289"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Local</a:t>
            </a:r>
            <a:b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b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Experience</a:t>
            </a:r>
          </a:p>
        </p:txBody>
      </p:sp>
      <p:sp>
        <p:nvSpPr>
          <p:cNvPr id="39" name="Rectangle 38">
            <a:extLst>
              <a:ext uri="{FF2B5EF4-FFF2-40B4-BE49-F238E27FC236}">
                <a16:creationId xmlns:a16="http://schemas.microsoft.com/office/drawing/2014/main" id="{2909A4E5-2564-28C8-E60B-569097FB6B03}"/>
              </a:ext>
              <a:ext uri="{C183D7F6-B498-43B3-948B-1728B52AA6E4}">
                <adec:decorative xmlns:adec="http://schemas.microsoft.com/office/drawing/2017/decorative" val="0"/>
              </a:ext>
            </a:extLst>
          </p:cNvPr>
          <p:cNvSpPr/>
          <p:nvPr/>
        </p:nvSpPr>
        <p:spPr>
          <a:xfrm>
            <a:off x="607892" y="2307627"/>
            <a:ext cx="2858965"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40" name="Text Placeholder 1">
            <a:extLst>
              <a:ext uri="{FF2B5EF4-FFF2-40B4-BE49-F238E27FC236}">
                <a16:creationId xmlns:a16="http://schemas.microsoft.com/office/drawing/2014/main" id="{7471781C-51CE-A3EA-0DF0-6591448AB1EB}"/>
              </a:ext>
            </a:extLst>
          </p:cNvPr>
          <p:cNvSpPr txBox="1">
            <a:spLocks/>
          </p:cNvSpPr>
          <p:nvPr/>
        </p:nvSpPr>
        <p:spPr>
          <a:xfrm>
            <a:off x="607703" y="2713790"/>
            <a:ext cx="2859217" cy="33796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lc="http://schemas.openxmlformats.org/drawingml/2006/lockedCanvas"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Garver Offices</a:t>
            </a:r>
          </a:p>
        </p:txBody>
      </p:sp>
      <p:sp>
        <p:nvSpPr>
          <p:cNvPr id="41" name="Rectangle 40">
            <a:extLst>
              <a:ext uri="{FF2B5EF4-FFF2-40B4-BE49-F238E27FC236}">
                <a16:creationId xmlns:a16="http://schemas.microsoft.com/office/drawing/2014/main" id="{CF86F7B5-B97E-F79E-7D0F-236402D0B175}"/>
              </a:ext>
              <a:ext uri="{C183D7F6-B498-43B3-948B-1728B52AA6E4}">
                <adec:decorative xmlns:adec="http://schemas.microsoft.com/office/drawing/2017/decorative" val="0"/>
              </a:ext>
            </a:extLst>
          </p:cNvPr>
          <p:cNvSpPr/>
          <p:nvPr/>
        </p:nvSpPr>
        <p:spPr>
          <a:xfrm>
            <a:off x="607892" y="3713256"/>
            <a:ext cx="2858965"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25</a:t>
            </a:r>
          </a:p>
        </p:txBody>
      </p:sp>
      <p:sp>
        <p:nvSpPr>
          <p:cNvPr id="42" name="Text Placeholder 1">
            <a:extLst>
              <a:ext uri="{FF2B5EF4-FFF2-40B4-BE49-F238E27FC236}">
                <a16:creationId xmlns:a16="http://schemas.microsoft.com/office/drawing/2014/main" id="{261DBD4A-99F4-A8E0-44FC-4D2690EFBDCF}"/>
              </a:ext>
            </a:extLst>
          </p:cNvPr>
          <p:cNvSpPr txBox="1">
            <a:spLocks/>
          </p:cNvSpPr>
          <p:nvPr/>
        </p:nvSpPr>
        <p:spPr>
          <a:xfrm>
            <a:off x="607703" y="4119419"/>
            <a:ext cx="2859217" cy="33796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lc="http://schemas.openxmlformats.org/drawingml/2006/lockedCanvas"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Aviation Clients</a:t>
            </a:r>
          </a:p>
        </p:txBody>
      </p:sp>
      <p:sp>
        <p:nvSpPr>
          <p:cNvPr id="13" name="Rectangle 12">
            <a:extLst>
              <a:ext uri="{FF2B5EF4-FFF2-40B4-BE49-F238E27FC236}">
                <a16:creationId xmlns:a16="http://schemas.microsoft.com/office/drawing/2014/main" id="{9BF399F0-0204-2243-B8E7-06ED65F96D0B}"/>
              </a:ext>
              <a:ext uri="{C183D7F6-B498-43B3-948B-1728B52AA6E4}">
                <adec:decorative xmlns:adec="http://schemas.microsoft.com/office/drawing/2017/decorative" val="0"/>
              </a:ext>
            </a:extLst>
          </p:cNvPr>
          <p:cNvSpPr/>
          <p:nvPr/>
        </p:nvSpPr>
        <p:spPr>
          <a:xfrm>
            <a:off x="607892" y="5154256"/>
            <a:ext cx="2858965" cy="397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26</a:t>
            </a:r>
          </a:p>
        </p:txBody>
      </p:sp>
      <p:sp>
        <p:nvSpPr>
          <p:cNvPr id="15" name="Text Placeholder 1">
            <a:extLst>
              <a:ext uri="{FF2B5EF4-FFF2-40B4-BE49-F238E27FC236}">
                <a16:creationId xmlns:a16="http://schemas.microsoft.com/office/drawing/2014/main" id="{64AFC107-8A1B-3A4E-873D-D2E03BE36244}"/>
              </a:ext>
            </a:extLst>
          </p:cNvPr>
          <p:cNvSpPr txBox="1">
            <a:spLocks/>
          </p:cNvSpPr>
          <p:nvPr/>
        </p:nvSpPr>
        <p:spPr>
          <a:xfrm>
            <a:off x="607703" y="5560419"/>
            <a:ext cx="2859217" cy="33796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lc="http://schemas.openxmlformats.org/drawingml/2006/lockedCanvas" xmlns="" val="1"/>
            </a:ext>
          </a:extLst>
        </p:spPr>
        <p:txBody>
          <a:bodyPr lIns="0" tIns="0" rIns="0" bIns="0" anchor="ctr" anchorCtr="0">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Local Staff</a:t>
            </a:r>
          </a:p>
        </p:txBody>
      </p:sp>
      <p:pic>
        <p:nvPicPr>
          <p:cNvPr id="2" name="Picture 1">
            <a:extLst>
              <a:ext uri="{FF2B5EF4-FFF2-40B4-BE49-F238E27FC236}">
                <a16:creationId xmlns:a16="http://schemas.microsoft.com/office/drawing/2014/main" id="{6A26756B-93B6-B021-3308-A656660DED4C}"/>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26109" y="874862"/>
            <a:ext cx="1057100" cy="1056219"/>
          </a:xfrm>
          <a:prstGeom prst="rect">
            <a:avLst/>
          </a:prstGeom>
        </p:spPr>
      </p:pic>
      <p:pic>
        <p:nvPicPr>
          <p:cNvPr id="4" name="Picture 3">
            <a:extLst>
              <a:ext uri="{FF2B5EF4-FFF2-40B4-BE49-F238E27FC236}">
                <a16:creationId xmlns:a16="http://schemas.microsoft.com/office/drawing/2014/main" id="{35E419B1-D93F-33FE-17D4-1FDD1B08405A}"/>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98097" y="2349103"/>
            <a:ext cx="4113125" cy="1460535"/>
          </a:xfrm>
          <a:prstGeom prst="rect">
            <a:avLst/>
          </a:prstGeom>
        </p:spPr>
      </p:pic>
      <p:pic>
        <p:nvPicPr>
          <p:cNvPr id="5" name="Picture 4">
            <a:extLst>
              <a:ext uri="{FF2B5EF4-FFF2-40B4-BE49-F238E27FC236}">
                <a16:creationId xmlns:a16="http://schemas.microsoft.com/office/drawing/2014/main" id="{F24FAC2E-822D-0805-3BD0-C86B4467F93A}"/>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38299" y="4094039"/>
            <a:ext cx="2632721" cy="583066"/>
          </a:xfrm>
          <a:prstGeom prst="rect">
            <a:avLst/>
          </a:prstGeom>
        </p:spPr>
      </p:pic>
      <p:pic>
        <p:nvPicPr>
          <p:cNvPr id="6" name="Picture 5">
            <a:extLst>
              <a:ext uri="{FF2B5EF4-FFF2-40B4-BE49-F238E27FC236}">
                <a16:creationId xmlns:a16="http://schemas.microsoft.com/office/drawing/2014/main" id="{89EF7751-37AF-0538-F310-B84D9661C62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178816" y="5089077"/>
            <a:ext cx="4351687" cy="947760"/>
          </a:xfrm>
          <a:prstGeom prst="rect">
            <a:avLst/>
          </a:prstGeom>
        </p:spPr>
      </p:pic>
      <p:pic>
        <p:nvPicPr>
          <p:cNvPr id="7" name="Picture 6">
            <a:extLst>
              <a:ext uri="{FF2B5EF4-FFF2-40B4-BE49-F238E27FC236}">
                <a16:creationId xmlns:a16="http://schemas.microsoft.com/office/drawing/2014/main" id="{5EF551DF-A24F-EB22-C716-08B3A71B0CD1}"/>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66737" y="5207999"/>
            <a:ext cx="2427913" cy="709916"/>
          </a:xfrm>
          <a:prstGeom prst="rect">
            <a:avLst/>
          </a:prstGeom>
        </p:spPr>
      </p:pic>
      <p:grpSp>
        <p:nvGrpSpPr>
          <p:cNvPr id="8" name="Group 7">
            <a:extLst>
              <a:ext uri="{FF2B5EF4-FFF2-40B4-BE49-F238E27FC236}">
                <a16:creationId xmlns:a16="http://schemas.microsoft.com/office/drawing/2014/main" id="{40E1D230-B61B-E5FA-F646-539520BFC314}"/>
              </a:ext>
              <a:ext uri="{C183D7F6-B498-43B3-948B-1728B52AA6E4}">
                <adec:decorative xmlns:adec="http://schemas.microsoft.com/office/drawing/2017/decorative" val="1"/>
              </a:ext>
            </a:extLst>
          </p:cNvPr>
          <p:cNvGrpSpPr/>
          <p:nvPr/>
        </p:nvGrpSpPr>
        <p:grpSpPr>
          <a:xfrm>
            <a:off x="8419475" y="3978339"/>
            <a:ext cx="3122436" cy="933545"/>
            <a:chOff x="8470760" y="3855992"/>
            <a:chExt cx="3604757" cy="1077749"/>
          </a:xfrm>
        </p:grpSpPr>
        <p:sp>
          <p:nvSpPr>
            <p:cNvPr id="9" name="Rectangle 8">
              <a:extLst>
                <a:ext uri="{FF2B5EF4-FFF2-40B4-BE49-F238E27FC236}">
                  <a16:creationId xmlns:a16="http://schemas.microsoft.com/office/drawing/2014/main" id="{3A77F1D2-A1FD-CD42-0A4C-07A2E8196268}"/>
                </a:ext>
              </a:extLst>
            </p:cNvPr>
            <p:cNvSpPr/>
            <p:nvPr/>
          </p:nvSpPr>
          <p:spPr>
            <a:xfrm>
              <a:off x="8470760" y="3855992"/>
              <a:ext cx="3604757" cy="10777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 name="Picture 9" descr="A black and white text&#10;&#10;Description automatically generated">
              <a:extLst>
                <a:ext uri="{FF2B5EF4-FFF2-40B4-BE49-F238E27FC236}">
                  <a16:creationId xmlns:a16="http://schemas.microsoft.com/office/drawing/2014/main" id="{5F2D2443-9324-C714-6C46-814FC9028E4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61398" y="3961912"/>
              <a:ext cx="3400425" cy="876300"/>
            </a:xfrm>
            <a:prstGeom prst="rect">
              <a:avLst/>
            </a:prstGeom>
          </p:spPr>
        </p:pic>
      </p:grpSp>
      <p:pic>
        <p:nvPicPr>
          <p:cNvPr id="11" name="Picture 10">
            <a:extLst>
              <a:ext uri="{FF2B5EF4-FFF2-40B4-BE49-F238E27FC236}">
                <a16:creationId xmlns:a16="http://schemas.microsoft.com/office/drawing/2014/main" id="{63F3A9A0-FE0D-3119-8358-484183B12FFA}"/>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230181" y="2229681"/>
            <a:ext cx="1460535" cy="1460535"/>
          </a:xfrm>
          <a:prstGeom prst="rect">
            <a:avLst/>
          </a:prstGeom>
        </p:spPr>
      </p:pic>
      <p:pic>
        <p:nvPicPr>
          <p:cNvPr id="12" name="Picture 11" descr="Local example client that Garver has experience with: Cortez Municipal Airport">
            <a:extLst>
              <a:ext uri="{FF2B5EF4-FFF2-40B4-BE49-F238E27FC236}">
                <a16:creationId xmlns:a16="http://schemas.microsoft.com/office/drawing/2014/main" id="{615E3F0F-DFF8-E796-1C71-188359D5E69D}"/>
              </a:ext>
              <a:ext uri="{C183D7F6-B498-43B3-948B-1728B52AA6E4}">
                <adec:decorative xmlns:adec="http://schemas.microsoft.com/office/drawing/2017/decorative" val="0"/>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9180593" y="874862"/>
            <a:ext cx="1600200" cy="1000125"/>
          </a:xfrm>
          <a:prstGeom prst="rect">
            <a:avLst/>
          </a:prstGeom>
        </p:spPr>
      </p:pic>
      <p:pic>
        <p:nvPicPr>
          <p:cNvPr id="89" name="Picture 88" descr="Garver Logo">
            <a:extLst>
              <a:ext uri="{FF2B5EF4-FFF2-40B4-BE49-F238E27FC236}">
                <a16:creationId xmlns:a16="http://schemas.microsoft.com/office/drawing/2014/main" id="{986BCA71-F648-9ACC-567C-9570F86B829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021096" y="301350"/>
            <a:ext cx="657656" cy="657656"/>
          </a:xfrm>
          <a:prstGeom prst="rect">
            <a:avLst/>
          </a:prstGeom>
        </p:spPr>
      </p:pic>
    </p:spTree>
    <p:extLst>
      <p:ext uri="{BB962C8B-B14F-4D97-AF65-F5344CB8AC3E}">
        <p14:creationId xmlns:p14="http://schemas.microsoft.com/office/powerpoint/2010/main" val="2229208046"/>
      </p:ext>
    </p:extLst>
  </p:cSld>
  <p:clrMapOvr>
    <a:masterClrMapping/>
  </p:clrMapOvr>
  <p:extLst>
    <p:ext uri="{6950BFC3-D8DA-4A85-94F7-54DA5524770B}">
      <p188:commentRel xmlns:p188="http://schemas.microsoft.com/office/powerpoint/2018/8/main" r:id="rId3"/>
    </p:ext>
  </p:extLs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20305-3681-8794-58AE-C179DABE5B34}"/>
            </a:ext>
          </a:extLst>
        </p:cNvPr>
        <p:cNvGrpSpPr/>
        <p:nvPr/>
      </p:nvGrpSpPr>
      <p:grpSpPr>
        <a:xfrm>
          <a:off x="0" y="0"/>
          <a:ext cx="0" cy="0"/>
          <a:chOff x="0" y="0"/>
          <a:chExt cx="0" cy="0"/>
        </a:xfrm>
      </p:grpSpPr>
      <p:sp>
        <p:nvSpPr>
          <p:cNvPr id="44" name="Title 76">
            <a:extLst>
              <a:ext uri="{FF2B5EF4-FFF2-40B4-BE49-F238E27FC236}">
                <a16:creationId xmlns:a16="http://schemas.microsoft.com/office/drawing/2014/main" id="{27B90E70-9333-96DE-C902-1FF8DFB118DC}"/>
              </a:ext>
              <a:ext uri="{C183D7F6-B498-43B3-948B-1728B52AA6E4}">
                <adec:decorative xmlns:adec="http://schemas.microsoft.com/office/drawing/2017/decorative" val="1"/>
              </a:ext>
            </a:extLst>
          </p:cNvPr>
          <p:cNvSpPr>
            <a:spLocks noGrp="1"/>
          </p:cNvSpPr>
          <p:nvPr>
            <p:ph type="ctrTitle"/>
          </p:nvPr>
        </p:nvSpPr>
        <p:spPr>
          <a:xfrm>
            <a:off x="0" y="-419358"/>
            <a:ext cx="12192000" cy="251325"/>
          </a:xfrm>
        </p:spPr>
        <p:txBody>
          <a:bodyPr anchor="t">
            <a:normAutofit fontScale="90000"/>
          </a:bodyPr>
          <a:lstStyle/>
          <a:p>
            <a:pPr algn="l"/>
            <a:r>
              <a:rPr lang="en-US" sz="1600"/>
              <a:t>Garver Partnership Best Practices</a:t>
            </a:r>
          </a:p>
        </p:txBody>
      </p:sp>
      <p:sp>
        <p:nvSpPr>
          <p:cNvPr id="5" name="Rectangle 4">
            <a:extLst>
              <a:ext uri="{FF2B5EF4-FFF2-40B4-BE49-F238E27FC236}">
                <a16:creationId xmlns:a16="http://schemas.microsoft.com/office/drawing/2014/main" id="{FEF10CB8-EE48-F0A2-93C7-5BA40C8BE645}"/>
              </a:ext>
              <a:ext uri="{C183D7F6-B498-43B3-948B-1728B52AA6E4}">
                <adec:decorative xmlns:adec="http://schemas.microsoft.com/office/drawing/2017/decorative" val="1"/>
              </a:ext>
            </a:extLst>
          </p:cNvPr>
          <p:cNvSpPr/>
          <p:nvPr/>
        </p:nvSpPr>
        <p:spPr>
          <a:xfrm>
            <a:off x="-1" y="0"/>
            <a:ext cx="7953153" cy="13986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descr="Partnership Best Practices">
            <a:extLst>
              <a:ext uri="{FF2B5EF4-FFF2-40B4-BE49-F238E27FC236}">
                <a16:creationId xmlns:a16="http://schemas.microsoft.com/office/drawing/2014/main" id="{B96BEB40-ED34-5F30-AC66-63E08B688AA6}"/>
              </a:ext>
            </a:extLst>
          </p:cNvPr>
          <p:cNvSpPr txBox="1"/>
          <p:nvPr/>
        </p:nvSpPr>
        <p:spPr>
          <a:xfrm>
            <a:off x="513248" y="607642"/>
            <a:ext cx="687638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Partnership Best Practices</a:t>
            </a:r>
          </a:p>
        </p:txBody>
      </p:sp>
      <p:sp>
        <p:nvSpPr>
          <p:cNvPr id="3" name="TextBox 2" descr="- Long-Term Commitment to Partnership&#10;- Shared Vision and Project Goals&#10;- Trust, Honesty and Transparency&#10;- Complementary Strengths &#10;- Clear Roles, Responsibilities and Scope Definition&#10;- Proactive, Consistent and Responsive Communication&#10;-Rigorous Quality Control and Technical Excellence&#10;- Reliability in Meeting Deadlines and Deliverables&#10;- Flexibility and Adaptability">
            <a:extLst>
              <a:ext uri="{FF2B5EF4-FFF2-40B4-BE49-F238E27FC236}">
                <a16:creationId xmlns:a16="http://schemas.microsoft.com/office/drawing/2014/main" id="{65BD7E80-5869-FA4D-8D8E-CA536185A90C}"/>
              </a:ext>
            </a:extLst>
          </p:cNvPr>
          <p:cNvSpPr txBox="1"/>
          <p:nvPr/>
        </p:nvSpPr>
        <p:spPr>
          <a:xfrm>
            <a:off x="536107" y="1634155"/>
            <a:ext cx="5666172" cy="4093428"/>
          </a:xfrm>
          <a:prstGeom prst="rect">
            <a:avLst/>
          </a:prstGeom>
          <a:noFill/>
        </p:spPr>
        <p:txBody>
          <a:bodyPr wrap="square" lIns="91440" tIns="45720" rIns="91440" bIns="45720" anchor="t">
            <a:spAutoFit/>
          </a:bodyPr>
          <a:lstStyle/>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Long-Term Commitment to Partnership</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Shared Vision and Project Goals</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Trust, Honesty and Transparency</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mplementary Strengths </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lear Roles, Responsibilities and Scope Definition</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active, Consistent and Responsive Communication</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Rigorous Quality Control and Technical Excellence</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Reliability in Meeting Deadlines and Deliverables</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Flexibility and Adaptability</a:t>
            </a:r>
          </a:p>
        </p:txBody>
      </p:sp>
      <p:pic>
        <p:nvPicPr>
          <p:cNvPr id="17" name="Picture 16" descr="Garver Logo">
            <a:extLst>
              <a:ext uri="{FF2B5EF4-FFF2-40B4-BE49-F238E27FC236}">
                <a16:creationId xmlns:a16="http://schemas.microsoft.com/office/drawing/2014/main" id="{242F9BEE-C918-8C98-D1C4-236C53FCE8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21096" y="301350"/>
            <a:ext cx="657656" cy="657656"/>
          </a:xfrm>
          <a:prstGeom prst="rect">
            <a:avLst/>
          </a:prstGeom>
        </p:spPr>
      </p:pic>
      <p:sp>
        <p:nvSpPr>
          <p:cNvPr id="18" name="Rectangle 17">
            <a:extLst>
              <a:ext uri="{FF2B5EF4-FFF2-40B4-BE49-F238E27FC236}">
                <a16:creationId xmlns:a16="http://schemas.microsoft.com/office/drawing/2014/main" id="{C1D33F26-B135-C480-5B49-9D3FE81B99D3}"/>
              </a:ext>
              <a:ext uri="{C183D7F6-B498-43B3-948B-1728B52AA6E4}">
                <adec:decorative xmlns:adec="http://schemas.microsoft.com/office/drawing/2017/decorative" val="1"/>
              </a:ext>
            </a:extLst>
          </p:cNvPr>
          <p:cNvSpPr/>
          <p:nvPr/>
        </p:nvSpPr>
        <p:spPr>
          <a:xfrm>
            <a:off x="6870880" y="4238273"/>
            <a:ext cx="5598737" cy="1850575"/>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8" name="Picture 7">
            <a:extLst>
              <a:ext uri="{FF2B5EF4-FFF2-40B4-BE49-F238E27FC236}">
                <a16:creationId xmlns:a16="http://schemas.microsoft.com/office/drawing/2014/main" id="{530E32F8-DCAB-A63C-DEB9-9C8CE6738641}"/>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8924" y="1923170"/>
            <a:ext cx="5463057" cy="3641150"/>
          </a:xfrm>
          <a:prstGeom prst="rect">
            <a:avLst/>
          </a:prstGeom>
        </p:spPr>
      </p:pic>
    </p:spTree>
    <p:extLst>
      <p:ext uri="{BB962C8B-B14F-4D97-AF65-F5344CB8AC3E}">
        <p14:creationId xmlns:p14="http://schemas.microsoft.com/office/powerpoint/2010/main" val="28872204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B80E3-73FF-A66A-6A18-61CF5697EEE5}"/>
            </a:ext>
          </a:extLst>
        </p:cNvPr>
        <p:cNvGrpSpPr/>
        <p:nvPr/>
      </p:nvGrpSpPr>
      <p:grpSpPr>
        <a:xfrm>
          <a:off x="0" y="0"/>
          <a:ext cx="0" cy="0"/>
          <a:chOff x="0" y="0"/>
          <a:chExt cx="0" cy="0"/>
        </a:xfrm>
      </p:grpSpPr>
      <p:sp>
        <p:nvSpPr>
          <p:cNvPr id="95" name="Title 76">
            <a:extLst>
              <a:ext uri="{FF2B5EF4-FFF2-40B4-BE49-F238E27FC236}">
                <a16:creationId xmlns:a16="http://schemas.microsoft.com/office/drawing/2014/main" id="{E414C845-F444-0ACD-D048-15196B7565FB}"/>
              </a:ext>
              <a:ext uri="{C183D7F6-B498-43B3-948B-1728B52AA6E4}">
                <adec:decorative xmlns:adec="http://schemas.microsoft.com/office/drawing/2017/decorative" val="1"/>
              </a:ext>
            </a:extLst>
          </p:cNvPr>
          <p:cNvSpPr>
            <a:spLocks noGrp="1"/>
          </p:cNvSpPr>
          <p:nvPr>
            <p:ph type="ctrTitle"/>
          </p:nvPr>
        </p:nvSpPr>
        <p:spPr>
          <a:xfrm>
            <a:off x="0" y="-419358"/>
            <a:ext cx="12192000" cy="251325"/>
          </a:xfrm>
        </p:spPr>
        <p:txBody>
          <a:bodyPr anchor="t">
            <a:normAutofit fontScale="90000"/>
          </a:bodyPr>
          <a:lstStyle/>
          <a:p>
            <a:pPr algn="l"/>
            <a:r>
              <a:rPr lang="en-US" sz="1600"/>
              <a:t>Garver Partners information slide</a:t>
            </a:r>
          </a:p>
        </p:txBody>
      </p:sp>
      <p:sp>
        <p:nvSpPr>
          <p:cNvPr id="7" name="Rectangle 6">
            <a:extLst>
              <a:ext uri="{FF2B5EF4-FFF2-40B4-BE49-F238E27FC236}">
                <a16:creationId xmlns:a16="http://schemas.microsoft.com/office/drawing/2014/main" id="{026B7ADA-D78D-B9D2-205E-8D6F7982FE00}"/>
              </a:ext>
              <a:ext uri="{C183D7F6-B498-43B3-948B-1728B52AA6E4}">
                <adec:decorative xmlns:adec="http://schemas.microsoft.com/office/drawing/2017/decorative" val="1"/>
              </a:ext>
            </a:extLst>
          </p:cNvPr>
          <p:cNvSpPr/>
          <p:nvPr/>
        </p:nvSpPr>
        <p:spPr>
          <a:xfrm>
            <a:off x="-1" y="0"/>
            <a:ext cx="7953153" cy="1398642"/>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descr="Equity, Diversity, &amp; Inclusion">
            <a:extLst>
              <a:ext uri="{FF2B5EF4-FFF2-40B4-BE49-F238E27FC236}">
                <a16:creationId xmlns:a16="http://schemas.microsoft.com/office/drawing/2014/main" id="{A1B4E4EF-8E66-64AF-1761-A8C2E4CB0DF3}"/>
              </a:ext>
            </a:extLst>
          </p:cNvPr>
          <p:cNvSpPr txBox="1"/>
          <p:nvPr/>
        </p:nvSpPr>
        <p:spPr>
          <a:xfrm>
            <a:off x="513248" y="607642"/>
            <a:ext cx="687638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Equity, Diversity, &amp; Inclusion</a:t>
            </a:r>
          </a:p>
        </p:txBody>
      </p:sp>
      <p:sp>
        <p:nvSpPr>
          <p:cNvPr id="15" name="TextBox 14" descr="- Building Long Standing Relationships&#10;- Create a Successful Environment &#10;- Mentoring Partners – Technical Assistance and Support Services&#10;- Promoting Values in Businesses and Communities We Serve">
            <a:extLst>
              <a:ext uri="{FF2B5EF4-FFF2-40B4-BE49-F238E27FC236}">
                <a16:creationId xmlns:a16="http://schemas.microsoft.com/office/drawing/2014/main" id="{D891241E-1F6F-8E00-1A11-83FF602E04F8}"/>
              </a:ext>
            </a:extLst>
          </p:cNvPr>
          <p:cNvSpPr txBox="1"/>
          <p:nvPr/>
        </p:nvSpPr>
        <p:spPr>
          <a:xfrm>
            <a:off x="536489" y="1635331"/>
            <a:ext cx="5103967" cy="2923877"/>
          </a:xfrm>
          <a:prstGeom prst="rect">
            <a:avLst/>
          </a:prstGeom>
          <a:noFill/>
        </p:spPr>
        <p:txBody>
          <a:bodyPr wrap="square" lIns="91440" tIns="45720" rIns="91440" bIns="45720" anchor="t">
            <a:spAutoFit/>
          </a:bodyPr>
          <a:lstStyle/>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ing Long Standing Relationships</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reate a Successful Environment </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Mentoring Partners – Technical Assistance and Support Services</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moting Values in Businesses and Communities We Serve</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rPr>
              <a:t>Proud to have our first Colorado based participant of the </a:t>
            </a:r>
            <a:r>
              <a:rPr kumimoji="0" lang="en-US" sz="1800" b="0" i="0" u="none" strike="noStrike" kern="1200" cap="none" spc="0" normalizeH="0" baseline="0" noProof="0" err="1">
                <a:ln>
                  <a:noFill/>
                </a:ln>
                <a:solidFill>
                  <a:srgbClr val="E8E8E8">
                    <a:lumMod val="25000"/>
                  </a:srgbClr>
                </a:solidFill>
                <a:effectLst/>
                <a:uLnTx/>
                <a:uFillTx/>
                <a:latin typeface="Open Sans"/>
                <a:ea typeface="Open Sans"/>
                <a:cs typeface="Open Sans"/>
              </a:rPr>
              <a:t>GarverPartners</a:t>
            </a:r>
            <a:r>
              <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rPr>
              <a:t> program</a:t>
            </a:r>
            <a:endPar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30EBB1BD-3B24-442D-08DC-911E309A1C66}"/>
              </a:ext>
              <a:ext uri="{C183D7F6-B498-43B3-948B-1728B52AA6E4}">
                <adec:decorative xmlns:adec="http://schemas.microsoft.com/office/drawing/2017/decorative" val="1"/>
              </a:ext>
            </a:extLst>
          </p:cNvPr>
          <p:cNvSpPr/>
          <p:nvPr/>
        </p:nvSpPr>
        <p:spPr>
          <a:xfrm>
            <a:off x="6210005" y="1868026"/>
            <a:ext cx="5317315" cy="4495908"/>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 name="Picture 3" descr="A group of men holding up a trophy">
            <a:extLst>
              <a:ext uri="{FF2B5EF4-FFF2-40B4-BE49-F238E27FC236}">
                <a16:creationId xmlns:a16="http://schemas.microsoft.com/office/drawing/2014/main" id="{32A8BFD2-AC5C-6690-9571-1833E9AF7CD6}"/>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6596122" y="1635331"/>
            <a:ext cx="4565521" cy="3043681"/>
          </a:xfrm>
          <a:prstGeom prst="rect">
            <a:avLst/>
          </a:prstGeom>
        </p:spPr>
      </p:pic>
      <p:sp>
        <p:nvSpPr>
          <p:cNvPr id="5" name="TextBox 4" descr="Garver has contracted more than $35.8 Million To diverse and historically underutilized businesses over the past three years&#10;">
            <a:extLst>
              <a:ext uri="{FF2B5EF4-FFF2-40B4-BE49-F238E27FC236}">
                <a16:creationId xmlns:a16="http://schemas.microsoft.com/office/drawing/2014/main" id="{7B9333E4-5F7E-2DCE-1992-8B3E562CE2FD}"/>
              </a:ext>
            </a:extLst>
          </p:cNvPr>
          <p:cNvSpPr txBox="1"/>
          <p:nvPr/>
        </p:nvSpPr>
        <p:spPr>
          <a:xfrm>
            <a:off x="6370982" y="4761823"/>
            <a:ext cx="4969566" cy="1592171"/>
          </a:xfrm>
          <a:prstGeom prst="rect">
            <a:avLst/>
          </a:prstGeom>
          <a:no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arver has contracted more th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35.8 m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o diverse and historically underutilized businesses over the past three years.</a:t>
            </a:r>
          </a:p>
        </p:txBody>
      </p:sp>
      <p:pic>
        <p:nvPicPr>
          <p:cNvPr id="17" name="Picture 16" descr="Garver Logo">
            <a:extLst>
              <a:ext uri="{FF2B5EF4-FFF2-40B4-BE49-F238E27FC236}">
                <a16:creationId xmlns:a16="http://schemas.microsoft.com/office/drawing/2014/main" id="{55D3B739-9BC0-135B-D1F7-206EA865AC1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21096" y="301350"/>
            <a:ext cx="657656" cy="657656"/>
          </a:xfrm>
          <a:prstGeom prst="rect">
            <a:avLst/>
          </a:prstGeom>
        </p:spPr>
      </p:pic>
      <p:pic>
        <p:nvPicPr>
          <p:cNvPr id="9" name="Picture 8" descr="Garver Partners Logo">
            <a:extLst>
              <a:ext uri="{FF2B5EF4-FFF2-40B4-BE49-F238E27FC236}">
                <a16:creationId xmlns:a16="http://schemas.microsoft.com/office/drawing/2014/main" id="{439E4520-ABB0-86D6-3E03-78B96D01BD7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6490" y="5014566"/>
            <a:ext cx="3119258" cy="1609248"/>
          </a:xfrm>
          <a:prstGeom prst="rect">
            <a:avLst/>
          </a:prstGeom>
        </p:spPr>
      </p:pic>
    </p:spTree>
    <p:extLst>
      <p:ext uri="{BB962C8B-B14F-4D97-AF65-F5344CB8AC3E}">
        <p14:creationId xmlns:p14="http://schemas.microsoft.com/office/powerpoint/2010/main" val="339523466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descr="Upcoming Opportunities – Updated Webpage">
            <a:extLst>
              <a:ext uri="{FF2B5EF4-FFF2-40B4-BE49-F238E27FC236}">
                <a16:creationId xmlns:a16="http://schemas.microsoft.com/office/drawing/2014/main" id="{DEE8722E-EC65-0938-25FF-59F6BB79024C}"/>
              </a:ext>
              <a:ext uri="{C183D7F6-B498-43B3-948B-1728B52AA6E4}">
                <adec:decorative xmlns:adec="http://schemas.microsoft.com/office/drawing/2017/decorative" val="0"/>
              </a:ext>
            </a:extLst>
          </p:cNvPr>
          <p:cNvSpPr txBox="1">
            <a:spLocks noGrp="1"/>
          </p:cNvSpPr>
          <p:nvPr>
            <p:ph type="title" idx="4294967295"/>
          </p:nvPr>
        </p:nvSpPr>
        <p:spPr>
          <a:xfrm>
            <a:off x="759717" y="296416"/>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2026 BDTA Programming</a:t>
            </a:r>
          </a:p>
        </p:txBody>
      </p:sp>
      <p:sp>
        <p:nvSpPr>
          <p:cNvPr id="12" name="TextBox 11">
            <a:extLst>
              <a:ext uri="{FF2B5EF4-FFF2-40B4-BE49-F238E27FC236}">
                <a16:creationId xmlns:a16="http://schemas.microsoft.com/office/drawing/2014/main" id="{D516A2BE-425A-AFD9-D2E2-5A339EA499FD}"/>
              </a:ext>
            </a:extLst>
          </p:cNvPr>
          <p:cNvSpPr txBox="1"/>
          <p:nvPr/>
        </p:nvSpPr>
        <p:spPr>
          <a:xfrm>
            <a:off x="797382" y="874266"/>
            <a:ext cx="7488936" cy="400110"/>
          </a:xfrm>
          <a:prstGeom prst="rect">
            <a:avLst/>
          </a:prstGeom>
          <a:noFill/>
        </p:spPr>
        <p:txBody>
          <a:bodyPr wrap="square" rtlCol="0">
            <a:spAutoFit/>
          </a:bodyPr>
          <a:lstStyle/>
          <a:p>
            <a:r>
              <a:rPr lang="en-US" sz="2000" b="1">
                <a:latin typeface="Calibri" panose="020F0502020204030204" pitchFamily="34" charset="0"/>
                <a:ea typeface="Calibri" panose="020F0502020204030204" pitchFamily="34" charset="0"/>
                <a:cs typeface="Calibri" panose="020F0502020204030204" pitchFamily="34" charset="0"/>
              </a:rPr>
              <a:t>CONCOURSE – ARCHITECTURE, ENGINEERING, CONSTRUCTION (AEC)</a:t>
            </a:r>
          </a:p>
        </p:txBody>
      </p:sp>
      <p:pic>
        <p:nvPicPr>
          <p:cNvPr id="4" name="Picture 3" descr="Concourse 100 logo it is a orange circle with a smaller white circle inside. it has two planes and three stars. ">
            <a:extLst>
              <a:ext uri="{FF2B5EF4-FFF2-40B4-BE49-F238E27FC236}">
                <a16:creationId xmlns:a16="http://schemas.microsoft.com/office/drawing/2014/main" id="{2DDC92BB-5146-AEEE-FAE8-066426D09DF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4438" y="1326265"/>
            <a:ext cx="1821378" cy="1828800"/>
          </a:xfrm>
          <a:prstGeom prst="rect">
            <a:avLst/>
          </a:prstGeom>
        </p:spPr>
      </p:pic>
      <p:sp>
        <p:nvSpPr>
          <p:cNvPr id="14" name="TextBox 13">
            <a:extLst>
              <a:ext uri="{FF2B5EF4-FFF2-40B4-BE49-F238E27FC236}">
                <a16:creationId xmlns:a16="http://schemas.microsoft.com/office/drawing/2014/main" id="{2CD8E8CF-46D6-29AA-A058-B5D33761AA57}"/>
              </a:ext>
            </a:extLst>
          </p:cNvPr>
          <p:cNvSpPr txBox="1"/>
          <p:nvPr/>
        </p:nvSpPr>
        <p:spPr>
          <a:xfrm>
            <a:off x="1314671" y="3258844"/>
            <a:ext cx="1209082" cy="400110"/>
          </a:xfrm>
          <a:prstGeom prst="rect">
            <a:avLst/>
          </a:prstGeom>
          <a:noFill/>
        </p:spPr>
        <p:txBody>
          <a:bodyPr wrap="square"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Cohort 5</a:t>
            </a:r>
          </a:p>
        </p:txBody>
      </p:sp>
      <p:pic>
        <p:nvPicPr>
          <p:cNvPr id="8" name="Picture 7" descr="Concourse 200 logo it is a grey circle with a smaller white circle inside. it has two planes and three stars. ">
            <a:extLst>
              <a:ext uri="{FF2B5EF4-FFF2-40B4-BE49-F238E27FC236}">
                <a16:creationId xmlns:a16="http://schemas.microsoft.com/office/drawing/2014/main" id="{0621DC5F-EC52-C0A0-48D2-739E2FA1AA9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83943" y="1326265"/>
            <a:ext cx="1821378" cy="1828800"/>
          </a:xfrm>
          <a:prstGeom prst="rect">
            <a:avLst/>
          </a:prstGeom>
        </p:spPr>
      </p:pic>
      <p:sp>
        <p:nvSpPr>
          <p:cNvPr id="15" name="TextBox 14">
            <a:extLst>
              <a:ext uri="{FF2B5EF4-FFF2-40B4-BE49-F238E27FC236}">
                <a16:creationId xmlns:a16="http://schemas.microsoft.com/office/drawing/2014/main" id="{DCB362D8-B956-0F48-8A27-D1D7B452E9FB}"/>
              </a:ext>
            </a:extLst>
          </p:cNvPr>
          <p:cNvSpPr txBox="1"/>
          <p:nvPr/>
        </p:nvSpPr>
        <p:spPr>
          <a:xfrm>
            <a:off x="3994176" y="3258844"/>
            <a:ext cx="1209082" cy="400110"/>
          </a:xfrm>
          <a:prstGeom prst="rect">
            <a:avLst/>
          </a:prstGeom>
          <a:noFill/>
        </p:spPr>
        <p:txBody>
          <a:bodyPr wrap="square"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Cohort 4</a:t>
            </a:r>
          </a:p>
        </p:txBody>
      </p:sp>
      <p:pic>
        <p:nvPicPr>
          <p:cNvPr id="10" name="Picture 9" descr="Concourse 300 logo it is a purple circle with a smaller white circle inside. it has two planes and three stars. ">
            <a:extLst>
              <a:ext uri="{FF2B5EF4-FFF2-40B4-BE49-F238E27FC236}">
                <a16:creationId xmlns:a16="http://schemas.microsoft.com/office/drawing/2014/main" id="{CB2C6AAF-7559-3395-4B15-A60906C09E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86883" y="1326265"/>
            <a:ext cx="1821378" cy="1828800"/>
          </a:xfrm>
          <a:prstGeom prst="rect">
            <a:avLst/>
          </a:prstGeom>
        </p:spPr>
      </p:pic>
      <p:sp>
        <p:nvSpPr>
          <p:cNvPr id="16" name="TextBox 15">
            <a:extLst>
              <a:ext uri="{FF2B5EF4-FFF2-40B4-BE49-F238E27FC236}">
                <a16:creationId xmlns:a16="http://schemas.microsoft.com/office/drawing/2014/main" id="{4A4BCDAD-413A-7033-C22B-C0C4DEC3C500}"/>
              </a:ext>
            </a:extLst>
          </p:cNvPr>
          <p:cNvSpPr txBox="1"/>
          <p:nvPr/>
        </p:nvSpPr>
        <p:spPr>
          <a:xfrm>
            <a:off x="6697116" y="3258844"/>
            <a:ext cx="1209082" cy="400110"/>
          </a:xfrm>
          <a:prstGeom prst="rect">
            <a:avLst/>
          </a:prstGeom>
          <a:noFill/>
        </p:spPr>
        <p:txBody>
          <a:bodyPr wrap="square"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Pilot</a:t>
            </a:r>
          </a:p>
        </p:txBody>
      </p:sp>
      <p:sp>
        <p:nvSpPr>
          <p:cNvPr id="13" name="TextBox 12">
            <a:extLst>
              <a:ext uri="{FF2B5EF4-FFF2-40B4-BE49-F238E27FC236}">
                <a16:creationId xmlns:a16="http://schemas.microsoft.com/office/drawing/2014/main" id="{62A584D3-2939-5CEB-3268-0D6B187E9B69}"/>
              </a:ext>
            </a:extLst>
          </p:cNvPr>
          <p:cNvSpPr txBox="1"/>
          <p:nvPr/>
        </p:nvSpPr>
        <p:spPr>
          <a:xfrm>
            <a:off x="863486" y="3866512"/>
            <a:ext cx="7488936" cy="400110"/>
          </a:xfrm>
          <a:prstGeom prst="rect">
            <a:avLst/>
          </a:prstGeom>
          <a:noFill/>
        </p:spPr>
        <p:txBody>
          <a:bodyPr wrap="square" rtlCol="0">
            <a:spAutoFit/>
          </a:bodyPr>
          <a:lstStyle/>
          <a:p>
            <a:r>
              <a:rPr lang="en-US" sz="2000" b="1">
                <a:latin typeface="Calibri" panose="020F0502020204030204" pitchFamily="34" charset="0"/>
                <a:ea typeface="Calibri" panose="020F0502020204030204" pitchFamily="34" charset="0"/>
                <a:cs typeface="Calibri" panose="020F0502020204030204" pitchFamily="34" charset="0"/>
              </a:rPr>
              <a:t>CONCESSIONS – FOOD, BEVERAGE, RETAIL (FBR)</a:t>
            </a:r>
          </a:p>
        </p:txBody>
      </p:sp>
      <p:pic>
        <p:nvPicPr>
          <p:cNvPr id="3" name="Picture 2" descr="Concessions 101 logo it is a purple circle with a smaller white circle inside. it has two planes and three stars. ">
            <a:extLst>
              <a:ext uri="{FF2B5EF4-FFF2-40B4-BE49-F238E27FC236}">
                <a16:creationId xmlns:a16="http://schemas.microsoft.com/office/drawing/2014/main" id="{B7E8F1E1-7100-EFE1-9CFF-3276BE4DE25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4438" y="4342338"/>
            <a:ext cx="1829548" cy="1828800"/>
          </a:xfrm>
          <a:prstGeom prst="rect">
            <a:avLst/>
          </a:prstGeom>
        </p:spPr>
      </p:pic>
      <p:sp>
        <p:nvSpPr>
          <p:cNvPr id="17" name="TextBox 16">
            <a:extLst>
              <a:ext uri="{FF2B5EF4-FFF2-40B4-BE49-F238E27FC236}">
                <a16:creationId xmlns:a16="http://schemas.microsoft.com/office/drawing/2014/main" id="{39BCD5B8-2210-3C9D-0978-DC68E8A40B8E}"/>
              </a:ext>
            </a:extLst>
          </p:cNvPr>
          <p:cNvSpPr txBox="1"/>
          <p:nvPr/>
        </p:nvSpPr>
        <p:spPr>
          <a:xfrm>
            <a:off x="1314671" y="6238072"/>
            <a:ext cx="1209082" cy="400110"/>
          </a:xfrm>
          <a:prstGeom prst="rect">
            <a:avLst/>
          </a:prstGeom>
          <a:noFill/>
        </p:spPr>
        <p:txBody>
          <a:bodyPr wrap="square"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Cohort 3</a:t>
            </a:r>
          </a:p>
        </p:txBody>
      </p:sp>
      <p:pic>
        <p:nvPicPr>
          <p:cNvPr id="5" name="Picture 4" descr="Concessions 201 logo it is a orange circle with a smaller white circle inside. it has two planes and three stars. ">
            <a:extLst>
              <a:ext uri="{FF2B5EF4-FFF2-40B4-BE49-F238E27FC236}">
                <a16:creationId xmlns:a16="http://schemas.microsoft.com/office/drawing/2014/main" id="{0E5FB3F6-3B7A-EE5B-3436-D877AF3C53F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84317" y="4342338"/>
            <a:ext cx="1828800" cy="1828800"/>
          </a:xfrm>
          <a:prstGeom prst="rect">
            <a:avLst/>
          </a:prstGeom>
        </p:spPr>
      </p:pic>
      <p:sp>
        <p:nvSpPr>
          <p:cNvPr id="18" name="TextBox 17">
            <a:extLst>
              <a:ext uri="{FF2B5EF4-FFF2-40B4-BE49-F238E27FC236}">
                <a16:creationId xmlns:a16="http://schemas.microsoft.com/office/drawing/2014/main" id="{FBAE1973-FE18-0ED5-B6FC-D5FD55BEBEC4}"/>
              </a:ext>
            </a:extLst>
          </p:cNvPr>
          <p:cNvSpPr txBox="1"/>
          <p:nvPr/>
        </p:nvSpPr>
        <p:spPr>
          <a:xfrm>
            <a:off x="3994176" y="6246854"/>
            <a:ext cx="1209082" cy="400110"/>
          </a:xfrm>
          <a:prstGeom prst="rect">
            <a:avLst/>
          </a:prstGeom>
          <a:noFill/>
        </p:spPr>
        <p:txBody>
          <a:bodyPr wrap="square" rtlCol="0">
            <a:spAutoFit/>
          </a:bodyPr>
          <a:lstStyle/>
          <a:p>
            <a:pPr algn="ctr"/>
            <a:r>
              <a:rPr lang="en-US" sz="2000" b="1">
                <a:latin typeface="Calibri" panose="020F0502020204030204" pitchFamily="34" charset="0"/>
                <a:ea typeface="Calibri" panose="020F0502020204030204" pitchFamily="34" charset="0"/>
                <a:cs typeface="Calibri" panose="020F0502020204030204" pitchFamily="34" charset="0"/>
              </a:rPr>
              <a:t>Cohort 2</a:t>
            </a:r>
          </a:p>
        </p:txBody>
      </p:sp>
      <p:sp>
        <p:nvSpPr>
          <p:cNvPr id="19" name="Rectangle 18">
            <a:extLst>
              <a:ext uri="{FF2B5EF4-FFF2-40B4-BE49-F238E27FC236}">
                <a16:creationId xmlns:a16="http://schemas.microsoft.com/office/drawing/2014/main" id="{86B77466-3877-0B8D-63C4-24D84C094809}"/>
              </a:ext>
              <a:ext uri="{C183D7F6-B498-43B3-948B-1728B52AA6E4}">
                <adec:decorative xmlns:adec="http://schemas.microsoft.com/office/drawing/2017/decorative" val="1"/>
              </a:ext>
            </a:extLst>
          </p:cNvPr>
          <p:cNvSpPr/>
          <p:nvPr/>
        </p:nvSpPr>
        <p:spPr>
          <a:xfrm>
            <a:off x="8666438" y="0"/>
            <a:ext cx="3525562" cy="6858000"/>
          </a:xfrm>
          <a:prstGeom prst="rect">
            <a:avLst/>
          </a:prstGeom>
          <a:solidFill>
            <a:srgbClr val="44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qr code for the 2026 BDTA applications ">
            <a:extLst>
              <a:ext uri="{FF2B5EF4-FFF2-40B4-BE49-F238E27FC236}">
                <a16:creationId xmlns:a16="http://schemas.microsoft.com/office/drawing/2014/main" id="{900A9079-5F96-292D-AC1E-8D5DF54B97C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99499" y="611146"/>
            <a:ext cx="3259439" cy="3259439"/>
          </a:xfrm>
          <a:prstGeom prst="rect">
            <a:avLst/>
          </a:prstGeom>
        </p:spPr>
      </p:pic>
      <p:sp>
        <p:nvSpPr>
          <p:cNvPr id="20" name="TextBox 19">
            <a:extLst>
              <a:ext uri="{FF2B5EF4-FFF2-40B4-BE49-F238E27FC236}">
                <a16:creationId xmlns:a16="http://schemas.microsoft.com/office/drawing/2014/main" id="{D91B54DA-52FB-AF7B-AB90-E3656246B701}"/>
              </a:ext>
            </a:extLst>
          </p:cNvPr>
          <p:cNvSpPr txBox="1"/>
          <p:nvPr/>
        </p:nvSpPr>
        <p:spPr>
          <a:xfrm>
            <a:off x="8976297" y="3692309"/>
            <a:ext cx="2942894" cy="2554545"/>
          </a:xfrm>
          <a:prstGeom prst="rect">
            <a:avLst/>
          </a:prstGeom>
          <a:noFill/>
        </p:spPr>
        <p:txBody>
          <a:bodyPr wrap="square" rtlCol="0">
            <a:spAutoFit/>
          </a:bodyPr>
          <a:lstStyle/>
          <a:p>
            <a:pPr marL="0" lvl="1" algn="ctr"/>
            <a:r>
              <a:rPr lang="en-US" sz="5000" b="1">
                <a:solidFill>
                  <a:srgbClr val="C3D831"/>
                </a:solidFill>
                <a:latin typeface="Calibri" panose="020F0502020204030204" pitchFamily="34" charset="0"/>
                <a:ea typeface="Calibri" panose="020F0502020204030204" pitchFamily="34" charset="0"/>
                <a:cs typeface="Calibri" panose="020F0502020204030204" pitchFamily="34" charset="0"/>
              </a:rPr>
              <a:t>APPLY TODAY</a:t>
            </a:r>
          </a:p>
          <a:p>
            <a:pPr marL="0" lvl="1" algn="ctr"/>
            <a:endParaRPr lang="en-US" sz="2000" b="1">
              <a:latin typeface="Calibri" panose="020F0502020204030204" pitchFamily="34" charset="0"/>
              <a:ea typeface="Calibri" panose="020F0502020204030204" pitchFamily="34" charset="0"/>
              <a:cs typeface="Calibri" panose="020F0502020204030204" pitchFamily="34" charset="0"/>
            </a:endParaRPr>
          </a:p>
          <a:p>
            <a:pPr marL="0" lvl="1"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2026 Applications </a:t>
            </a:r>
          </a:p>
          <a:p>
            <a:pPr marL="0" lvl="1"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Are Now Open</a:t>
            </a:r>
          </a:p>
        </p:txBody>
      </p:sp>
    </p:spTree>
    <p:extLst>
      <p:ext uri="{BB962C8B-B14F-4D97-AF65-F5344CB8AC3E}">
        <p14:creationId xmlns:p14="http://schemas.microsoft.com/office/powerpoint/2010/main" val="13964930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459A6-0CD2-9E74-FCB4-B05B4FF8DA8F}"/>
            </a:ext>
          </a:extLst>
        </p:cNvPr>
        <p:cNvGrpSpPr/>
        <p:nvPr/>
      </p:nvGrpSpPr>
      <p:grpSpPr>
        <a:xfrm>
          <a:off x="0" y="0"/>
          <a:ext cx="0" cy="0"/>
          <a:chOff x="0" y="0"/>
          <a:chExt cx="0" cy="0"/>
        </a:xfrm>
      </p:grpSpPr>
      <p:sp>
        <p:nvSpPr>
          <p:cNvPr id="40" name="Title 76">
            <a:extLst>
              <a:ext uri="{FF2B5EF4-FFF2-40B4-BE49-F238E27FC236}">
                <a16:creationId xmlns:a16="http://schemas.microsoft.com/office/drawing/2014/main" id="{DCE38F7F-D210-4BC8-8A1D-D04C4BFFA4E4}"/>
              </a:ext>
            </a:extLst>
          </p:cNvPr>
          <p:cNvSpPr>
            <a:spLocks noGrp="1"/>
          </p:cNvSpPr>
          <p:nvPr>
            <p:ph type="ctrTitle"/>
          </p:nvPr>
        </p:nvSpPr>
        <p:spPr>
          <a:xfrm>
            <a:off x="0" y="-419358"/>
            <a:ext cx="12192000" cy="251325"/>
          </a:xfrm>
        </p:spPr>
        <p:txBody>
          <a:bodyPr anchor="t">
            <a:normAutofit fontScale="90000"/>
          </a:bodyPr>
          <a:lstStyle/>
          <a:p>
            <a:pPr algn="l"/>
            <a:r>
              <a:rPr lang="en-US" sz="1600"/>
              <a:t>Garver Partnership Opportunities and Project Opportunities</a:t>
            </a:r>
          </a:p>
        </p:txBody>
      </p:sp>
      <p:sp>
        <p:nvSpPr>
          <p:cNvPr id="9" name="Rectangle 8" descr="A picture of Denver International Airport">
            <a:extLst>
              <a:ext uri="{FF2B5EF4-FFF2-40B4-BE49-F238E27FC236}">
                <a16:creationId xmlns:a16="http://schemas.microsoft.com/office/drawing/2014/main" id="{477664C8-250D-28D7-A4DF-FD54A35D856F}"/>
              </a:ext>
            </a:extLst>
          </p:cNvPr>
          <p:cNvSpPr/>
          <p:nvPr/>
        </p:nvSpPr>
        <p:spPr>
          <a:xfrm>
            <a:off x="627320" y="606056"/>
            <a:ext cx="4855536" cy="3040911"/>
          </a:xfrm>
          <a:prstGeom prst="rect">
            <a:avLst/>
          </a:prstGeom>
          <a:blipFill>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8D92A313-D64A-62B4-9CF4-4D208E534E8D}"/>
              </a:ext>
              <a:ext uri="{C183D7F6-B498-43B3-948B-1728B52AA6E4}">
                <adec:decorative xmlns:adec="http://schemas.microsoft.com/office/drawing/2017/decorative" val="1"/>
              </a:ext>
            </a:extLst>
          </p:cNvPr>
          <p:cNvSpPr/>
          <p:nvPr/>
        </p:nvSpPr>
        <p:spPr>
          <a:xfrm>
            <a:off x="-1" y="3333439"/>
            <a:ext cx="5858541" cy="613908"/>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descr="Partnership Opportunities&#10;">
            <a:extLst>
              <a:ext uri="{FF2B5EF4-FFF2-40B4-BE49-F238E27FC236}">
                <a16:creationId xmlns:a16="http://schemas.microsoft.com/office/drawing/2014/main" id="{3B23FB4F-0086-5A41-79CC-D89317EA20BA}"/>
              </a:ext>
            </a:extLst>
          </p:cNvPr>
          <p:cNvSpPr txBox="1"/>
          <p:nvPr/>
        </p:nvSpPr>
        <p:spPr>
          <a:xfrm>
            <a:off x="536490" y="3341306"/>
            <a:ext cx="496960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Partnership Opportunities</a:t>
            </a:r>
          </a:p>
        </p:txBody>
      </p:sp>
      <p:sp>
        <p:nvSpPr>
          <p:cNvPr id="5" name="TextBox 4" descr="Civil Design&#10;MEP Design&#10;Environmental/&#10;Sustainability Services&#10;Survey/SUE/&#10;Geotechnical&#10;Project Controls/Cost Estimating&#10;Construction Phase Services">
            <a:extLst>
              <a:ext uri="{FF2B5EF4-FFF2-40B4-BE49-F238E27FC236}">
                <a16:creationId xmlns:a16="http://schemas.microsoft.com/office/drawing/2014/main" id="{1053EE41-1BD3-A343-F16F-D9B73C797C34}"/>
              </a:ext>
            </a:extLst>
          </p:cNvPr>
          <p:cNvSpPr txBox="1"/>
          <p:nvPr/>
        </p:nvSpPr>
        <p:spPr>
          <a:xfrm>
            <a:off x="536490" y="4088243"/>
            <a:ext cx="5207086" cy="2028843"/>
          </a:xfrm>
          <a:prstGeom prst="rect">
            <a:avLst/>
          </a:prstGeom>
          <a:noFill/>
        </p:spPr>
        <p:txBody>
          <a:bodyPr wrap="square" lIns="91440" tIns="45720" rIns="91440" bIns="45720" numCol="2" anchor="t">
            <a:noAutofit/>
          </a:bodyPr>
          <a:lstStyle/>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ivil Design</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rPr>
              <a:t>Architectural </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MEP Design</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Environmental /</a:t>
            </a:r>
            <a:b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Sustainability Services</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endParaRP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Survey / SUE /</a:t>
            </a:r>
            <a:b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Geotechnical</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ject Controls / Cost Estimating</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nstruction Phase Services</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descr="A picture of a United Airlines plane at Denver International Airport">
            <a:extLst>
              <a:ext uri="{FF2B5EF4-FFF2-40B4-BE49-F238E27FC236}">
                <a16:creationId xmlns:a16="http://schemas.microsoft.com/office/drawing/2014/main" id="{EFCD29BD-5393-A986-289E-29355B81B273}"/>
              </a:ext>
            </a:extLst>
          </p:cNvPr>
          <p:cNvSpPr/>
          <p:nvPr/>
        </p:nvSpPr>
        <p:spPr>
          <a:xfrm>
            <a:off x="6709144" y="606056"/>
            <a:ext cx="4855536" cy="3040911"/>
          </a:xfrm>
          <a:prstGeom prst="rect">
            <a:avLst/>
          </a:prstGeom>
          <a:blipFill>
            <a:blip r:embed="rId4" cstate="email">
              <a:extLst>
                <a:ext uri="{28A0092B-C50C-407E-A947-70E740481C1C}">
                  <a14:useLocalDpi xmlns:a14="http://schemas.microsoft.com/office/drawing/2010/main"/>
                </a:ext>
              </a:extLst>
            </a:blip>
            <a:srcRect/>
            <a:stretch>
              <a:fillRect b="1005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A5C875A6-D827-54ED-8872-93E331800D45}"/>
              </a:ext>
              <a:ext uri="{C183D7F6-B498-43B3-948B-1728B52AA6E4}">
                <adec:decorative xmlns:adec="http://schemas.microsoft.com/office/drawing/2017/decorative" val="1"/>
              </a:ext>
            </a:extLst>
          </p:cNvPr>
          <p:cNvSpPr/>
          <p:nvPr/>
        </p:nvSpPr>
        <p:spPr>
          <a:xfrm>
            <a:off x="6333462" y="3333439"/>
            <a:ext cx="5858541" cy="613908"/>
          </a:xfrm>
          <a:prstGeom prst="rect">
            <a:avLst/>
          </a:prstGeom>
          <a:solidFill>
            <a:srgbClr val="782F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descr="Project Opportunities&#10;">
            <a:extLst>
              <a:ext uri="{FF2B5EF4-FFF2-40B4-BE49-F238E27FC236}">
                <a16:creationId xmlns:a16="http://schemas.microsoft.com/office/drawing/2014/main" id="{378FC2DD-3A62-A907-C8BC-C5220283952E}"/>
              </a:ext>
            </a:extLst>
          </p:cNvPr>
          <p:cNvSpPr txBox="1"/>
          <p:nvPr/>
        </p:nvSpPr>
        <p:spPr>
          <a:xfrm>
            <a:off x="6626970" y="3341306"/>
            <a:ext cx="496960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Roboto Black" panose="02000000000000000000" pitchFamily="2" charset="0"/>
                <a:ea typeface="Roboto Black" panose="02000000000000000000" pitchFamily="2" charset="0"/>
                <a:cs typeface="+mn-cs"/>
              </a:rPr>
              <a:t>Project Opportunities</a:t>
            </a:r>
          </a:p>
        </p:txBody>
      </p:sp>
      <p:sp>
        <p:nvSpPr>
          <p:cNvPr id="28" name="TextBox 27" descr="United Airlines - Concourse B Regional Gate Reconfiguration at DEN&#10;United Airlines - GSE Charging Stations &#10;DEN C-West Expansion Program Management&#10;">
            <a:extLst>
              <a:ext uri="{FF2B5EF4-FFF2-40B4-BE49-F238E27FC236}">
                <a16:creationId xmlns:a16="http://schemas.microsoft.com/office/drawing/2014/main" id="{39F0ECBC-D9DE-CD11-98FA-96A0432BF73B}"/>
              </a:ext>
            </a:extLst>
          </p:cNvPr>
          <p:cNvSpPr txBox="1"/>
          <p:nvPr/>
        </p:nvSpPr>
        <p:spPr>
          <a:xfrm>
            <a:off x="6626971" y="4088243"/>
            <a:ext cx="4726830" cy="2062103"/>
          </a:xfrm>
          <a:prstGeom prst="rect">
            <a:avLst/>
          </a:prstGeom>
          <a:noFill/>
        </p:spPr>
        <p:txBody>
          <a:bodyPr wrap="square" lIns="91440" tIns="45720" rIns="91440" bIns="45720" anchor="t">
            <a:spAutoFit/>
          </a:bodyPr>
          <a:lstStyle/>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rPr>
              <a:t>United Airlines - Concourse B Regional Gate Reconfiguration at DEN</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DEN C-West Expansion Program Management</a:t>
            </a:r>
          </a:p>
          <a:p>
            <a:pPr marL="182880" marR="0" lvl="0" indent="-18288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E8E8E8">
                    <a:lumMod val="25000"/>
                  </a:srgbClr>
                </a:solidFill>
                <a:effectLst/>
                <a:uLnTx/>
                <a:uFillTx/>
                <a:latin typeface="Open Sans"/>
                <a:ea typeface="Open Sans"/>
                <a:cs typeface="Open Sans"/>
              </a:rPr>
              <a:t>DEN On-Call Infrastructure Design and A/E Services</a:t>
            </a:r>
            <a:endParaRPr kumimoji="0" lang="en-US" sz="1800" b="0" i="0" u="none" strike="noStrike" kern="1200" cap="none" spc="0" normalizeH="0" baseline="0" noProof="0">
              <a:ln>
                <a:noFill/>
              </a:ln>
              <a:solidFill>
                <a:srgbClr val="E8E8E8">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descr="Garver Logo">
            <a:extLst>
              <a:ext uri="{FF2B5EF4-FFF2-40B4-BE49-F238E27FC236}">
                <a16:creationId xmlns:a16="http://schemas.microsoft.com/office/drawing/2014/main" id="{4E1943C5-BD07-4EC1-38BE-A4B946320DC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21096" y="5788258"/>
            <a:ext cx="657656" cy="657656"/>
          </a:xfrm>
          <a:prstGeom prst="rect">
            <a:avLst/>
          </a:prstGeom>
        </p:spPr>
      </p:pic>
    </p:spTree>
    <p:extLst>
      <p:ext uri="{BB962C8B-B14F-4D97-AF65-F5344CB8AC3E}">
        <p14:creationId xmlns:p14="http://schemas.microsoft.com/office/powerpoint/2010/main" val="233525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descr="Event Follow Up&#10;&#10;This information will be shared with all attendees in a follow-up email from Eventbrite.com, which will also include the registration list and presentations.&#10;Additionally, it will be posted on our website at www.flydenver.com/business-and-community/commerce-hub/outreach-and-engagement/#pastevents within the next 3 business days. &#10;&#10;">
            <a:extLst>
              <a:ext uri="{FF2B5EF4-FFF2-40B4-BE49-F238E27FC236}">
                <a16:creationId xmlns:a16="http://schemas.microsoft.com/office/drawing/2014/main" id="{945DF1C9-A0C7-0C8C-F344-10A0D20C6157}"/>
              </a:ext>
              <a:ext uri="{C183D7F6-B498-43B3-948B-1728B52AA6E4}">
                <adec:decorative xmlns:adec="http://schemas.microsoft.com/office/drawing/2017/decorative" val="0"/>
              </a:ext>
            </a:extLst>
          </p:cNvPr>
          <p:cNvSpPr>
            <a:spLocks noGrp="1"/>
          </p:cNvSpPr>
          <p:nvPr>
            <p:ph type="title" idx="4294967295"/>
          </p:nvPr>
        </p:nvSpPr>
        <p:spPr>
          <a:xfrm>
            <a:off x="770439" y="4965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i="0" u="none" strike="noStrike" kern="1200" cap="none" spc="0" normalizeH="0" baseline="0" noProof="0">
                <a:ln>
                  <a:noFill/>
                </a:ln>
                <a:solidFill>
                  <a:srgbClr val="440099"/>
                </a:solidFill>
                <a:effectLst/>
                <a:uLnTx/>
                <a:uFillTx/>
                <a:latin typeface="+mn-lt"/>
                <a:ea typeface="+mn-ea"/>
                <a:cs typeface="+mn-cs"/>
              </a:rPr>
              <a:t>Event Follow Up </a:t>
            </a:r>
          </a:p>
        </p:txBody>
      </p:sp>
      <p:sp>
        <p:nvSpPr>
          <p:cNvPr id="7" name="Text Placeholder 6">
            <a:extLst>
              <a:ext uri="{FF2B5EF4-FFF2-40B4-BE49-F238E27FC236}">
                <a16:creationId xmlns:a16="http://schemas.microsoft.com/office/drawing/2014/main" id="{461BFA58-C8F0-4505-02F8-6539579307D8}"/>
              </a:ext>
              <a:ext uri="{C183D7F6-B498-43B3-948B-1728B52AA6E4}">
                <adec:decorative xmlns:adec="http://schemas.microsoft.com/office/drawing/2017/decorative" val="1"/>
              </a:ext>
            </a:extLst>
          </p:cNvPr>
          <p:cNvSpPr>
            <a:spLocks noGrp="1"/>
          </p:cNvSpPr>
          <p:nvPr>
            <p:ph type="body" sz="quarter" idx="13"/>
          </p:nvPr>
        </p:nvSpPr>
        <p:spPr>
          <a:xfrm>
            <a:off x="769938" y="1555750"/>
            <a:ext cx="9720948" cy="578318"/>
          </a:xfrm>
        </p:spPr>
        <p:txBody>
          <a:bodyPr/>
          <a:lstStyle/>
          <a:p>
            <a:r>
              <a:rPr lang="en-US" sz="2200"/>
              <a:t>This information will be shared with all attendees in a follow-up email from </a:t>
            </a:r>
            <a:r>
              <a:rPr lang="en-US" sz="2200" b="1"/>
              <a:t>Eventbrite.com</a:t>
            </a:r>
            <a:r>
              <a:rPr lang="en-US" sz="2200"/>
              <a:t>, which will also include the registration list and presentations.</a:t>
            </a:r>
          </a:p>
          <a:p>
            <a:r>
              <a:rPr lang="en-US" sz="2200"/>
              <a:t>Additionally, it will be posted on our website at </a:t>
            </a:r>
            <a:r>
              <a:rPr lang="en-US" sz="2200">
                <a:hlinkClick r:id="rId3"/>
              </a:rPr>
              <a:t>www.flydenver.com/business-and-community/outreach-and-engagement/#pastevents</a:t>
            </a:r>
            <a:r>
              <a:rPr lang="en-US" sz="2200"/>
              <a:t> within the next 3 business days. </a:t>
            </a:r>
          </a:p>
          <a:p>
            <a:endParaRPr lang="en-US"/>
          </a:p>
          <a:p>
            <a:endParaRPr lang="en-US"/>
          </a:p>
          <a:p>
            <a:pPr algn="ctr"/>
            <a:r>
              <a:rPr lang="en-US" sz="2400">
                <a:solidFill>
                  <a:srgbClr val="E35B2A"/>
                </a:solidFill>
              </a:rPr>
              <a:t>Post-Event Survey</a:t>
            </a:r>
          </a:p>
        </p:txBody>
      </p:sp>
      <p:pic>
        <p:nvPicPr>
          <p:cNvPr id="1026" name="Picture 2" descr="A qr code with a few black squares">
            <a:extLst>
              <a:ext uri="{FF2B5EF4-FFF2-40B4-BE49-F238E27FC236}">
                <a16:creationId xmlns:a16="http://schemas.microsoft.com/office/drawing/2014/main" id="{201CE5B0-7231-2AE3-BD08-29E2509FF9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6120" y="4972913"/>
            <a:ext cx="1388584" cy="1388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18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83A421-4AA1-949E-1835-B139B207F183}"/>
              </a:ext>
              <a:ext uri="{C183D7F6-B498-43B3-948B-1728B52AA6E4}">
                <adec:decorative xmlns:adec="http://schemas.microsoft.com/office/drawing/2017/decorative" val="0"/>
              </a:ext>
            </a:extLst>
          </p:cNvPr>
          <p:cNvSpPr>
            <a:spLocks noGrp="1"/>
          </p:cNvSpPr>
          <p:nvPr>
            <p:ph type="title" idx="4294967295"/>
          </p:nvPr>
        </p:nvSpPr>
        <p:spPr>
          <a:xfrm>
            <a:off x="770439" y="420303"/>
            <a:ext cx="8694403" cy="57831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440099"/>
                </a:solidFill>
                <a:effectLst/>
                <a:uLnTx/>
                <a:uFillTx/>
                <a:latin typeface="+mn-lt"/>
                <a:ea typeface="+mn-ea"/>
                <a:cs typeface="+mn-cs"/>
              </a:rPr>
              <a:t>Stay Informed</a:t>
            </a:r>
          </a:p>
        </p:txBody>
      </p:sp>
      <p:pic>
        <p:nvPicPr>
          <p:cNvPr id="7" name="Picture 6" descr="Screenshot of BDTA website on Flydenver.com">
            <a:extLst>
              <a:ext uri="{FF2B5EF4-FFF2-40B4-BE49-F238E27FC236}">
                <a16:creationId xmlns:a16="http://schemas.microsoft.com/office/drawing/2014/main" id="{F64DC50F-90A3-E237-68D6-E434F527957E}"/>
              </a:ext>
              <a:ext uri="{C183D7F6-B498-43B3-948B-1728B52AA6E4}">
                <adec:decorative xmlns:adec="http://schemas.microsoft.com/office/drawing/2017/decorative" val="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5394" y="1165940"/>
            <a:ext cx="8545314" cy="3953338"/>
          </a:xfrm>
          <a:prstGeom prst="rect">
            <a:avLst/>
          </a:prstGeom>
        </p:spPr>
      </p:pic>
      <p:sp>
        <p:nvSpPr>
          <p:cNvPr id="8" name="TextBox 7">
            <a:extLst>
              <a:ext uri="{FF2B5EF4-FFF2-40B4-BE49-F238E27FC236}">
                <a16:creationId xmlns:a16="http://schemas.microsoft.com/office/drawing/2014/main" id="{8A2DB6B7-F102-A3A1-D06B-B5D67AA81197}"/>
              </a:ext>
              <a:ext uri="{C183D7F6-B498-43B3-948B-1728B52AA6E4}">
                <adec:decorative xmlns:adec="http://schemas.microsoft.com/office/drawing/2017/decorative" val="1"/>
              </a:ext>
            </a:extLst>
          </p:cNvPr>
          <p:cNvSpPr txBox="1"/>
          <p:nvPr/>
        </p:nvSpPr>
        <p:spPr>
          <a:xfrm>
            <a:off x="845394" y="5286597"/>
            <a:ext cx="8275729" cy="1877437"/>
          </a:xfrm>
          <a:prstGeom prst="rect">
            <a:avLst/>
          </a:prstGeom>
          <a:noFill/>
        </p:spPr>
        <p:txBody>
          <a:bodyPr wrap="square" lIns="91440" tIns="45720" rIns="91440" bIns="45720" rtlCol="0" anchor="t">
            <a:spAutoFit/>
          </a:bodyPr>
          <a:lstStyle/>
          <a:p>
            <a:r>
              <a:rPr lang="en-US" sz="1600"/>
              <a:t>BDTA Page: </a:t>
            </a:r>
            <a:r>
              <a:rPr lang="en-US" sz="1600">
                <a:hlinkClick r:id="rId4"/>
              </a:rPr>
              <a:t>https://www.flydenver.com/business-and-community/ceea/bdta/</a:t>
            </a:r>
            <a:endParaRPr lang="en-US" sz="1600">
              <a:cs typeface="Calibri"/>
            </a:endParaRPr>
          </a:p>
          <a:p>
            <a:endParaRPr lang="en-US" sz="1600">
              <a:cs typeface="Calibri"/>
            </a:endParaRPr>
          </a:p>
          <a:p>
            <a:r>
              <a:rPr lang="en-US" sz="1600"/>
              <a:t>Business Connect: </a:t>
            </a:r>
            <a:r>
              <a:rPr lang="en-US" sz="1600">
                <a:hlinkClick r:id="rId5"/>
              </a:rPr>
              <a:t>https://lp.constantcontactpages.com/sl/QFiuIds</a:t>
            </a:r>
            <a:endParaRPr lang="en-US" sz="1600">
              <a:cs typeface="Calibri" panose="020F0502020204030204"/>
            </a:endParaRPr>
          </a:p>
          <a:p>
            <a:endParaRPr lang="en-US" sz="1600">
              <a:cs typeface="Calibri" panose="020F0502020204030204"/>
            </a:endParaRPr>
          </a:p>
          <a:p>
            <a:r>
              <a:rPr lang="en-US" sz="1600">
                <a:cs typeface="Calibri" panose="020F0502020204030204"/>
              </a:rPr>
              <a:t>Contact Business Learning &amp; Development at </a:t>
            </a:r>
            <a:r>
              <a:rPr lang="en-US" sz="1600">
                <a:cs typeface="Calibri" panose="020F0502020204030204"/>
                <a:hlinkClick r:id="rId6"/>
              </a:rPr>
              <a:t>DENTrainingAcademy@flydenver.com</a:t>
            </a:r>
          </a:p>
          <a:p>
            <a:endParaRPr lang="en-US">
              <a:cs typeface="Calibri" panose="020F0502020204030204"/>
            </a:endParaRPr>
          </a:p>
          <a:p>
            <a:endParaRPr lang="en-US">
              <a:cs typeface="Calibri" panose="020F0502020204030204"/>
            </a:endParaRPr>
          </a:p>
        </p:txBody>
      </p:sp>
      <p:pic>
        <p:nvPicPr>
          <p:cNvPr id="6" name="Picture 5">
            <a:extLst>
              <a:ext uri="{FF2B5EF4-FFF2-40B4-BE49-F238E27FC236}">
                <a16:creationId xmlns:a16="http://schemas.microsoft.com/office/drawing/2014/main" id="{2F7036E6-A6AE-E0A3-BB21-591EF73213C2}"/>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36492" y="5022925"/>
            <a:ext cx="1835075" cy="1835075"/>
          </a:xfrm>
          <a:prstGeom prst="rect">
            <a:avLst/>
          </a:prstGeom>
        </p:spPr>
      </p:pic>
    </p:spTree>
    <p:extLst>
      <p:ext uri="{BB962C8B-B14F-4D97-AF65-F5344CB8AC3E}">
        <p14:creationId xmlns:p14="http://schemas.microsoft.com/office/powerpoint/2010/main" val="19285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316EDA4-6136-220E-10F6-887940F0B645}"/>
            </a:ext>
          </a:extLst>
        </p:cNvPr>
        <p:cNvGrpSpPr/>
        <p:nvPr/>
      </p:nvGrpSpPr>
      <p:grpSpPr>
        <a:xfrm>
          <a:off x="0" y="0"/>
          <a:ext cx="0" cy="0"/>
          <a:chOff x="0" y="0"/>
          <a:chExt cx="0" cy="0"/>
        </a:xfrm>
      </p:grpSpPr>
      <p:sp>
        <p:nvSpPr>
          <p:cNvPr id="15" name="Text Placeholder 14">
            <a:extLst>
              <a:ext uri="{FF2B5EF4-FFF2-40B4-BE49-F238E27FC236}">
                <a16:creationId xmlns:a16="http://schemas.microsoft.com/office/drawing/2014/main" id="{58D4CC15-908B-6838-C957-B3B9F380A37E}"/>
              </a:ext>
              <a:ext uri="{C183D7F6-B498-43B3-948B-1728B52AA6E4}">
                <adec:decorative xmlns:adec="http://schemas.microsoft.com/office/drawing/2017/decorative" val="1"/>
              </a:ext>
            </a:extLst>
          </p:cNvPr>
          <p:cNvSpPr>
            <a:spLocks noGrp="1"/>
          </p:cNvSpPr>
          <p:nvPr>
            <p:ph type="body" sz="quarter" idx="10"/>
          </p:nvPr>
        </p:nvSpPr>
        <p:spPr>
          <a:xfrm>
            <a:off x="770439" y="1626365"/>
            <a:ext cx="6400883" cy="3930649"/>
          </a:xfrm>
        </p:spPr>
        <p:txBody>
          <a:bodyPr/>
          <a:lstStyle/>
          <a:p>
            <a:pPr marL="0" indent="0">
              <a:buNone/>
            </a:pPr>
            <a:r>
              <a:rPr lang="en-US" sz="2000" b="1">
                <a:solidFill>
                  <a:srgbClr val="440099"/>
                </a:solidFill>
              </a:rPr>
              <a:t>Weekly Business Connect Newsletter Includes: </a:t>
            </a:r>
          </a:p>
          <a:p>
            <a:pPr marL="0" indent="0">
              <a:buNone/>
            </a:pPr>
            <a:endParaRPr lang="en-US" sz="2000"/>
          </a:p>
          <a:p>
            <a:r>
              <a:rPr lang="en-US" sz="2000"/>
              <a:t>DEN Outreach Event Email Notifications</a:t>
            </a:r>
          </a:p>
          <a:p>
            <a:r>
              <a:rPr lang="en-US" sz="2000"/>
              <a:t>Training Email Invitations</a:t>
            </a:r>
          </a:p>
          <a:p>
            <a:r>
              <a:rPr lang="en-US" sz="2000"/>
              <a:t>Community Events Calendar</a:t>
            </a:r>
          </a:p>
          <a:p>
            <a:pPr marL="0" indent="0">
              <a:buNone/>
            </a:pPr>
            <a:endParaRPr lang="en-US" sz="2000" b="1">
              <a:solidFill>
                <a:srgbClr val="440099"/>
              </a:solidFill>
            </a:endParaRPr>
          </a:p>
          <a:p>
            <a:pPr marL="0" indent="0">
              <a:buNone/>
            </a:pPr>
            <a:r>
              <a:rPr lang="en-US" sz="2000" b="1">
                <a:solidFill>
                  <a:srgbClr val="440099"/>
                </a:solidFill>
              </a:rPr>
              <a:t>Advertise your company’s outreach events</a:t>
            </a:r>
          </a:p>
          <a:p>
            <a:pPr marL="0" indent="0">
              <a:buNone/>
            </a:pPr>
            <a:r>
              <a:rPr lang="en-US" sz="2000">
                <a:solidFill>
                  <a:schemeClr val="tx1"/>
                </a:solidFill>
              </a:rPr>
              <a:t>Email</a:t>
            </a:r>
            <a:r>
              <a:rPr lang="en-US" sz="2000">
                <a:solidFill>
                  <a:srgbClr val="440099"/>
                </a:solidFill>
              </a:rPr>
              <a:t> </a:t>
            </a:r>
            <a:r>
              <a:rPr lang="en-US" sz="2000" u="sng">
                <a:solidFill>
                  <a:srgbClr val="0070C0"/>
                </a:solidFill>
              </a:rPr>
              <a:t>D</a:t>
            </a:r>
            <a:r>
              <a:rPr lang="en-US" sz="2000" u="sng">
                <a:solidFill>
                  <a:srgbClr val="0070C0"/>
                </a:solidFill>
                <a:hlinkClick r:id="rId3">
                  <a:extLst>
                    <a:ext uri="{A12FA001-AC4F-418D-AE19-62706E023703}">
                      <ahyp:hlinkClr xmlns:ahyp="http://schemas.microsoft.com/office/drawing/2018/hyperlinkcolor" val="tx"/>
                    </a:ext>
                  </a:extLst>
                </a:hlinkClick>
              </a:rPr>
              <a:t>oB</a:t>
            </a:r>
            <a:r>
              <a:rPr lang="en-US" sz="2000">
                <a:solidFill>
                  <a:srgbClr val="E35B2A"/>
                </a:solidFill>
                <a:hlinkClick r:id="rId3"/>
              </a:rPr>
              <a:t>usinessWithDEN@flydenver.com</a:t>
            </a:r>
            <a:r>
              <a:rPr lang="en-US" sz="2000">
                <a:solidFill>
                  <a:srgbClr val="E35B2A"/>
                </a:solidFill>
              </a:rPr>
              <a:t> </a:t>
            </a:r>
          </a:p>
          <a:p>
            <a:pPr marL="0" indent="0">
              <a:buNone/>
            </a:pPr>
            <a:endParaRPr lang="en-US" sz="2000" b="1">
              <a:solidFill>
                <a:srgbClr val="440099"/>
              </a:solidFill>
            </a:endParaRPr>
          </a:p>
          <a:p>
            <a:pPr marL="0" indent="0">
              <a:buNone/>
            </a:pPr>
            <a:r>
              <a:rPr lang="en-US" sz="2000" b="1">
                <a:solidFill>
                  <a:srgbClr val="440099"/>
                </a:solidFill>
              </a:rPr>
              <a:t>Sign-up for our mailing list to receive more information </a:t>
            </a:r>
            <a:br>
              <a:rPr lang="en-US" sz="2000" b="1">
                <a:solidFill>
                  <a:srgbClr val="440099"/>
                </a:solidFill>
              </a:rPr>
            </a:br>
            <a:r>
              <a:rPr lang="en-US" sz="2000">
                <a:solidFill>
                  <a:srgbClr val="E35B2A"/>
                </a:solidFill>
                <a:hlinkClick r:id="rId4">
                  <a:extLst>
                    <a:ext uri="{A12FA001-AC4F-418D-AE19-62706E023703}">
                      <ahyp:hlinkClr xmlns:ahyp="http://schemas.microsoft.com/office/drawing/2018/hyperlinkcolor" val="tx"/>
                    </a:ext>
                  </a:extLst>
                </a:hlinkClick>
              </a:rPr>
              <a:t>https://lp.constantcontactpages.com/sl/QFiuIds</a:t>
            </a:r>
            <a:r>
              <a:rPr lang="en-US" sz="2000">
                <a:solidFill>
                  <a:srgbClr val="E35B2A"/>
                </a:solidFill>
              </a:rPr>
              <a:t>   </a:t>
            </a:r>
          </a:p>
          <a:p>
            <a:endParaRPr lang="en-US" sz="2000"/>
          </a:p>
        </p:txBody>
      </p:sp>
      <p:sp>
        <p:nvSpPr>
          <p:cNvPr id="12" name="Text Placeholder 11">
            <a:extLst>
              <a:ext uri="{FF2B5EF4-FFF2-40B4-BE49-F238E27FC236}">
                <a16:creationId xmlns:a16="http://schemas.microsoft.com/office/drawing/2014/main" id="{52F6BB4E-EB11-976B-7425-B2413B9FA77A}"/>
              </a:ext>
              <a:ext uri="{C183D7F6-B498-43B3-948B-1728B52AA6E4}">
                <adec:decorative xmlns:adec="http://schemas.microsoft.com/office/drawing/2017/decorative" val="1"/>
              </a:ext>
            </a:extLst>
          </p:cNvPr>
          <p:cNvSpPr>
            <a:spLocks noGrp="1"/>
          </p:cNvSpPr>
          <p:nvPr>
            <p:ph type="title" idx="4294967295"/>
          </p:nvPr>
        </p:nvSpPr>
        <p:spPr>
          <a:xfrm>
            <a:off x="0" y="496888"/>
            <a:ext cx="8694738" cy="577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200">
                <a:solidFill>
                  <a:srgbClr val="440099"/>
                </a:solidFill>
                <a:latin typeface="+mn-lt"/>
                <a:ea typeface="+mn-ea"/>
                <a:cs typeface="+mn-cs"/>
              </a:rPr>
              <a:t>Stay Connected &amp; Join Our Mailing List</a:t>
            </a:r>
          </a:p>
        </p:txBody>
      </p:sp>
      <p:pic>
        <p:nvPicPr>
          <p:cNvPr id="16" name="Picture 15" descr="Signup on our mailing list to receive more information &#10;https://lp.constantcontactpages.com/sl/QFiuIds   &#10;">
            <a:extLst>
              <a:ext uri="{FF2B5EF4-FFF2-40B4-BE49-F238E27FC236}">
                <a16:creationId xmlns:a16="http://schemas.microsoft.com/office/drawing/2014/main" id="{83FEB142-E455-180B-8533-C53B196DA87F}"/>
              </a:ext>
              <a:ext uri="{C183D7F6-B498-43B3-948B-1728B52AA6E4}">
                <adec:decorative xmlns:adec="http://schemas.microsoft.com/office/drawing/2017/decorative" val="0"/>
              </a:ext>
            </a:extLst>
          </p:cNvPr>
          <p:cNvPicPr>
            <a:picLocks noChangeAspect="1"/>
          </p:cNvPicPr>
          <p:nvPr/>
        </p:nvPicPr>
        <p:blipFill>
          <a:blip r:embed="rId5" cstate="email">
            <a:extLst>
              <a:ext uri="{28A0092B-C50C-407E-A947-70E740481C1C}">
                <a14:useLocalDpi xmlns:a14="http://schemas.microsoft.com/office/drawing/2010/main"/>
              </a:ext>
            </a:extLst>
          </a:blip>
          <a:srcRect l="9740" t="9020" r="8832" b="7154"/>
          <a:stretch>
            <a:fillRect/>
          </a:stretch>
        </p:blipFill>
        <p:spPr>
          <a:xfrm>
            <a:off x="9305924" y="4162424"/>
            <a:ext cx="2148221" cy="2199073"/>
          </a:xfrm>
          <a:prstGeom prst="rect">
            <a:avLst/>
          </a:prstGeom>
        </p:spPr>
      </p:pic>
      <p:sp>
        <p:nvSpPr>
          <p:cNvPr id="2" name="TextBox 1">
            <a:extLst>
              <a:ext uri="{FF2B5EF4-FFF2-40B4-BE49-F238E27FC236}">
                <a16:creationId xmlns:a16="http://schemas.microsoft.com/office/drawing/2014/main" id="{BE0F4C25-71BD-607C-6019-6968AC4C4639}"/>
              </a:ext>
            </a:extLst>
          </p:cNvPr>
          <p:cNvSpPr txBox="1"/>
          <p:nvPr/>
        </p:nvSpPr>
        <p:spPr>
          <a:xfrm>
            <a:off x="9194937" y="2462480"/>
            <a:ext cx="1634988" cy="1631216"/>
          </a:xfrm>
          <a:prstGeom prst="rect">
            <a:avLst/>
          </a:prstGeom>
          <a:noFill/>
        </p:spPr>
        <p:txBody>
          <a:bodyPr wrap="square" rtlCol="0">
            <a:spAutoFit/>
          </a:bodyPr>
          <a:lstStyle/>
          <a:p>
            <a:r>
              <a:rPr lang="en-US" sz="2000" b="1">
                <a:solidFill>
                  <a:srgbClr val="440099"/>
                </a:solidFill>
              </a:rPr>
              <a:t>Signup for our weekly Business Connect newsletter</a:t>
            </a:r>
          </a:p>
        </p:txBody>
      </p:sp>
      <p:sp>
        <p:nvSpPr>
          <p:cNvPr id="3" name="Arrow: Curved Right 2">
            <a:extLst>
              <a:ext uri="{FF2B5EF4-FFF2-40B4-BE49-F238E27FC236}">
                <a16:creationId xmlns:a16="http://schemas.microsoft.com/office/drawing/2014/main" id="{985C2797-A177-7F07-DC71-46F57FEE2DC3}"/>
              </a:ext>
              <a:ext uri="{C183D7F6-B498-43B3-948B-1728B52AA6E4}">
                <adec:decorative xmlns:adec="http://schemas.microsoft.com/office/drawing/2017/decorative" val="1"/>
              </a:ext>
            </a:extLst>
          </p:cNvPr>
          <p:cNvSpPr/>
          <p:nvPr/>
        </p:nvSpPr>
        <p:spPr>
          <a:xfrm>
            <a:off x="8321063" y="3925798"/>
            <a:ext cx="764758" cy="1631216"/>
          </a:xfrm>
          <a:prstGeom prst="curvedRightArrow">
            <a:avLst/>
          </a:prstGeom>
          <a:solidFill>
            <a:srgbClr val="4400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08647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2"/>
</p:tagLst>
</file>

<file path=ppt/tags/tag10.xml><?xml version="1.0" encoding="utf-8"?>
<p:tagLst xmlns:a="http://schemas.openxmlformats.org/drawingml/2006/main" xmlns:r="http://schemas.openxmlformats.org/officeDocument/2006/relationships" xmlns:p="http://schemas.openxmlformats.org/presentationml/2006/main">
  <p:tag name="ORIGINAL_HEIGHT" val="350.625"/>
  <p:tag name="ORIGINAL_WIDTH" val="310.8328"/>
</p:tagLst>
</file>

<file path=ppt/tags/tag11.xml><?xml version="1.0" encoding="utf-8"?>
<p:tagLst xmlns:a="http://schemas.openxmlformats.org/drawingml/2006/main" xmlns:r="http://schemas.openxmlformats.org/officeDocument/2006/relationships" xmlns:p="http://schemas.openxmlformats.org/presentationml/2006/main">
  <p:tag name="ORIGINAL_HEIGHT" val="53.87496"/>
  <p:tag name="ORIGINAL_WIDTH" val="233.5913"/>
</p:tagLst>
</file>

<file path=ppt/tags/tag12.xml><?xml version="1.0" encoding="utf-8"?>
<p:tagLst xmlns:a="http://schemas.openxmlformats.org/drawingml/2006/main" xmlns:r="http://schemas.openxmlformats.org/officeDocument/2006/relationships" xmlns:p="http://schemas.openxmlformats.org/presentationml/2006/main">
  <p:tag name="ORIGINAL_HEIGHT" val="350.625"/>
  <p:tag name="ORIGINAL_WIDTH" val="283.6664"/>
</p:tagLst>
</file>

<file path=ppt/tags/tag13.xml><?xml version="1.0" encoding="utf-8"?>
<p:tagLst xmlns:a="http://schemas.openxmlformats.org/drawingml/2006/main" xmlns:r="http://schemas.openxmlformats.org/officeDocument/2006/relationships" xmlns:p="http://schemas.openxmlformats.org/presentationml/2006/main">
  <p:tag name="ORIGINAL_HEIGHT" val="53.87496"/>
  <p:tag name="ORIGINAL_WIDTH" val="233.5913"/>
</p:tagLst>
</file>

<file path=ppt/tags/tag14.xml><?xml version="1.0" encoding="utf-8"?>
<p:tagLst xmlns:a="http://schemas.openxmlformats.org/drawingml/2006/main" xmlns:r="http://schemas.openxmlformats.org/officeDocument/2006/relationships" xmlns:p="http://schemas.openxmlformats.org/presentationml/2006/main">
  <p:tag name="ORIGINAL_HEIGHT" val="350.625"/>
  <p:tag name="ORIGINAL_WIDTH" val="310.9999"/>
</p:tagLst>
</file>

<file path=ppt/tags/tag15.xml><?xml version="1.0" encoding="utf-8"?>
<p:tagLst xmlns:a="http://schemas.openxmlformats.org/drawingml/2006/main" xmlns:r="http://schemas.openxmlformats.org/officeDocument/2006/relationships" xmlns:p="http://schemas.openxmlformats.org/presentationml/2006/main">
  <p:tag name="ORIGINAL_HEIGHT" val="53.87496"/>
  <p:tag name="ORIGINAL_WIDTH" val="233.5913"/>
</p:tagLst>
</file>

<file path=ppt/tags/tag16.xml><?xml version="1.0" encoding="utf-8"?>
<p:tagLst xmlns:a="http://schemas.openxmlformats.org/drawingml/2006/main" xmlns:r="http://schemas.openxmlformats.org/officeDocument/2006/relationships" xmlns:p="http://schemas.openxmlformats.org/presentationml/2006/main">
  <p:tag name="ORIGINAL_HEIGHT" val="350.625"/>
  <p:tag name="ORIGINAL_WIDTH" val="310.9999"/>
</p:tagLst>
</file>

<file path=ppt/tags/tag17.xml><?xml version="1.0" encoding="utf-8"?>
<p:tagLst xmlns:a="http://schemas.openxmlformats.org/drawingml/2006/main" xmlns:r="http://schemas.openxmlformats.org/officeDocument/2006/relationships" xmlns:p="http://schemas.openxmlformats.org/presentationml/2006/main">
  <p:tag name="ORIGINAL_HEIGHT" val="53.87496"/>
  <p:tag name="ORIGINAL_WIDTH" val="233.5913"/>
</p:tagLst>
</file>

<file path=ppt/tags/tag18.xml><?xml version="1.0" encoding="utf-8"?>
<p:tagLst xmlns:a="http://schemas.openxmlformats.org/drawingml/2006/main" xmlns:r="http://schemas.openxmlformats.org/officeDocument/2006/relationships" xmlns:p="http://schemas.openxmlformats.org/presentationml/2006/main">
  <p:tag name="ORIGINAL_HEIGHT" val="8.482047"/>
  <p:tag name="ORIGINAL_WIDTH" val="50.69079"/>
</p:tagLst>
</file>

<file path=ppt/tags/tag1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ORIGINAL_HEIGHT" val="95.56425"/>
  <p:tag name="ORIGINAL_WIDTH" val="379.4155"/>
</p:tagLst>
</file>

<file path=ppt/tags/tag20.xml><?xml version="1.0" encoding="utf-8"?>
<p:tagLst xmlns:a="http://schemas.openxmlformats.org/drawingml/2006/main" xmlns:r="http://schemas.openxmlformats.org/officeDocument/2006/relationships" xmlns:p="http://schemas.openxmlformats.org/presentationml/2006/main">
  <p:tag name="ORIGINAL_HEIGHT" val="76.53543"/>
  <p:tag name="ORIGINAL_WIDTH" val="905.9999"/>
</p:tagLst>
</file>

<file path=ppt/tags/tag21.xml><?xml version="1.0" encoding="utf-8"?>
<p:tagLst xmlns:a="http://schemas.openxmlformats.org/drawingml/2006/main" xmlns:r="http://schemas.openxmlformats.org/officeDocument/2006/relationships" xmlns:p="http://schemas.openxmlformats.org/presentationml/2006/main">
  <p:tag name="ORIGINAL_HEIGHT" val="296.75"/>
  <p:tag name="ORIGINAL_WIDTH" val="283.875"/>
</p:tagLst>
</file>

<file path=ppt/tags/tag22.xml><?xml version="1.0" encoding="utf-8"?>
<p:tagLst xmlns:a="http://schemas.openxmlformats.org/drawingml/2006/main" xmlns:r="http://schemas.openxmlformats.org/officeDocument/2006/relationships" xmlns:p="http://schemas.openxmlformats.org/presentationml/2006/main">
  <p:tag name="ORIGINAL_HEIGHT" val="8.482047"/>
  <p:tag name="ORIGINAL_WIDTH" val="50.69079"/>
</p:tagLst>
</file>

<file path=ppt/tags/tag2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4.xml><?xml version="1.0" encoding="utf-8"?>
<p:tagLst xmlns:a="http://schemas.openxmlformats.org/drawingml/2006/main" xmlns:r="http://schemas.openxmlformats.org/officeDocument/2006/relationships" xmlns:p="http://schemas.openxmlformats.org/presentationml/2006/main">
  <p:tag name="ORIGINAL_HEIGHT" val="76.53543"/>
  <p:tag name="ORIGINAL_WIDTH" val="905.9999"/>
</p:tagLst>
</file>

<file path=ppt/tags/tag25.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8"/>
</p:tagLst>
</file>

<file path=ppt/tags/tag26.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27.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7"/>
</p:tagLst>
</file>

<file path=ppt/tags/tag28.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29.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8"/>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31.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8"/>
</p:tagLst>
</file>

<file path=ppt/tags/tag32.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33.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8"/>
</p:tagLst>
</file>

<file path=ppt/tags/tag34.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35.xml><?xml version="1.0" encoding="utf-8"?>
<p:tagLst xmlns:a="http://schemas.openxmlformats.org/drawingml/2006/main" xmlns:r="http://schemas.openxmlformats.org/officeDocument/2006/relationships" xmlns:p="http://schemas.openxmlformats.org/presentationml/2006/main">
  <p:tag name="ORIGINAL_HEIGHT" val="206.2843"/>
  <p:tag name="ORIGINAL_WIDTH" val="206.2978"/>
</p:tagLst>
</file>

<file path=ppt/tags/tag36.xml><?xml version="1.0" encoding="utf-8"?>
<p:tagLst xmlns:a="http://schemas.openxmlformats.org/drawingml/2006/main" xmlns:r="http://schemas.openxmlformats.org/officeDocument/2006/relationships" xmlns:p="http://schemas.openxmlformats.org/presentationml/2006/main">
  <p:tag name="ORIGINAL_HEIGHT" val="27.21307"/>
  <p:tag name="ORIGINAL_WIDTH" val="206.1317"/>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ORIGINAL_HEIGHT" val="98.29063"/>
  <p:tag name="ORIGINAL_WIDTH" val="431.2358"/>
</p:tagLst>
</file>

<file path=ppt/tags/tag6.xml><?xml version="1.0" encoding="utf-8"?>
<p:tagLst xmlns:a="http://schemas.openxmlformats.org/drawingml/2006/main" xmlns:r="http://schemas.openxmlformats.org/officeDocument/2006/relationships" xmlns:p="http://schemas.openxmlformats.org/presentationml/2006/main">
  <p:tag name="ORIGINAL_HEIGHT" val="25.51181"/>
  <p:tag name="ORIGINAL_WIDTH" val="430.9047"/>
</p:tagLst>
</file>

<file path=ppt/tags/tag7.xml><?xml version="1.0" encoding="utf-8"?>
<p:tagLst xmlns:a="http://schemas.openxmlformats.org/drawingml/2006/main" xmlns:r="http://schemas.openxmlformats.org/officeDocument/2006/relationships" xmlns:p="http://schemas.openxmlformats.org/presentationml/2006/main">
  <p:tag name="ORIGINAL_HEIGHT" val="25.51181"/>
  <p:tag name="ORIGINAL_WIDTH" val="431.8609"/>
</p:tagLst>
</file>

<file path=ppt/tags/tag8.xml><?xml version="1.0" encoding="utf-8"?>
<p:tagLst xmlns:a="http://schemas.openxmlformats.org/drawingml/2006/main" xmlns:r="http://schemas.openxmlformats.org/officeDocument/2006/relationships" xmlns:p="http://schemas.openxmlformats.org/presentationml/2006/main">
  <p:tag name="ORIGINAL_HEIGHT" val="540"/>
  <p:tag name="ORIGINAL_WIDTH" val="480"/>
</p:tagLst>
</file>

<file path=ppt/tags/tag9.xml><?xml version="1.0" encoding="utf-8"?>
<p:tagLst xmlns:a="http://schemas.openxmlformats.org/drawingml/2006/main" xmlns:r="http://schemas.openxmlformats.org/officeDocument/2006/relationships" xmlns:p="http://schemas.openxmlformats.org/presentationml/2006/main">
  <p:tag name="ORIGINAL_HEIGHT" val="525.1249"/>
  <p:tag name="ORIGINAL_WIDTH" val="616.5001"/>
</p:tagLst>
</file>

<file path=ppt/theme/theme1.xml><?xml version="1.0" encoding="utf-8"?>
<a:theme xmlns:a="http://schemas.openxmlformats.org/drawingml/2006/main" name="Titl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 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1 - ORAN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2 - ORAN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ntent 4 - ORANGE - Image WHITE log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Content 1 - ORAN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1_Custom Design">
  <a:themeElements>
    <a:clrScheme name="HNTB: Accessible">
      <a:dk1>
        <a:srgbClr val="1B2D38"/>
      </a:dk1>
      <a:lt1>
        <a:sysClr val="window" lastClr="FFFFFF"/>
      </a:lt1>
      <a:dk2>
        <a:srgbClr val="3E6180"/>
      </a:dk2>
      <a:lt2>
        <a:srgbClr val="E7E6E6"/>
      </a:lt2>
      <a:accent1>
        <a:srgbClr val="5C9BD3"/>
      </a:accent1>
      <a:accent2>
        <a:srgbClr val="70AD45"/>
      </a:accent2>
      <a:accent3>
        <a:srgbClr val="CF981C"/>
      </a:accent3>
      <a:accent4>
        <a:srgbClr val="1E3040"/>
      </a:accent4>
      <a:accent5>
        <a:srgbClr val="AEABAB"/>
      </a:accent5>
      <a:accent6>
        <a:srgbClr val="11617E"/>
      </a:accent6>
      <a:hlink>
        <a:srgbClr val="3DB7E4"/>
      </a:hlink>
      <a:folHlink>
        <a:srgbClr val="2E4860"/>
      </a:folHlink>
    </a:clrScheme>
    <a:fontScheme name="Aptos">
      <a:majorFont>
        <a:latin typeface="Aptos"/>
        <a:ea typeface=""/>
        <a:cs typeface=""/>
      </a:majorFont>
      <a:minorFont>
        <a:latin typeface="Aptos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7e7f7ab-f283-48b6-a11d-5b6afdf240ea" xsi:nil="true"/>
    <lcf76f155ced4ddcb4097134ff3c332f xmlns="bbc1b1f8-0e71-4cbd-b262-3052aba238a9">
      <Terms xmlns="http://schemas.microsoft.com/office/infopath/2007/PartnerControls"/>
    </lcf76f155ced4ddcb4097134ff3c332f>
    <DateSent xmlns="bbc1b1f8-0e71-4cbd-b262-3052aba238a9" xsi:nil="true"/>
    <BusinessDirectoryType xmlns="bbc1b1f8-0e71-4cbd-b262-3052aba238a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B4CBFD58AEB54B9523C229AC8968F6" ma:contentTypeVersion="21" ma:contentTypeDescription="Create a new document." ma:contentTypeScope="" ma:versionID="d99ad74c3b8a25c61b8ddba13f7aab43">
  <xsd:schema xmlns:xsd="http://www.w3.org/2001/XMLSchema" xmlns:xs="http://www.w3.org/2001/XMLSchema" xmlns:p="http://schemas.microsoft.com/office/2006/metadata/properties" xmlns:ns2="bbc1b1f8-0e71-4cbd-b262-3052aba238a9" xmlns:ns3="fd3bd635-9bff-483f-aa30-f8bfae0bbf17" xmlns:ns4="87e7f7ab-f283-48b6-a11d-5b6afdf240ea" targetNamespace="http://schemas.microsoft.com/office/2006/metadata/properties" ma:root="true" ma:fieldsID="fedf67c3f5412d1b64b693c95ba1e2b1" ns2:_="" ns3:_="" ns4:_="">
    <xsd:import namespace="bbc1b1f8-0e71-4cbd-b262-3052aba238a9"/>
    <xsd:import namespace="fd3bd635-9bff-483f-aa30-f8bfae0bbf17"/>
    <xsd:import namespace="87e7f7ab-f283-48b6-a11d-5b6afdf240e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OCR" minOccurs="0"/>
                <xsd:element ref="ns2:MediaLengthInSeconds" minOccurs="0"/>
                <xsd:element ref="ns2:BusinessDirectoryType" minOccurs="0"/>
                <xsd:element ref="ns2:DateSent" minOccurs="0"/>
                <xsd:element ref="ns2:lcf76f155ced4ddcb4097134ff3c332f" minOccurs="0"/>
                <xsd:element ref="ns4:TaxCatchAll"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c1b1f8-0e71-4cbd-b262-3052aba238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BusinessDirectoryType" ma:index="20" nillable="true" ma:displayName="Business Directory Type" ma:format="Dropdown" ma:internalName="BusinessDirectoryType">
      <xsd:simpleType>
        <xsd:restriction base="dms:Choice">
          <xsd:enumeration value="General Contracts"/>
          <xsd:enumeration value="ACDBE"/>
          <xsd:enumeration value="Both"/>
        </xsd:restriction>
      </xsd:simpleType>
    </xsd:element>
    <xsd:element name="DateSent" ma:index="21" nillable="true" ma:displayName="Date Sent" ma:format="DateOnly" ma:internalName="DateSent">
      <xsd:simpleType>
        <xsd:restriction base="dms:DateTim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38707e54-6713-4257-8868-1e4840a70eb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Location" ma:index="27" nillable="true" ma:displayName="Location" ma:indexed="true" ma:internalName="MediaServiceLocation" ma:readOnly="true">
      <xsd:simpleType>
        <xsd:restriction base="dms:Text"/>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3bd635-9bff-483f-aa30-f8bfae0bbf1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7e7f7ab-f283-48b6-a11d-5b6afdf240ea"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f78edeec-2c53-48c2-9d7f-9f98b72b39d4}" ma:internalName="TaxCatchAll" ma:showField="CatchAllData" ma:web="fd3bd635-9bff-483f-aa30-f8bfae0bbf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F2FE49-1C05-4EF5-9360-51D70AD37214}">
  <ds:schemaRefs>
    <ds:schemaRef ds:uri="87e7f7ab-f283-48b6-a11d-5b6afdf240ea"/>
    <ds:schemaRef ds:uri="bbc1b1f8-0e71-4cbd-b262-3052aba238a9"/>
    <ds:schemaRef ds:uri="fd3bd635-9bff-483f-aa30-f8bfae0bbf1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674DDDF-AB4D-446A-A19F-F62E53DF806A}">
  <ds:schemaRefs>
    <ds:schemaRef ds:uri="http://schemas.microsoft.com/sharepoint/v3/contenttype/forms"/>
  </ds:schemaRefs>
</ds:datastoreItem>
</file>

<file path=customXml/itemProps3.xml><?xml version="1.0" encoding="utf-8"?>
<ds:datastoreItem xmlns:ds="http://schemas.openxmlformats.org/officeDocument/2006/customXml" ds:itemID="{50DA7FDF-0F98-499E-AD66-BBAD6F6E1F50}">
  <ds:schemaRefs>
    <ds:schemaRef ds:uri="87e7f7ab-f283-48b6-a11d-5b6afdf240ea"/>
    <ds:schemaRef ds:uri="bbc1b1f8-0e71-4cbd-b262-3052aba238a9"/>
    <ds:schemaRef ds:uri="fd3bd635-9bff-483f-aa30-f8bfae0bbf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71</Slides>
  <Notes>58</Notes>
  <HiddenSlides>2</HiddenSlides>
  <ScaleCrop>false</ScaleCrop>
  <HeadingPairs>
    <vt:vector size="4" baseType="variant">
      <vt:variant>
        <vt:lpstr>Theme</vt:lpstr>
      </vt:variant>
      <vt:variant>
        <vt:i4>11</vt:i4>
      </vt:variant>
      <vt:variant>
        <vt:lpstr>Slide Titles</vt:lpstr>
      </vt:variant>
      <vt:variant>
        <vt:i4>71</vt:i4>
      </vt:variant>
    </vt:vector>
  </HeadingPairs>
  <TitlesOfParts>
    <vt:vector size="82" baseType="lpstr">
      <vt:lpstr>Title 1</vt:lpstr>
      <vt:lpstr>Title 3</vt:lpstr>
      <vt:lpstr>Content 1 - ORANGE</vt:lpstr>
      <vt:lpstr>Content 2 - ORANGE</vt:lpstr>
      <vt:lpstr>Content 4 - ORANGE - Image WHITE logo</vt:lpstr>
      <vt:lpstr>1_Office Theme</vt:lpstr>
      <vt:lpstr>1_Content 1 - ORANGE</vt:lpstr>
      <vt:lpstr>Custom Design</vt:lpstr>
      <vt:lpstr>1_Custom Design</vt:lpstr>
      <vt:lpstr>Office Theme</vt:lpstr>
      <vt:lpstr>2_Office Theme</vt:lpstr>
      <vt:lpstr>Meet the Primes</vt:lpstr>
      <vt:lpstr>Housekeeping</vt:lpstr>
      <vt:lpstr>MISSION: THROUGH THE POWER OF OUR PEOPLE, BE THE BEST IN CLASS</vt:lpstr>
      <vt:lpstr>Taking Flight at DEN </vt:lpstr>
      <vt:lpstr>Meet the Primes </vt:lpstr>
      <vt:lpstr>Community Panelist Program </vt:lpstr>
      <vt:lpstr>2026 BDTA Programming</vt:lpstr>
      <vt:lpstr>Stay Informed</vt:lpstr>
      <vt:lpstr>Stay Connected &amp; Join Our Mailing List</vt:lpstr>
      <vt:lpstr>Connect with Us on LinkedIn</vt:lpstr>
      <vt:lpstr>Meet the Primes  </vt:lpstr>
      <vt:lpstr>HNTB Aviation</vt:lpstr>
      <vt:lpstr>MWBE/DBE Commitment &amp; Success Stories </vt:lpstr>
      <vt:lpstr>Opportunities to Partner</vt:lpstr>
      <vt:lpstr>Let’s Connect - HNTB Contacts</vt:lpstr>
      <vt:lpstr>MEET THE PRIMES EVENT </vt:lpstr>
      <vt:lpstr>Stats</vt:lpstr>
      <vt:lpstr>Our Values</vt:lpstr>
      <vt:lpstr>About Mead &amp; Hunt</vt:lpstr>
      <vt:lpstr>Our Aviation Focused Services</vt:lpstr>
      <vt:lpstr>Our Scopes of Work at DEN</vt:lpstr>
      <vt:lpstr>DEN &amp; Colorado</vt:lpstr>
      <vt:lpstr>Our Contacts</vt:lpstr>
      <vt:lpstr>MEET THE PRIMES       </vt:lpstr>
      <vt:lpstr>GLOBAL PRESENCE</vt:lpstr>
      <vt:lpstr>Transportation</vt:lpstr>
      <vt:lpstr>Aviation Offerings</vt:lpstr>
      <vt:lpstr>Representative Airport Projects</vt:lpstr>
      <vt:lpstr>Upcoming OPPORTUNITIES</vt:lpstr>
      <vt:lpstr>Meet the  Primes</vt:lpstr>
      <vt:lpstr>Diversity and Inclusion</vt:lpstr>
      <vt:lpstr>Upcoming Projects at DEN</vt:lpstr>
      <vt:lpstr>Best Practices  for Doing Business  with RS&amp;H</vt:lpstr>
      <vt:lpstr>Project Types at DEN</vt:lpstr>
      <vt:lpstr>Contact Us</vt:lpstr>
      <vt:lpstr>Meet the Primes         </vt:lpstr>
      <vt:lpstr>Meet our Team</vt:lpstr>
      <vt:lpstr>AECOM Values &amp; Offices</vt:lpstr>
      <vt:lpstr>Our Work at DEN</vt:lpstr>
      <vt:lpstr>Supplier Diversity/Small Business Program</vt:lpstr>
      <vt:lpstr>Important Contacts</vt:lpstr>
      <vt:lpstr>STV’s Services </vt:lpstr>
      <vt:lpstr>Supplier Diversity Program</vt:lpstr>
      <vt:lpstr> Upcoming Contracting Opportunities</vt:lpstr>
      <vt:lpstr>Project Experience</vt:lpstr>
      <vt:lpstr>Scopes of Work    </vt:lpstr>
      <vt:lpstr>Meet the primes </vt:lpstr>
      <vt:lpstr>WSP Services and Markets </vt:lpstr>
      <vt:lpstr>At DEN</vt:lpstr>
      <vt:lpstr>Opportunities to engage with WSP</vt:lpstr>
      <vt:lpstr>Next steps…</vt:lpstr>
      <vt:lpstr>DEN – Meet the Primes</vt:lpstr>
      <vt:lpstr>Our internal Networks create synergy with our partners Jacobs promotes diversity, equity and inclusion internally and externally We have been mentors to 3 different MWBE firms at DEN and support BDTA 101, 201 and the new BDTA 301 courses and graduates Let me know if you would like more information on the Jacobs mentor-protégé program </vt:lpstr>
      <vt:lpstr>What is Jacobs looking for in our partners?</vt:lpstr>
      <vt:lpstr>Programs at DEN currently and recently delivered by Jacobs</vt:lpstr>
      <vt:lpstr>Services Jacobs offers at DEN </vt:lpstr>
      <vt:lpstr>List of Key Contacts for Jacobs at DEN</vt:lpstr>
      <vt:lpstr>Lift off with AtkinsRealis </vt:lpstr>
      <vt:lpstr>Our Expertise at DEN</vt:lpstr>
      <vt:lpstr>Partnering with AtkinsRealis</vt:lpstr>
      <vt:lpstr>Success Story</vt:lpstr>
      <vt:lpstr>Current &amp; Upcoming Opportunities</vt:lpstr>
      <vt:lpstr>Contact AtkinsRealis</vt:lpstr>
      <vt:lpstr>Garver Introduction and Cover Slide</vt:lpstr>
      <vt:lpstr>Meet the Team – Colin Bible, Justin Cooper &amp; Jessica Hoffman</vt:lpstr>
      <vt:lpstr>General Garver Information: Stats and facts about Garver</vt:lpstr>
      <vt:lpstr>Local Garver Information: Local stats and facts about Garver</vt:lpstr>
      <vt:lpstr>Garver Partnership Best Practices</vt:lpstr>
      <vt:lpstr>Garver Partners information slide</vt:lpstr>
      <vt:lpstr>Garver Partnership Opportunities and Project Opportunities</vt:lpstr>
      <vt:lpstr>Event Follow Up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cker, Lauren - DEN</dc:creator>
  <cp:revision>1</cp:revision>
  <dcterms:created xsi:type="dcterms:W3CDTF">2024-03-24T01:57:37Z</dcterms:created>
  <dcterms:modified xsi:type="dcterms:W3CDTF">2025-12-18T21:5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B4CBFD58AEB54B9523C229AC8968F6</vt:lpwstr>
  </property>
  <property fmtid="{D5CDD505-2E9C-101B-9397-08002B2CF9AE}" pid="3" name="MediaServiceImageTags">
    <vt:lpwstr/>
  </property>
  <property fmtid="{D5CDD505-2E9C-101B-9397-08002B2CF9AE}" pid="4" name="ArticulateGUID">
    <vt:lpwstr>DC3740FD-8258-43D7-AEFD-BAD746D0FC11</vt:lpwstr>
  </property>
  <property fmtid="{D5CDD505-2E9C-101B-9397-08002B2CF9AE}" pid="5" name="ArticulatePath">
    <vt:lpwstr>https://flyden.sharepoint.com/sites/CultureandStrategy/Shared Documents/General/MarComm/Templates/PowerPoint/PPT Mar2025</vt:lpwstr>
  </property>
</Properties>
</file>